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7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8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9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0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1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5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6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17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8.xml" ContentType="application/vnd.openxmlformats-officedocument.theme+xml"/>
  <Override PartName="/ppt/tags/tag52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9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20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21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22.xml" ContentType="application/vnd.openxmlformats-officedocument.theme+xml"/>
  <Override PartName="/ppt/theme/theme23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3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4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5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6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7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8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9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0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1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2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13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4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5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16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  <p:sldMasterId id="2147483666" r:id="rId3"/>
    <p:sldMasterId id="2147483673" r:id="rId4"/>
    <p:sldMasterId id="2147483675" r:id="rId5"/>
    <p:sldMasterId id="2147483759" r:id="rId6"/>
    <p:sldMasterId id="2147483765" r:id="rId7"/>
    <p:sldMasterId id="2147483771" r:id="rId8"/>
    <p:sldMasterId id="2147483777" r:id="rId9"/>
    <p:sldMasterId id="2147483783" r:id="rId10"/>
    <p:sldMasterId id="2147483789" r:id="rId11"/>
    <p:sldMasterId id="2147483795" r:id="rId12"/>
    <p:sldMasterId id="2147483801" r:id="rId13"/>
    <p:sldMasterId id="2147483807" r:id="rId14"/>
    <p:sldMasterId id="2147483821" r:id="rId15"/>
    <p:sldMasterId id="2147483891" r:id="rId16"/>
    <p:sldMasterId id="2147484001" r:id="rId17"/>
    <p:sldMasterId id="2147484019" r:id="rId18"/>
    <p:sldMasterId id="2147484032" r:id="rId19"/>
    <p:sldMasterId id="2147484039" r:id="rId20"/>
    <p:sldMasterId id="2147484042" r:id="rId21"/>
    <p:sldMasterId id="2147484048" r:id="rId22"/>
  </p:sldMasterIdLst>
  <p:notesMasterIdLst>
    <p:notesMasterId r:id="rId40"/>
  </p:notesMasterIdLst>
  <p:sldIdLst>
    <p:sldId id="3472" r:id="rId23"/>
    <p:sldId id="3533" r:id="rId24"/>
    <p:sldId id="3535" r:id="rId25"/>
    <p:sldId id="3534" r:id="rId26"/>
    <p:sldId id="3532" r:id="rId27"/>
    <p:sldId id="3537" r:id="rId28"/>
    <p:sldId id="3467" r:id="rId29"/>
    <p:sldId id="3458" r:id="rId30"/>
    <p:sldId id="3530" r:id="rId31"/>
    <p:sldId id="3464" r:id="rId32"/>
    <p:sldId id="3470" r:id="rId33"/>
    <p:sldId id="3463" r:id="rId34"/>
    <p:sldId id="3490" r:id="rId35"/>
    <p:sldId id="3491" r:id="rId36"/>
    <p:sldId id="3496" r:id="rId37"/>
    <p:sldId id="3497" r:id="rId38"/>
    <p:sldId id="3499" r:id="rId39"/>
  </p:sldIdLst>
  <p:sldSz cx="12192000" cy="6858000"/>
  <p:notesSz cx="6858000" cy="9144000"/>
  <p:custDataLst>
    <p:tags r:id="rId4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kolay Shunyaev" initials="NS" lastIdx="1" clrIdx="0">
    <p:extLst/>
  </p:cmAuthor>
  <p:cmAuthor id="2" name="Аристархов Андрей" initials="АА" lastIdx="1" clrIdx="1">
    <p:extLst/>
  </p:cmAuthor>
  <p:cmAuthor id="3" name="Лисный Антон Олегович" initials="ЛАО" lastIdx="2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22486"/>
    <a:srgbClr val="FFC000"/>
    <a:srgbClr val="00B050"/>
    <a:srgbClr val="000000"/>
    <a:srgbClr val="1BB9DE"/>
    <a:srgbClr val="4472C4"/>
    <a:srgbClr val="231D5B"/>
    <a:srgbClr val="1796DF"/>
    <a:srgbClr val="404040"/>
    <a:srgbClr val="9DFF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73" autoAdjust="0"/>
    <p:restoredTop sz="85325" autoAdjust="0"/>
  </p:normalViewPr>
  <p:slideViewPr>
    <p:cSldViewPr snapToGrid="0">
      <p:cViewPr varScale="1">
        <p:scale>
          <a:sx n="89" d="100"/>
          <a:sy n="89" d="100"/>
        </p:scale>
        <p:origin x="-336" y="-67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2628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9" Type="http://schemas.openxmlformats.org/officeDocument/2006/relationships/slide" Target="slides/slide17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2.xml"/><Relationship Id="rId42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slide" Target="slides/slide16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7.xml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slide" Target="slides/slide15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slide" Target="slides/slide14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9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824B59-DA7A-4239-A791-4D6141BAE6C3}" type="datetimeFigureOut">
              <a:rPr lang="ru-RU" smtClean="0"/>
              <a:t>12.09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6D52BD-27C9-475A-A091-E9CDDC0BC5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6902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17EEB-00E8-314E-95E8-680F81E9B0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45683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Итак, </a:t>
            </a:r>
          </a:p>
          <a:p>
            <a:endParaRPr lang="ru-RU" dirty="0"/>
          </a:p>
          <a:p>
            <a:endParaRPr lang="ru-RU" dirty="0"/>
          </a:p>
          <a:p>
            <a:r>
              <a:rPr lang="ru-RU" dirty="0"/>
              <a:t>Поскольку в первую очередь </a:t>
            </a:r>
            <a:r>
              <a:rPr lang="ru-RU" dirty="0" err="1"/>
              <a:t>сбер</a:t>
            </a:r>
            <a:r>
              <a:rPr lang="ru-RU" dirty="0"/>
              <a:t> каталог будет </a:t>
            </a:r>
            <a:r>
              <a:rPr lang="ru-RU" dirty="0" err="1"/>
              <a:t>фронтлайном</a:t>
            </a:r>
            <a:r>
              <a:rPr lang="ru-RU" dirty="0"/>
              <a:t> нашей платформы, ему необходим каталог </a:t>
            </a:r>
            <a:r>
              <a:rPr lang="ru-RU" dirty="0" err="1"/>
              <a:t>улуг</a:t>
            </a:r>
            <a:r>
              <a:rPr lang="ru-RU" dirty="0"/>
              <a:t> (или технический каталог)</a:t>
            </a:r>
          </a:p>
          <a:p>
            <a:endParaRPr lang="ru-RU" dirty="0"/>
          </a:p>
          <a:p>
            <a:r>
              <a:rPr lang="ru-RU" dirty="0"/>
              <a:t>ПОКАЗАТЬ ГДЕ ЗДЕСЬ ЕКПИТ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17EEB-00E8-314E-95E8-680F81E9B0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41355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17EEB-00E8-314E-95E8-680F81E9B0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12758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Фокус: начинаем с банкинга, и т.п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17EEB-00E8-314E-95E8-680F81E9B0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80402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17EEB-00E8-314E-95E8-680F81E9B0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90372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17EEB-00E8-314E-95E8-680F81E9B0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67243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17EEB-00E8-314E-95E8-680F81E9B0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61209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17EEB-00E8-314E-95E8-680F81E9B0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30954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17EEB-00E8-314E-95E8-680F81E9B0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35934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17EEB-00E8-314E-95E8-680F81E9B0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27331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endParaRPr lang="ru-RU" sz="1200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17EEB-00E8-314E-95E8-680F81E9B0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74801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17EEB-00E8-314E-95E8-680F81E9B0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60832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endParaRPr lang="ru-RU" sz="1200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17EEB-00E8-314E-95E8-680F81E9B0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62791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endParaRPr lang="ru-RU" sz="1200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17EEB-00E8-314E-95E8-680F81E9B0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19008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17EEB-00E8-314E-95E8-680F81E9B0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98689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17EEB-00E8-314E-95E8-680F81E9B0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66502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Что же такое </a:t>
            </a:r>
            <a:r>
              <a:rPr lang="en-US" dirty="0"/>
              <a:t>Sber Prod Cat</a:t>
            </a:r>
            <a:r>
              <a:rPr lang="ru-RU" dirty="0"/>
              <a:t>?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17EEB-00E8-314E-95E8-680F81E9B0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94286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9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3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5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7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8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9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0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9.png"/><Relationship Id="rId2" Type="http://schemas.openxmlformats.org/officeDocument/2006/relationships/tags" Target="../tags/tag47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2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3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4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8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8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0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0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1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1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2.bin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27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85FB507-AFB3-4F3B-9882-69C7FFE085B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4" name="Title Placeholder 2">
            <a:extLst>
              <a:ext uri="{FF2B5EF4-FFF2-40B4-BE49-F238E27FC236}">
                <a16:creationId xmlns:a16="http://schemas.microsoft.com/office/drawing/2014/main" xmlns="" id="{9A66AB28-BE0D-475E-9AB7-A79AEA7474A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231769"/>
            <a:ext cx="1119218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5835921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№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72CC20C-CF57-C947-95A7-B9B5F59AD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Freeform 6">
            <a:extLst>
              <a:ext uri="{FF2B5EF4-FFF2-40B4-BE49-F238E27FC236}">
                <a16:creationId xmlns:a16="http://schemas.microsoft.com/office/drawing/2014/main" xmlns="" id="{84B0BA85-0E1F-46AB-85DB-7F26CA0CB723}"/>
              </a:ext>
            </a:extLst>
          </p:cNvPr>
          <p:cNvSpPr>
            <a:spLocks/>
          </p:cNvSpPr>
          <p:nvPr userDrawn="1"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</p:spPr>
        <p:txBody>
          <a:bodyPr lIns="102615" tIns="102615" rIns="102615" bIns="102615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>
              <a:ln>
                <a:noFill/>
              </a:ln>
              <a:solidFill>
                <a:srgbClr val="787E7F"/>
              </a:solidFill>
              <a:effectLst/>
              <a:uLnTx/>
              <a:uFillTx/>
              <a:latin typeface="Arial Narrow"/>
              <a:ea typeface="+mn-ea"/>
              <a:cs typeface="+mn-cs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921327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>
  <p:cSld name="4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 txBox="1">
            <a:spLocks noGrp="1"/>
          </p:cNvSpPr>
          <p:nvPr>
            <p:ph type="ctrTitle"/>
          </p:nvPr>
        </p:nvSpPr>
        <p:spPr>
          <a:xfrm>
            <a:off x="538412" y="2806411"/>
            <a:ext cx="9140082" cy="8913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102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1"/>
          </p:nvPr>
        </p:nvSpPr>
        <p:spPr>
          <a:xfrm>
            <a:off x="538411" y="5336813"/>
            <a:ext cx="520917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" name="Shape 17"/>
          <p:cNvSpPr txBox="1">
            <a:spLocks noGrp="1"/>
          </p:cNvSpPr>
          <p:nvPr>
            <p:ph type="body" idx="2"/>
          </p:nvPr>
        </p:nvSpPr>
        <p:spPr>
          <a:xfrm>
            <a:off x="538412" y="6159468"/>
            <a:ext cx="319353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6809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7785" y="602151"/>
            <a:ext cx="10856428" cy="415819"/>
          </a:xfrm>
        </p:spPr>
        <p:txBody>
          <a:bodyPr lIns="0" tIns="0" rIns="0" bIns="0"/>
          <a:lstStyle>
            <a:lvl1pPr>
              <a:defRPr sz="3002" b="1">
                <a:latin typeface="Proxima Nova Rg"/>
                <a:cs typeface="Proxima Nova Rg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976208" y="2384716"/>
            <a:ext cx="5853024" cy="246221"/>
          </a:xfrm>
        </p:spPr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marL="45435"/>
            <a:fld id="{81D60167-4931-47E6-BA6A-407CBD079E47}" type="slidenum">
              <a:rPr lang="en-US" sz="1334" b="1" spc="6" smtClean="0">
                <a:solidFill>
                  <a:srgbClr val="808083"/>
                </a:solidFill>
                <a:latin typeface="Proxima Nova Lt"/>
                <a:cs typeface="Proxima Nova Lt"/>
              </a:rPr>
              <a:pPr marL="45435"/>
              <a:t>‹#›</a:t>
            </a:fld>
            <a:endParaRPr lang="en-US" sz="1334">
              <a:latin typeface="Proxima Nova Lt"/>
              <a:cs typeface="Proxima Nova Lt"/>
            </a:endParaRPr>
          </a:p>
        </p:txBody>
      </p:sp>
    </p:spTree>
    <p:extLst>
      <p:ext uri="{BB962C8B-B14F-4D97-AF65-F5344CB8AC3E}">
        <p14:creationId xmlns:p14="http://schemas.microsoft.com/office/powerpoint/2010/main" val="93891284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1"/>
          <p:cNvGrpSpPr>
            <a:grpSpLocks/>
          </p:cNvGrpSpPr>
          <p:nvPr userDrawn="1"/>
        </p:nvGrpSpPr>
        <p:grpSpPr bwMode="auto">
          <a:xfrm>
            <a:off x="-1219200" y="762001"/>
            <a:ext cx="847969" cy="5334000"/>
            <a:chOff x="6462" y="601"/>
            <a:chExt cx="320" cy="3808"/>
          </a:xfrm>
        </p:grpSpPr>
        <p:sp>
          <p:nvSpPr>
            <p:cNvPr id="5" name="Rectangle 33"/>
            <p:cNvSpPr>
              <a:spLocks noChangeArrowheads="1"/>
            </p:cNvSpPr>
            <p:nvPr userDrawn="1"/>
          </p:nvSpPr>
          <p:spPr bwMode="auto">
            <a:xfrm>
              <a:off x="6462" y="601"/>
              <a:ext cx="320" cy="377"/>
            </a:xfrm>
            <a:prstGeom prst="rect">
              <a:avLst/>
            </a:prstGeom>
            <a:solidFill>
              <a:srgbClr val="317F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4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27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97</a:t>
              </a:r>
            </a:p>
          </p:txBody>
        </p:sp>
        <p:sp>
          <p:nvSpPr>
            <p:cNvPr id="6" name="Rectangle 34"/>
            <p:cNvSpPr>
              <a:spLocks noChangeArrowheads="1"/>
            </p:cNvSpPr>
            <p:nvPr userDrawn="1"/>
          </p:nvSpPr>
          <p:spPr bwMode="auto">
            <a:xfrm>
              <a:off x="6462" y="1091"/>
              <a:ext cx="320" cy="377"/>
            </a:xfrm>
            <a:prstGeom prst="rect">
              <a:avLst/>
            </a:prstGeom>
            <a:solidFill>
              <a:srgbClr val="37B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4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6</a:t>
              </a:r>
            </a:p>
          </p:txBody>
        </p:sp>
        <p:sp>
          <p:nvSpPr>
            <p:cNvPr id="7" name="Rectangle 35"/>
            <p:cNvSpPr>
              <a:spLocks noChangeArrowheads="1"/>
            </p:cNvSpPr>
            <p:nvPr userDrawn="1"/>
          </p:nvSpPr>
          <p:spPr bwMode="auto">
            <a:xfrm>
              <a:off x="6462" y="1581"/>
              <a:ext cx="320" cy="375"/>
            </a:xfrm>
            <a:prstGeom prst="rect">
              <a:avLst/>
            </a:prstGeom>
            <a:solidFill>
              <a:srgbClr val="FFCA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02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01</a:t>
              </a:r>
            </a:p>
          </p:txBody>
        </p:sp>
        <p:sp>
          <p:nvSpPr>
            <p:cNvPr id="8" name="Rectangle 36"/>
            <p:cNvSpPr>
              <a:spLocks noChangeArrowheads="1"/>
            </p:cNvSpPr>
            <p:nvPr userDrawn="1"/>
          </p:nvSpPr>
          <p:spPr bwMode="auto">
            <a:xfrm>
              <a:off x="6462" y="3051"/>
              <a:ext cx="320" cy="376"/>
            </a:xfrm>
            <a:prstGeom prst="rect">
              <a:avLst/>
            </a:prstGeom>
            <a:solidFill>
              <a:srgbClr val="4C7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7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1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66</a:t>
              </a:r>
            </a:p>
          </p:txBody>
        </p:sp>
        <p:sp>
          <p:nvSpPr>
            <p:cNvPr id="9" name="Rectangle 37"/>
            <p:cNvSpPr>
              <a:spLocks noChangeArrowheads="1"/>
            </p:cNvSpPr>
            <p:nvPr userDrawn="1"/>
          </p:nvSpPr>
          <p:spPr bwMode="auto">
            <a:xfrm>
              <a:off x="6462" y="4032"/>
              <a:ext cx="320" cy="377"/>
            </a:xfrm>
            <a:prstGeom prst="rect">
              <a:avLst/>
            </a:prstGeom>
            <a:solidFill>
              <a:srgbClr val="DFDF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</p:txBody>
        </p:sp>
        <p:sp>
          <p:nvSpPr>
            <p:cNvPr id="10" name="Rectangle 38"/>
            <p:cNvSpPr>
              <a:spLocks noChangeArrowheads="1"/>
            </p:cNvSpPr>
            <p:nvPr userDrawn="1"/>
          </p:nvSpPr>
          <p:spPr bwMode="auto">
            <a:xfrm>
              <a:off x="6462" y="2071"/>
              <a:ext cx="320" cy="377"/>
            </a:xfrm>
            <a:prstGeom prst="rect">
              <a:avLst/>
            </a:prstGeom>
            <a:solidFill>
              <a:srgbClr val="941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4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2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8</a:t>
              </a:r>
            </a:p>
          </p:txBody>
        </p:sp>
        <p:sp>
          <p:nvSpPr>
            <p:cNvPr id="11" name="Rectangle 39"/>
            <p:cNvSpPr>
              <a:spLocks noChangeArrowheads="1"/>
            </p:cNvSpPr>
            <p:nvPr userDrawn="1"/>
          </p:nvSpPr>
          <p:spPr bwMode="auto">
            <a:xfrm>
              <a:off x="6462" y="2561"/>
              <a:ext cx="320" cy="377"/>
            </a:xfrm>
            <a:prstGeom prst="rect">
              <a:avLst/>
            </a:prstGeom>
            <a:solidFill>
              <a:srgbClr val="245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6</a:t>
              </a:r>
            </a:p>
          </p:txBody>
        </p:sp>
        <p:sp>
          <p:nvSpPr>
            <p:cNvPr id="12" name="Rectangle 40"/>
            <p:cNvSpPr>
              <a:spLocks noChangeArrowheads="1"/>
            </p:cNvSpPr>
            <p:nvPr userDrawn="1"/>
          </p:nvSpPr>
          <p:spPr bwMode="auto">
            <a:xfrm>
              <a:off x="6462" y="3541"/>
              <a:ext cx="320" cy="377"/>
            </a:xfrm>
            <a:prstGeom prst="rect">
              <a:avLst/>
            </a:prstGeom>
            <a:solidFill>
              <a:srgbClr val="BAD5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1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1</a:t>
              </a:r>
            </a:p>
          </p:txBody>
        </p:sp>
      </p:grpSp>
      <p:sp>
        <p:nvSpPr>
          <p:cNvPr id="161796" name="Rectangle 4"/>
          <p:cNvSpPr>
            <a:spLocks noGrp="1" noChangeArrowheads="1"/>
          </p:cNvSpPr>
          <p:nvPr>
            <p:ph type="ctrTitle"/>
          </p:nvPr>
        </p:nvSpPr>
        <p:spPr bwMode="auto">
          <a:xfrm>
            <a:off x="914017" y="2867173"/>
            <a:ext cx="10363969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1840" name="Rectangle 4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021774" y="1334901"/>
            <a:ext cx="3165378" cy="261610"/>
          </a:xfrm>
        </p:spPr>
        <p:txBody>
          <a:bodyPr/>
          <a:lstStyle>
            <a:lvl1pPr>
              <a:defRPr sz="17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20628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 userDrawn="1">
  <p:cSld name="3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">
            <a:extLst>
              <a:ext uri="{FF2B5EF4-FFF2-40B4-BE49-F238E27FC236}">
                <a16:creationId xmlns:a16="http://schemas.microsoft.com/office/drawing/2014/main" xmlns="" id="{51C0B361-6AB4-4DF7-B93E-FDC53E98EC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sp>
        <p:nvSpPr>
          <p:cNvPr id="6" name="TitleRectangle">
            <a:extLst>
              <a:ext uri="{FF2B5EF4-FFF2-40B4-BE49-F238E27FC236}">
                <a16:creationId xmlns:a16="http://schemas.microsoft.com/office/drawing/2014/main" xmlns="" id="{04449F8A-F3B0-4D59-8F40-FD315A0F00D3}"/>
              </a:ext>
            </a:extLst>
          </p:cNvPr>
          <p:cNvSpPr>
            <a:spLocks/>
          </p:cNvSpPr>
          <p:nvPr userDrawn="1"/>
        </p:nvSpPr>
        <p:spPr bwMode="white">
          <a:xfrm>
            <a:off x="5175162" y="1"/>
            <a:ext cx="7016838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22282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>
  <p:cSld name="4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 txBox="1">
            <a:spLocks noGrp="1"/>
          </p:cNvSpPr>
          <p:nvPr>
            <p:ph type="ctrTitle"/>
          </p:nvPr>
        </p:nvSpPr>
        <p:spPr>
          <a:xfrm>
            <a:off x="538412" y="2806411"/>
            <a:ext cx="9140082" cy="8913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102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1"/>
          </p:nvPr>
        </p:nvSpPr>
        <p:spPr>
          <a:xfrm>
            <a:off x="538411" y="5336813"/>
            <a:ext cx="520917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" name="Shape 17"/>
          <p:cNvSpPr txBox="1">
            <a:spLocks noGrp="1"/>
          </p:cNvSpPr>
          <p:nvPr>
            <p:ph type="body" idx="2"/>
          </p:nvPr>
        </p:nvSpPr>
        <p:spPr>
          <a:xfrm>
            <a:off x="538412" y="6159468"/>
            <a:ext cx="319353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49895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1"/>
          <p:cNvGrpSpPr>
            <a:grpSpLocks/>
          </p:cNvGrpSpPr>
          <p:nvPr userDrawn="1"/>
        </p:nvGrpSpPr>
        <p:grpSpPr bwMode="auto">
          <a:xfrm>
            <a:off x="-1219200" y="762001"/>
            <a:ext cx="847969" cy="5334000"/>
            <a:chOff x="6462" y="601"/>
            <a:chExt cx="320" cy="3808"/>
          </a:xfrm>
        </p:grpSpPr>
        <p:sp>
          <p:nvSpPr>
            <p:cNvPr id="5" name="Rectangle 33"/>
            <p:cNvSpPr>
              <a:spLocks noChangeArrowheads="1"/>
            </p:cNvSpPr>
            <p:nvPr userDrawn="1"/>
          </p:nvSpPr>
          <p:spPr bwMode="auto">
            <a:xfrm>
              <a:off x="6462" y="601"/>
              <a:ext cx="320" cy="377"/>
            </a:xfrm>
            <a:prstGeom prst="rect">
              <a:avLst/>
            </a:prstGeom>
            <a:solidFill>
              <a:srgbClr val="317F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4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27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97</a:t>
              </a:r>
            </a:p>
          </p:txBody>
        </p:sp>
        <p:sp>
          <p:nvSpPr>
            <p:cNvPr id="6" name="Rectangle 34"/>
            <p:cNvSpPr>
              <a:spLocks noChangeArrowheads="1"/>
            </p:cNvSpPr>
            <p:nvPr userDrawn="1"/>
          </p:nvSpPr>
          <p:spPr bwMode="auto">
            <a:xfrm>
              <a:off x="6462" y="1091"/>
              <a:ext cx="320" cy="377"/>
            </a:xfrm>
            <a:prstGeom prst="rect">
              <a:avLst/>
            </a:prstGeom>
            <a:solidFill>
              <a:srgbClr val="37B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4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6</a:t>
              </a:r>
            </a:p>
          </p:txBody>
        </p:sp>
        <p:sp>
          <p:nvSpPr>
            <p:cNvPr id="7" name="Rectangle 35"/>
            <p:cNvSpPr>
              <a:spLocks noChangeArrowheads="1"/>
            </p:cNvSpPr>
            <p:nvPr userDrawn="1"/>
          </p:nvSpPr>
          <p:spPr bwMode="auto">
            <a:xfrm>
              <a:off x="6462" y="1581"/>
              <a:ext cx="320" cy="375"/>
            </a:xfrm>
            <a:prstGeom prst="rect">
              <a:avLst/>
            </a:prstGeom>
            <a:solidFill>
              <a:srgbClr val="FFCA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02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01</a:t>
              </a:r>
            </a:p>
          </p:txBody>
        </p:sp>
        <p:sp>
          <p:nvSpPr>
            <p:cNvPr id="8" name="Rectangle 36"/>
            <p:cNvSpPr>
              <a:spLocks noChangeArrowheads="1"/>
            </p:cNvSpPr>
            <p:nvPr userDrawn="1"/>
          </p:nvSpPr>
          <p:spPr bwMode="auto">
            <a:xfrm>
              <a:off x="6462" y="3051"/>
              <a:ext cx="320" cy="376"/>
            </a:xfrm>
            <a:prstGeom prst="rect">
              <a:avLst/>
            </a:prstGeom>
            <a:solidFill>
              <a:srgbClr val="4C7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7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1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66</a:t>
              </a:r>
            </a:p>
          </p:txBody>
        </p:sp>
        <p:sp>
          <p:nvSpPr>
            <p:cNvPr id="9" name="Rectangle 37"/>
            <p:cNvSpPr>
              <a:spLocks noChangeArrowheads="1"/>
            </p:cNvSpPr>
            <p:nvPr userDrawn="1"/>
          </p:nvSpPr>
          <p:spPr bwMode="auto">
            <a:xfrm>
              <a:off x="6462" y="4032"/>
              <a:ext cx="320" cy="377"/>
            </a:xfrm>
            <a:prstGeom prst="rect">
              <a:avLst/>
            </a:prstGeom>
            <a:solidFill>
              <a:srgbClr val="DFDF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</p:txBody>
        </p:sp>
        <p:sp>
          <p:nvSpPr>
            <p:cNvPr id="10" name="Rectangle 38"/>
            <p:cNvSpPr>
              <a:spLocks noChangeArrowheads="1"/>
            </p:cNvSpPr>
            <p:nvPr userDrawn="1"/>
          </p:nvSpPr>
          <p:spPr bwMode="auto">
            <a:xfrm>
              <a:off x="6462" y="2071"/>
              <a:ext cx="320" cy="377"/>
            </a:xfrm>
            <a:prstGeom prst="rect">
              <a:avLst/>
            </a:prstGeom>
            <a:solidFill>
              <a:srgbClr val="941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4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2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8</a:t>
              </a:r>
            </a:p>
          </p:txBody>
        </p:sp>
        <p:sp>
          <p:nvSpPr>
            <p:cNvPr id="11" name="Rectangle 39"/>
            <p:cNvSpPr>
              <a:spLocks noChangeArrowheads="1"/>
            </p:cNvSpPr>
            <p:nvPr userDrawn="1"/>
          </p:nvSpPr>
          <p:spPr bwMode="auto">
            <a:xfrm>
              <a:off x="6462" y="2561"/>
              <a:ext cx="320" cy="377"/>
            </a:xfrm>
            <a:prstGeom prst="rect">
              <a:avLst/>
            </a:prstGeom>
            <a:solidFill>
              <a:srgbClr val="245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6</a:t>
              </a:r>
            </a:p>
          </p:txBody>
        </p:sp>
        <p:sp>
          <p:nvSpPr>
            <p:cNvPr id="12" name="Rectangle 40"/>
            <p:cNvSpPr>
              <a:spLocks noChangeArrowheads="1"/>
            </p:cNvSpPr>
            <p:nvPr userDrawn="1"/>
          </p:nvSpPr>
          <p:spPr bwMode="auto">
            <a:xfrm>
              <a:off x="6462" y="3541"/>
              <a:ext cx="320" cy="377"/>
            </a:xfrm>
            <a:prstGeom prst="rect">
              <a:avLst/>
            </a:prstGeom>
            <a:solidFill>
              <a:srgbClr val="BAD5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1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1</a:t>
              </a:r>
            </a:p>
          </p:txBody>
        </p:sp>
      </p:grpSp>
      <p:sp>
        <p:nvSpPr>
          <p:cNvPr id="161796" name="Rectangle 4"/>
          <p:cNvSpPr>
            <a:spLocks noGrp="1" noChangeArrowheads="1"/>
          </p:cNvSpPr>
          <p:nvPr>
            <p:ph type="ctrTitle"/>
          </p:nvPr>
        </p:nvSpPr>
        <p:spPr bwMode="auto">
          <a:xfrm>
            <a:off x="914017" y="2867173"/>
            <a:ext cx="10363969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1840" name="Rectangle 4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021774" y="1334901"/>
            <a:ext cx="3165378" cy="261610"/>
          </a:xfrm>
        </p:spPr>
        <p:txBody>
          <a:bodyPr/>
          <a:lstStyle>
            <a:lvl1pPr>
              <a:defRPr sz="17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212939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 userDrawn="1">
  <p:cSld name="3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">
            <a:extLst>
              <a:ext uri="{FF2B5EF4-FFF2-40B4-BE49-F238E27FC236}">
                <a16:creationId xmlns:a16="http://schemas.microsoft.com/office/drawing/2014/main" xmlns="" id="{51C0B361-6AB4-4DF7-B93E-FDC53E98EC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sp>
        <p:nvSpPr>
          <p:cNvPr id="6" name="TitleRectangle">
            <a:extLst>
              <a:ext uri="{FF2B5EF4-FFF2-40B4-BE49-F238E27FC236}">
                <a16:creationId xmlns:a16="http://schemas.microsoft.com/office/drawing/2014/main" xmlns="" id="{04449F8A-F3B0-4D59-8F40-FD315A0F00D3}"/>
              </a:ext>
            </a:extLst>
          </p:cNvPr>
          <p:cNvSpPr>
            <a:spLocks/>
          </p:cNvSpPr>
          <p:nvPr userDrawn="1"/>
        </p:nvSpPr>
        <p:spPr bwMode="white">
          <a:xfrm>
            <a:off x="5175162" y="1"/>
            <a:ext cx="7016838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12550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>
  <p:cSld name="4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 txBox="1">
            <a:spLocks noGrp="1"/>
          </p:cNvSpPr>
          <p:nvPr>
            <p:ph type="ctrTitle"/>
          </p:nvPr>
        </p:nvSpPr>
        <p:spPr>
          <a:xfrm>
            <a:off x="538412" y="2806411"/>
            <a:ext cx="9140082" cy="8913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102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1"/>
          </p:nvPr>
        </p:nvSpPr>
        <p:spPr>
          <a:xfrm>
            <a:off x="538411" y="5336813"/>
            <a:ext cx="520917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" name="Shape 17"/>
          <p:cNvSpPr txBox="1">
            <a:spLocks noGrp="1"/>
          </p:cNvSpPr>
          <p:nvPr>
            <p:ph type="body" idx="2"/>
          </p:nvPr>
        </p:nvSpPr>
        <p:spPr>
          <a:xfrm>
            <a:off x="538412" y="6159468"/>
            <a:ext cx="319353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4717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1"/>
          <p:cNvGrpSpPr>
            <a:grpSpLocks/>
          </p:cNvGrpSpPr>
          <p:nvPr userDrawn="1"/>
        </p:nvGrpSpPr>
        <p:grpSpPr bwMode="auto">
          <a:xfrm>
            <a:off x="-1219200" y="762001"/>
            <a:ext cx="847969" cy="5334000"/>
            <a:chOff x="6462" y="601"/>
            <a:chExt cx="320" cy="3808"/>
          </a:xfrm>
        </p:grpSpPr>
        <p:sp>
          <p:nvSpPr>
            <p:cNvPr id="5" name="Rectangle 33"/>
            <p:cNvSpPr>
              <a:spLocks noChangeArrowheads="1"/>
            </p:cNvSpPr>
            <p:nvPr userDrawn="1"/>
          </p:nvSpPr>
          <p:spPr bwMode="auto">
            <a:xfrm>
              <a:off x="6462" y="601"/>
              <a:ext cx="320" cy="377"/>
            </a:xfrm>
            <a:prstGeom prst="rect">
              <a:avLst/>
            </a:prstGeom>
            <a:solidFill>
              <a:srgbClr val="317F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4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27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97</a:t>
              </a:r>
            </a:p>
          </p:txBody>
        </p:sp>
        <p:sp>
          <p:nvSpPr>
            <p:cNvPr id="6" name="Rectangle 34"/>
            <p:cNvSpPr>
              <a:spLocks noChangeArrowheads="1"/>
            </p:cNvSpPr>
            <p:nvPr userDrawn="1"/>
          </p:nvSpPr>
          <p:spPr bwMode="auto">
            <a:xfrm>
              <a:off x="6462" y="1091"/>
              <a:ext cx="320" cy="377"/>
            </a:xfrm>
            <a:prstGeom prst="rect">
              <a:avLst/>
            </a:prstGeom>
            <a:solidFill>
              <a:srgbClr val="37B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4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6</a:t>
              </a:r>
            </a:p>
          </p:txBody>
        </p:sp>
        <p:sp>
          <p:nvSpPr>
            <p:cNvPr id="7" name="Rectangle 35"/>
            <p:cNvSpPr>
              <a:spLocks noChangeArrowheads="1"/>
            </p:cNvSpPr>
            <p:nvPr userDrawn="1"/>
          </p:nvSpPr>
          <p:spPr bwMode="auto">
            <a:xfrm>
              <a:off x="6462" y="1581"/>
              <a:ext cx="320" cy="375"/>
            </a:xfrm>
            <a:prstGeom prst="rect">
              <a:avLst/>
            </a:prstGeom>
            <a:solidFill>
              <a:srgbClr val="FFCA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02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01</a:t>
              </a:r>
            </a:p>
          </p:txBody>
        </p:sp>
        <p:sp>
          <p:nvSpPr>
            <p:cNvPr id="8" name="Rectangle 36"/>
            <p:cNvSpPr>
              <a:spLocks noChangeArrowheads="1"/>
            </p:cNvSpPr>
            <p:nvPr userDrawn="1"/>
          </p:nvSpPr>
          <p:spPr bwMode="auto">
            <a:xfrm>
              <a:off x="6462" y="3051"/>
              <a:ext cx="320" cy="376"/>
            </a:xfrm>
            <a:prstGeom prst="rect">
              <a:avLst/>
            </a:prstGeom>
            <a:solidFill>
              <a:srgbClr val="4C7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7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1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66</a:t>
              </a:r>
            </a:p>
          </p:txBody>
        </p:sp>
        <p:sp>
          <p:nvSpPr>
            <p:cNvPr id="9" name="Rectangle 37"/>
            <p:cNvSpPr>
              <a:spLocks noChangeArrowheads="1"/>
            </p:cNvSpPr>
            <p:nvPr userDrawn="1"/>
          </p:nvSpPr>
          <p:spPr bwMode="auto">
            <a:xfrm>
              <a:off x="6462" y="4032"/>
              <a:ext cx="320" cy="377"/>
            </a:xfrm>
            <a:prstGeom prst="rect">
              <a:avLst/>
            </a:prstGeom>
            <a:solidFill>
              <a:srgbClr val="DFDF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</p:txBody>
        </p:sp>
        <p:sp>
          <p:nvSpPr>
            <p:cNvPr id="10" name="Rectangle 38"/>
            <p:cNvSpPr>
              <a:spLocks noChangeArrowheads="1"/>
            </p:cNvSpPr>
            <p:nvPr userDrawn="1"/>
          </p:nvSpPr>
          <p:spPr bwMode="auto">
            <a:xfrm>
              <a:off x="6462" y="2071"/>
              <a:ext cx="320" cy="377"/>
            </a:xfrm>
            <a:prstGeom prst="rect">
              <a:avLst/>
            </a:prstGeom>
            <a:solidFill>
              <a:srgbClr val="941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4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2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8</a:t>
              </a:r>
            </a:p>
          </p:txBody>
        </p:sp>
        <p:sp>
          <p:nvSpPr>
            <p:cNvPr id="11" name="Rectangle 39"/>
            <p:cNvSpPr>
              <a:spLocks noChangeArrowheads="1"/>
            </p:cNvSpPr>
            <p:nvPr userDrawn="1"/>
          </p:nvSpPr>
          <p:spPr bwMode="auto">
            <a:xfrm>
              <a:off x="6462" y="2561"/>
              <a:ext cx="320" cy="377"/>
            </a:xfrm>
            <a:prstGeom prst="rect">
              <a:avLst/>
            </a:prstGeom>
            <a:solidFill>
              <a:srgbClr val="245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6</a:t>
              </a:r>
            </a:p>
          </p:txBody>
        </p:sp>
        <p:sp>
          <p:nvSpPr>
            <p:cNvPr id="12" name="Rectangle 40"/>
            <p:cNvSpPr>
              <a:spLocks noChangeArrowheads="1"/>
            </p:cNvSpPr>
            <p:nvPr userDrawn="1"/>
          </p:nvSpPr>
          <p:spPr bwMode="auto">
            <a:xfrm>
              <a:off x="6462" y="3541"/>
              <a:ext cx="320" cy="377"/>
            </a:xfrm>
            <a:prstGeom prst="rect">
              <a:avLst/>
            </a:prstGeom>
            <a:solidFill>
              <a:srgbClr val="BAD5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1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1</a:t>
              </a:r>
            </a:p>
          </p:txBody>
        </p:sp>
      </p:grpSp>
      <p:sp>
        <p:nvSpPr>
          <p:cNvPr id="161796" name="Rectangle 4"/>
          <p:cNvSpPr>
            <a:spLocks noGrp="1" noChangeArrowheads="1"/>
          </p:cNvSpPr>
          <p:nvPr>
            <p:ph type="ctrTitle"/>
          </p:nvPr>
        </p:nvSpPr>
        <p:spPr bwMode="auto">
          <a:xfrm>
            <a:off x="914017" y="2867173"/>
            <a:ext cx="10363969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1840" name="Rectangle 4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021774" y="1334901"/>
            <a:ext cx="3165378" cy="261610"/>
          </a:xfrm>
        </p:spPr>
        <p:txBody>
          <a:bodyPr/>
          <a:lstStyle>
            <a:lvl1pPr>
              <a:defRPr sz="17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6943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№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72CC20C-CF57-C947-95A7-B9B5F59AD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Freeform 6">
            <a:extLst>
              <a:ext uri="{FF2B5EF4-FFF2-40B4-BE49-F238E27FC236}">
                <a16:creationId xmlns:a16="http://schemas.microsoft.com/office/drawing/2014/main" xmlns="" id="{84B0BA85-0E1F-46AB-85DB-7F26CA0CB723}"/>
              </a:ext>
            </a:extLst>
          </p:cNvPr>
          <p:cNvSpPr>
            <a:spLocks/>
          </p:cNvSpPr>
          <p:nvPr userDrawn="1"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</p:spPr>
        <p:txBody>
          <a:bodyPr lIns="102615" tIns="102615" rIns="102615" bIns="10261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67" kern="0">
              <a:solidFill>
                <a:srgbClr val="787E7F"/>
              </a:solidFill>
              <a:latin typeface="Arial Narrow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008572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790721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7DEA28DC-E456-8547-B80C-FA98CED66ACC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bg2"/>
              </a:gs>
              <a:gs pos="49000">
                <a:schemeClr val="bg2">
                  <a:lumMod val="50000"/>
                </a:schemeClr>
              </a:gs>
              <a:gs pos="0">
                <a:schemeClr val="accent4">
                  <a:lumMod val="75000"/>
                </a:schemeClr>
              </a:gs>
            </a:gsLst>
            <a:lin ang="189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aphicFrame>
        <p:nvGraphicFramePr>
          <p:cNvPr id="3" name="Объект 2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119" y="2143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Объект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43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695329" y="4098800"/>
            <a:ext cx="6934900" cy="1403461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>
              <a:defRPr sz="4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695325" y="5580621"/>
            <a:ext cx="6934200" cy="328295"/>
          </a:xfrm>
        </p:spPr>
        <p:txBody>
          <a:bodyPr wrap="square">
            <a:spAutoFit/>
          </a:bodyPr>
          <a:lstStyle>
            <a:lvl1pPr>
              <a:defRPr sz="2133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6" name="Shape">
            <a:extLst>
              <a:ext uri="{FF2B5EF4-FFF2-40B4-BE49-F238E27FC236}">
                <a16:creationId xmlns:a16="http://schemas.microsoft.com/office/drawing/2014/main" xmlns="" id="{BA406755-0071-3845-9DCA-19B34489BBEE}"/>
              </a:ext>
            </a:extLst>
          </p:cNvPr>
          <p:cNvSpPr/>
          <p:nvPr userDrawn="1"/>
        </p:nvSpPr>
        <p:spPr>
          <a:xfrm>
            <a:off x="636693" y="673133"/>
            <a:ext cx="1990513" cy="3746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000"/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xmlns="" id="{730B1B77-1D20-E34E-842B-422E9683F8DF}"/>
              </a:ext>
            </a:extLst>
          </p:cNvPr>
          <p:cNvGrpSpPr/>
          <p:nvPr userDrawn="1"/>
        </p:nvGrpSpPr>
        <p:grpSpPr>
          <a:xfrm>
            <a:off x="2840631" y="550919"/>
            <a:ext cx="980172" cy="515856"/>
            <a:chOff x="11258331" y="190801"/>
            <a:chExt cx="706636" cy="371897"/>
          </a:xfrm>
        </p:grpSpPr>
        <p:grpSp>
          <p:nvGrpSpPr>
            <p:cNvPr id="8" name="Группа 7">
              <a:extLst>
                <a:ext uri="{FF2B5EF4-FFF2-40B4-BE49-F238E27FC236}">
                  <a16:creationId xmlns:a16="http://schemas.microsoft.com/office/drawing/2014/main" xmlns="" id="{E03618BA-BB13-7C43-89FA-FF4DD4707890}"/>
                </a:ext>
              </a:extLst>
            </p:cNvPr>
            <p:cNvGrpSpPr/>
            <p:nvPr userDrawn="1"/>
          </p:nvGrpSpPr>
          <p:grpSpPr>
            <a:xfrm>
              <a:off x="11422617" y="190801"/>
              <a:ext cx="542350" cy="371897"/>
              <a:chOff x="15204566" y="95106"/>
              <a:chExt cx="898170" cy="615888"/>
            </a:xfrm>
          </p:grpSpPr>
          <p:sp>
            <p:nvSpPr>
              <p:cNvPr id="10" name="Правильный пятиугольник 6">
                <a:extLst>
                  <a:ext uri="{FF2B5EF4-FFF2-40B4-BE49-F238E27FC236}">
                    <a16:creationId xmlns:a16="http://schemas.microsoft.com/office/drawing/2014/main" xmlns="" id="{6A747893-DA3B-6F4D-A7C6-52BE512C8EC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5204566" y="95106"/>
                <a:ext cx="898170" cy="615888"/>
              </a:xfrm>
              <a:custGeom>
                <a:avLst/>
                <a:gdLst>
                  <a:gd name="connsiteX0" fmla="*/ 4 w 3600400"/>
                  <a:gd name="connsiteY0" fmla="*/ 934005 h 2445264"/>
                  <a:gd name="connsiteX1" fmla="*/ 1800200 w 3600400"/>
                  <a:gd name="connsiteY1" fmla="*/ 0 h 2445264"/>
                  <a:gd name="connsiteX2" fmla="*/ 3600396 w 3600400"/>
                  <a:gd name="connsiteY2" fmla="*/ 934005 h 2445264"/>
                  <a:gd name="connsiteX3" fmla="*/ 2912782 w 3600400"/>
                  <a:gd name="connsiteY3" fmla="*/ 2445258 h 2445264"/>
                  <a:gd name="connsiteX4" fmla="*/ 687618 w 3600400"/>
                  <a:gd name="connsiteY4" fmla="*/ 2445258 h 2445264"/>
                  <a:gd name="connsiteX5" fmla="*/ 4 w 3600400"/>
                  <a:gd name="connsiteY5" fmla="*/ 934005 h 2445264"/>
                  <a:gd name="connsiteX0" fmla="*/ 0 w 3600392"/>
                  <a:gd name="connsiteY0" fmla="*/ 934005 h 2485452"/>
                  <a:gd name="connsiteX1" fmla="*/ 1800196 w 3600392"/>
                  <a:gd name="connsiteY1" fmla="*/ 0 h 2485452"/>
                  <a:gd name="connsiteX2" fmla="*/ 3600392 w 3600392"/>
                  <a:gd name="connsiteY2" fmla="*/ 934005 h 2485452"/>
                  <a:gd name="connsiteX3" fmla="*/ 2912778 w 3600392"/>
                  <a:gd name="connsiteY3" fmla="*/ 2445258 h 2485452"/>
                  <a:gd name="connsiteX4" fmla="*/ 185197 w 3600392"/>
                  <a:gd name="connsiteY4" fmla="*/ 2485452 h 2485452"/>
                  <a:gd name="connsiteX5" fmla="*/ 0 w 3600392"/>
                  <a:gd name="connsiteY5" fmla="*/ 934005 h 2485452"/>
                  <a:gd name="connsiteX0" fmla="*/ 0 w 3600392"/>
                  <a:gd name="connsiteY0" fmla="*/ 934005 h 2485452"/>
                  <a:gd name="connsiteX1" fmla="*/ 1800196 w 3600392"/>
                  <a:gd name="connsiteY1" fmla="*/ 0 h 2485452"/>
                  <a:gd name="connsiteX2" fmla="*/ 3600392 w 3600392"/>
                  <a:gd name="connsiteY2" fmla="*/ 934005 h 2485452"/>
                  <a:gd name="connsiteX3" fmla="*/ 2480699 w 3600392"/>
                  <a:gd name="connsiteY3" fmla="*/ 2435209 h 2485452"/>
                  <a:gd name="connsiteX4" fmla="*/ 185197 w 3600392"/>
                  <a:gd name="connsiteY4" fmla="*/ 2485452 h 2485452"/>
                  <a:gd name="connsiteX5" fmla="*/ 0 w 3600392"/>
                  <a:gd name="connsiteY5" fmla="*/ 934005 h 2485452"/>
                  <a:gd name="connsiteX0" fmla="*/ 0 w 3600392"/>
                  <a:gd name="connsiteY0" fmla="*/ 934005 h 2485452"/>
                  <a:gd name="connsiteX1" fmla="*/ 1800196 w 3600392"/>
                  <a:gd name="connsiteY1" fmla="*/ 0 h 2485452"/>
                  <a:gd name="connsiteX2" fmla="*/ 3600392 w 3600392"/>
                  <a:gd name="connsiteY2" fmla="*/ 934005 h 2485452"/>
                  <a:gd name="connsiteX3" fmla="*/ 2480699 w 3600392"/>
                  <a:gd name="connsiteY3" fmla="*/ 2475403 h 2485452"/>
                  <a:gd name="connsiteX4" fmla="*/ 185197 w 3600392"/>
                  <a:gd name="connsiteY4" fmla="*/ 2485452 h 2485452"/>
                  <a:gd name="connsiteX5" fmla="*/ 0 w 3600392"/>
                  <a:gd name="connsiteY5" fmla="*/ 934005 h 2485452"/>
                  <a:gd name="connsiteX0" fmla="*/ 0 w 3600392"/>
                  <a:gd name="connsiteY0" fmla="*/ 934005 h 2475403"/>
                  <a:gd name="connsiteX1" fmla="*/ 1800196 w 3600392"/>
                  <a:gd name="connsiteY1" fmla="*/ 0 h 2475403"/>
                  <a:gd name="connsiteX2" fmla="*/ 3600392 w 3600392"/>
                  <a:gd name="connsiteY2" fmla="*/ 934005 h 2475403"/>
                  <a:gd name="connsiteX3" fmla="*/ 2480699 w 3600392"/>
                  <a:gd name="connsiteY3" fmla="*/ 2475403 h 2475403"/>
                  <a:gd name="connsiteX4" fmla="*/ 185197 w 3600392"/>
                  <a:gd name="connsiteY4" fmla="*/ 2460052 h 2475403"/>
                  <a:gd name="connsiteX5" fmla="*/ 0 w 3600392"/>
                  <a:gd name="connsiteY5" fmla="*/ 934005 h 2475403"/>
                  <a:gd name="connsiteX0" fmla="*/ 0 w 3600392"/>
                  <a:gd name="connsiteY0" fmla="*/ 934005 h 2462703"/>
                  <a:gd name="connsiteX1" fmla="*/ 1800196 w 3600392"/>
                  <a:gd name="connsiteY1" fmla="*/ 0 h 2462703"/>
                  <a:gd name="connsiteX2" fmla="*/ 3600392 w 3600392"/>
                  <a:gd name="connsiteY2" fmla="*/ 934005 h 2462703"/>
                  <a:gd name="connsiteX3" fmla="*/ 2480699 w 3600392"/>
                  <a:gd name="connsiteY3" fmla="*/ 2462703 h 2462703"/>
                  <a:gd name="connsiteX4" fmla="*/ 185197 w 3600392"/>
                  <a:gd name="connsiteY4" fmla="*/ 2460052 h 2462703"/>
                  <a:gd name="connsiteX5" fmla="*/ 0 w 3600392"/>
                  <a:gd name="connsiteY5" fmla="*/ 934005 h 2462703"/>
                  <a:gd name="connsiteX0" fmla="*/ 0 w 3600392"/>
                  <a:gd name="connsiteY0" fmla="*/ 934005 h 2462703"/>
                  <a:gd name="connsiteX1" fmla="*/ 1800196 w 3600392"/>
                  <a:gd name="connsiteY1" fmla="*/ 0 h 2462703"/>
                  <a:gd name="connsiteX2" fmla="*/ 3600392 w 3600392"/>
                  <a:gd name="connsiteY2" fmla="*/ 934005 h 2462703"/>
                  <a:gd name="connsiteX3" fmla="*/ 2480699 w 3600392"/>
                  <a:gd name="connsiteY3" fmla="*/ 2462703 h 2462703"/>
                  <a:gd name="connsiteX4" fmla="*/ 207422 w 3600392"/>
                  <a:gd name="connsiteY4" fmla="*/ 2460052 h 2462703"/>
                  <a:gd name="connsiteX5" fmla="*/ 0 w 3600392"/>
                  <a:gd name="connsiteY5" fmla="*/ 934005 h 2462703"/>
                  <a:gd name="connsiteX0" fmla="*/ 0 w 3600392"/>
                  <a:gd name="connsiteY0" fmla="*/ 934005 h 2462703"/>
                  <a:gd name="connsiteX1" fmla="*/ 1800196 w 3600392"/>
                  <a:gd name="connsiteY1" fmla="*/ 0 h 2462703"/>
                  <a:gd name="connsiteX2" fmla="*/ 3600392 w 3600392"/>
                  <a:gd name="connsiteY2" fmla="*/ 934005 h 2462703"/>
                  <a:gd name="connsiteX3" fmla="*/ 2414024 w 3600392"/>
                  <a:gd name="connsiteY3" fmla="*/ 2462703 h 2462703"/>
                  <a:gd name="connsiteX4" fmla="*/ 207422 w 3600392"/>
                  <a:gd name="connsiteY4" fmla="*/ 2460052 h 2462703"/>
                  <a:gd name="connsiteX5" fmla="*/ 0 w 3600392"/>
                  <a:gd name="connsiteY5" fmla="*/ 934005 h 2462703"/>
                  <a:gd name="connsiteX0" fmla="*/ 0 w 3600392"/>
                  <a:gd name="connsiteY0" fmla="*/ 919718 h 2448416"/>
                  <a:gd name="connsiteX1" fmla="*/ 2124046 w 3600392"/>
                  <a:gd name="connsiteY1" fmla="*/ 0 h 2448416"/>
                  <a:gd name="connsiteX2" fmla="*/ 3600392 w 3600392"/>
                  <a:gd name="connsiteY2" fmla="*/ 919718 h 2448416"/>
                  <a:gd name="connsiteX3" fmla="*/ 2414024 w 3600392"/>
                  <a:gd name="connsiteY3" fmla="*/ 2448416 h 2448416"/>
                  <a:gd name="connsiteX4" fmla="*/ 207422 w 3600392"/>
                  <a:gd name="connsiteY4" fmla="*/ 2445765 h 2448416"/>
                  <a:gd name="connsiteX5" fmla="*/ 0 w 3600392"/>
                  <a:gd name="connsiteY5" fmla="*/ 919718 h 2448416"/>
                  <a:gd name="connsiteX0" fmla="*/ 0 w 3576579"/>
                  <a:gd name="connsiteY0" fmla="*/ 929243 h 2448416"/>
                  <a:gd name="connsiteX1" fmla="*/ 2100233 w 3576579"/>
                  <a:gd name="connsiteY1" fmla="*/ 0 h 2448416"/>
                  <a:gd name="connsiteX2" fmla="*/ 3576579 w 3576579"/>
                  <a:gd name="connsiteY2" fmla="*/ 919718 h 2448416"/>
                  <a:gd name="connsiteX3" fmla="*/ 2390211 w 3576579"/>
                  <a:gd name="connsiteY3" fmla="*/ 2448416 h 2448416"/>
                  <a:gd name="connsiteX4" fmla="*/ 183609 w 3576579"/>
                  <a:gd name="connsiteY4" fmla="*/ 2445765 h 2448416"/>
                  <a:gd name="connsiteX5" fmla="*/ 0 w 3576579"/>
                  <a:gd name="connsiteY5" fmla="*/ 929243 h 2448416"/>
                  <a:gd name="connsiteX0" fmla="*/ 0 w 3576579"/>
                  <a:gd name="connsiteY0" fmla="*/ 929243 h 2448416"/>
                  <a:gd name="connsiteX1" fmla="*/ 2100233 w 3576579"/>
                  <a:gd name="connsiteY1" fmla="*/ 0 h 2448416"/>
                  <a:gd name="connsiteX2" fmla="*/ 3576579 w 3576579"/>
                  <a:gd name="connsiteY2" fmla="*/ 919718 h 2448416"/>
                  <a:gd name="connsiteX3" fmla="*/ 3497470 w 3576579"/>
                  <a:gd name="connsiteY3" fmla="*/ 998909 h 2448416"/>
                  <a:gd name="connsiteX4" fmla="*/ 2390211 w 3576579"/>
                  <a:gd name="connsiteY4" fmla="*/ 2448416 h 2448416"/>
                  <a:gd name="connsiteX5" fmla="*/ 183609 w 3576579"/>
                  <a:gd name="connsiteY5" fmla="*/ 2445765 h 2448416"/>
                  <a:gd name="connsiteX6" fmla="*/ 0 w 3576579"/>
                  <a:gd name="connsiteY6" fmla="*/ 929243 h 2448416"/>
                  <a:gd name="connsiteX0" fmla="*/ 0 w 3576579"/>
                  <a:gd name="connsiteY0" fmla="*/ 929243 h 2448416"/>
                  <a:gd name="connsiteX1" fmla="*/ 2100233 w 3576579"/>
                  <a:gd name="connsiteY1" fmla="*/ 0 h 2448416"/>
                  <a:gd name="connsiteX2" fmla="*/ 2176369 w 3576579"/>
                  <a:gd name="connsiteY2" fmla="*/ 33707 h 2448416"/>
                  <a:gd name="connsiteX3" fmla="*/ 3576579 w 3576579"/>
                  <a:gd name="connsiteY3" fmla="*/ 919718 h 2448416"/>
                  <a:gd name="connsiteX4" fmla="*/ 3497470 w 3576579"/>
                  <a:gd name="connsiteY4" fmla="*/ 998909 h 2448416"/>
                  <a:gd name="connsiteX5" fmla="*/ 2390211 w 3576579"/>
                  <a:gd name="connsiteY5" fmla="*/ 2448416 h 2448416"/>
                  <a:gd name="connsiteX6" fmla="*/ 183609 w 3576579"/>
                  <a:gd name="connsiteY6" fmla="*/ 2445765 h 2448416"/>
                  <a:gd name="connsiteX7" fmla="*/ 0 w 3576579"/>
                  <a:gd name="connsiteY7" fmla="*/ 929243 h 2448416"/>
                  <a:gd name="connsiteX0" fmla="*/ 0 w 3576579"/>
                  <a:gd name="connsiteY0" fmla="*/ 929243 h 2448416"/>
                  <a:gd name="connsiteX1" fmla="*/ 2035962 w 3576579"/>
                  <a:gd name="connsiteY1" fmla="*/ 27229 h 2448416"/>
                  <a:gd name="connsiteX2" fmla="*/ 2100233 w 3576579"/>
                  <a:gd name="connsiteY2" fmla="*/ 0 h 2448416"/>
                  <a:gd name="connsiteX3" fmla="*/ 2176369 w 3576579"/>
                  <a:gd name="connsiteY3" fmla="*/ 33707 h 2448416"/>
                  <a:gd name="connsiteX4" fmla="*/ 3576579 w 3576579"/>
                  <a:gd name="connsiteY4" fmla="*/ 919718 h 2448416"/>
                  <a:gd name="connsiteX5" fmla="*/ 3497470 w 3576579"/>
                  <a:gd name="connsiteY5" fmla="*/ 998909 h 2448416"/>
                  <a:gd name="connsiteX6" fmla="*/ 2390211 w 3576579"/>
                  <a:gd name="connsiteY6" fmla="*/ 2448416 h 2448416"/>
                  <a:gd name="connsiteX7" fmla="*/ 183609 w 3576579"/>
                  <a:gd name="connsiteY7" fmla="*/ 2445765 h 2448416"/>
                  <a:gd name="connsiteX8" fmla="*/ 0 w 3576579"/>
                  <a:gd name="connsiteY8" fmla="*/ 929243 h 2448416"/>
                  <a:gd name="connsiteX0" fmla="*/ 0 w 3576579"/>
                  <a:gd name="connsiteY0" fmla="*/ 929243 h 2448416"/>
                  <a:gd name="connsiteX1" fmla="*/ 2035962 w 3576579"/>
                  <a:gd name="connsiteY1" fmla="*/ 27229 h 2448416"/>
                  <a:gd name="connsiteX2" fmla="*/ 2100233 w 3576579"/>
                  <a:gd name="connsiteY2" fmla="*/ 0 h 2448416"/>
                  <a:gd name="connsiteX3" fmla="*/ 2176369 w 3576579"/>
                  <a:gd name="connsiteY3" fmla="*/ 33707 h 2448416"/>
                  <a:gd name="connsiteX4" fmla="*/ 3576579 w 3576579"/>
                  <a:gd name="connsiteY4" fmla="*/ 919718 h 2448416"/>
                  <a:gd name="connsiteX5" fmla="*/ 3497470 w 3576579"/>
                  <a:gd name="connsiteY5" fmla="*/ 998909 h 2448416"/>
                  <a:gd name="connsiteX6" fmla="*/ 2390211 w 3576579"/>
                  <a:gd name="connsiteY6" fmla="*/ 2448416 h 2448416"/>
                  <a:gd name="connsiteX7" fmla="*/ 183609 w 3576579"/>
                  <a:gd name="connsiteY7" fmla="*/ 2445765 h 2448416"/>
                  <a:gd name="connsiteX8" fmla="*/ 6444 w 3576579"/>
                  <a:gd name="connsiteY8" fmla="*/ 1005386 h 2448416"/>
                  <a:gd name="connsiteX9" fmla="*/ 0 w 3576579"/>
                  <a:gd name="connsiteY9" fmla="*/ 929243 h 2448416"/>
                  <a:gd name="connsiteX0" fmla="*/ 0 w 3576579"/>
                  <a:gd name="connsiteY0" fmla="*/ 929243 h 2448416"/>
                  <a:gd name="connsiteX1" fmla="*/ 70265 w 3576579"/>
                  <a:gd name="connsiteY1" fmla="*/ 888785 h 2448416"/>
                  <a:gd name="connsiteX2" fmla="*/ 2035962 w 3576579"/>
                  <a:gd name="connsiteY2" fmla="*/ 27229 h 2448416"/>
                  <a:gd name="connsiteX3" fmla="*/ 2100233 w 3576579"/>
                  <a:gd name="connsiteY3" fmla="*/ 0 h 2448416"/>
                  <a:gd name="connsiteX4" fmla="*/ 2176369 w 3576579"/>
                  <a:gd name="connsiteY4" fmla="*/ 33707 h 2448416"/>
                  <a:gd name="connsiteX5" fmla="*/ 3576579 w 3576579"/>
                  <a:gd name="connsiteY5" fmla="*/ 919718 h 2448416"/>
                  <a:gd name="connsiteX6" fmla="*/ 3497470 w 3576579"/>
                  <a:gd name="connsiteY6" fmla="*/ 998909 h 2448416"/>
                  <a:gd name="connsiteX7" fmla="*/ 2390211 w 3576579"/>
                  <a:gd name="connsiteY7" fmla="*/ 2448416 h 2448416"/>
                  <a:gd name="connsiteX8" fmla="*/ 183609 w 3576579"/>
                  <a:gd name="connsiteY8" fmla="*/ 2445765 h 2448416"/>
                  <a:gd name="connsiteX9" fmla="*/ 6444 w 3576579"/>
                  <a:gd name="connsiteY9" fmla="*/ 1005386 h 2448416"/>
                  <a:gd name="connsiteX10" fmla="*/ 0 w 3576579"/>
                  <a:gd name="connsiteY10" fmla="*/ 929243 h 2448416"/>
                  <a:gd name="connsiteX0" fmla="*/ 0 w 3576579"/>
                  <a:gd name="connsiteY0" fmla="*/ 929243 h 2448416"/>
                  <a:gd name="connsiteX1" fmla="*/ 70265 w 3576579"/>
                  <a:gd name="connsiteY1" fmla="*/ 888785 h 2448416"/>
                  <a:gd name="connsiteX2" fmla="*/ 2035962 w 3576579"/>
                  <a:gd name="connsiteY2" fmla="*/ 27229 h 2448416"/>
                  <a:gd name="connsiteX3" fmla="*/ 2100233 w 3576579"/>
                  <a:gd name="connsiteY3" fmla="*/ 0 h 2448416"/>
                  <a:gd name="connsiteX4" fmla="*/ 2176369 w 3576579"/>
                  <a:gd name="connsiteY4" fmla="*/ 33707 h 2448416"/>
                  <a:gd name="connsiteX5" fmla="*/ 3576579 w 3576579"/>
                  <a:gd name="connsiteY5" fmla="*/ 919718 h 2448416"/>
                  <a:gd name="connsiteX6" fmla="*/ 3497470 w 3576579"/>
                  <a:gd name="connsiteY6" fmla="*/ 998909 h 2448416"/>
                  <a:gd name="connsiteX7" fmla="*/ 2390211 w 3576579"/>
                  <a:gd name="connsiteY7" fmla="*/ 2448416 h 2448416"/>
                  <a:gd name="connsiteX8" fmla="*/ 255347 w 3576579"/>
                  <a:gd name="connsiteY8" fmla="*/ 2436994 h 2448416"/>
                  <a:gd name="connsiteX9" fmla="*/ 183609 w 3576579"/>
                  <a:gd name="connsiteY9" fmla="*/ 2445765 h 2448416"/>
                  <a:gd name="connsiteX10" fmla="*/ 6444 w 3576579"/>
                  <a:gd name="connsiteY10" fmla="*/ 1005386 h 2448416"/>
                  <a:gd name="connsiteX11" fmla="*/ 0 w 3576579"/>
                  <a:gd name="connsiteY11" fmla="*/ 929243 h 2448416"/>
                  <a:gd name="connsiteX0" fmla="*/ 0 w 3576579"/>
                  <a:gd name="connsiteY0" fmla="*/ 929243 h 2448416"/>
                  <a:gd name="connsiteX1" fmla="*/ 70265 w 3576579"/>
                  <a:gd name="connsiteY1" fmla="*/ 888785 h 2448416"/>
                  <a:gd name="connsiteX2" fmla="*/ 2035962 w 3576579"/>
                  <a:gd name="connsiteY2" fmla="*/ 27229 h 2448416"/>
                  <a:gd name="connsiteX3" fmla="*/ 2100233 w 3576579"/>
                  <a:gd name="connsiteY3" fmla="*/ 0 h 2448416"/>
                  <a:gd name="connsiteX4" fmla="*/ 2176369 w 3576579"/>
                  <a:gd name="connsiteY4" fmla="*/ 33707 h 2448416"/>
                  <a:gd name="connsiteX5" fmla="*/ 3576579 w 3576579"/>
                  <a:gd name="connsiteY5" fmla="*/ 919718 h 2448416"/>
                  <a:gd name="connsiteX6" fmla="*/ 3497470 w 3576579"/>
                  <a:gd name="connsiteY6" fmla="*/ 998909 h 2448416"/>
                  <a:gd name="connsiteX7" fmla="*/ 2390211 w 3576579"/>
                  <a:gd name="connsiteY7" fmla="*/ 2448416 h 2448416"/>
                  <a:gd name="connsiteX8" fmla="*/ 255347 w 3576579"/>
                  <a:gd name="connsiteY8" fmla="*/ 2436994 h 2448416"/>
                  <a:gd name="connsiteX9" fmla="*/ 183609 w 3576579"/>
                  <a:gd name="connsiteY9" fmla="*/ 2445765 h 2448416"/>
                  <a:gd name="connsiteX10" fmla="*/ 159615 w 3576579"/>
                  <a:gd name="connsiteY10" fmla="*/ 2346303 h 2448416"/>
                  <a:gd name="connsiteX11" fmla="*/ 6444 w 3576579"/>
                  <a:gd name="connsiteY11" fmla="*/ 1005386 h 2448416"/>
                  <a:gd name="connsiteX12" fmla="*/ 0 w 3576579"/>
                  <a:gd name="connsiteY12" fmla="*/ 929243 h 2448416"/>
                  <a:gd name="connsiteX0" fmla="*/ 0 w 3576579"/>
                  <a:gd name="connsiteY0" fmla="*/ 929243 h 2449950"/>
                  <a:gd name="connsiteX1" fmla="*/ 70265 w 3576579"/>
                  <a:gd name="connsiteY1" fmla="*/ 888785 h 2449950"/>
                  <a:gd name="connsiteX2" fmla="*/ 2035962 w 3576579"/>
                  <a:gd name="connsiteY2" fmla="*/ 27229 h 2449950"/>
                  <a:gd name="connsiteX3" fmla="*/ 2100233 w 3576579"/>
                  <a:gd name="connsiteY3" fmla="*/ 0 h 2449950"/>
                  <a:gd name="connsiteX4" fmla="*/ 2176369 w 3576579"/>
                  <a:gd name="connsiteY4" fmla="*/ 33707 h 2449950"/>
                  <a:gd name="connsiteX5" fmla="*/ 3576579 w 3576579"/>
                  <a:gd name="connsiteY5" fmla="*/ 919718 h 2449950"/>
                  <a:gd name="connsiteX6" fmla="*/ 3497470 w 3576579"/>
                  <a:gd name="connsiteY6" fmla="*/ 998909 h 2449950"/>
                  <a:gd name="connsiteX7" fmla="*/ 2390211 w 3576579"/>
                  <a:gd name="connsiteY7" fmla="*/ 2448416 h 2449950"/>
                  <a:gd name="connsiteX8" fmla="*/ 2291247 w 3576579"/>
                  <a:gd name="connsiteY8" fmla="*/ 2449950 h 2449950"/>
                  <a:gd name="connsiteX9" fmla="*/ 255347 w 3576579"/>
                  <a:gd name="connsiteY9" fmla="*/ 2436994 h 2449950"/>
                  <a:gd name="connsiteX10" fmla="*/ 183609 w 3576579"/>
                  <a:gd name="connsiteY10" fmla="*/ 2445765 h 2449950"/>
                  <a:gd name="connsiteX11" fmla="*/ 159615 w 3576579"/>
                  <a:gd name="connsiteY11" fmla="*/ 2346303 h 2449950"/>
                  <a:gd name="connsiteX12" fmla="*/ 6444 w 3576579"/>
                  <a:gd name="connsiteY12" fmla="*/ 1005386 h 2449950"/>
                  <a:gd name="connsiteX13" fmla="*/ 0 w 3576579"/>
                  <a:gd name="connsiteY13" fmla="*/ 929243 h 2449950"/>
                  <a:gd name="connsiteX0" fmla="*/ 0 w 3576579"/>
                  <a:gd name="connsiteY0" fmla="*/ 929243 h 2449950"/>
                  <a:gd name="connsiteX1" fmla="*/ 70265 w 3576579"/>
                  <a:gd name="connsiteY1" fmla="*/ 888785 h 2449950"/>
                  <a:gd name="connsiteX2" fmla="*/ 2035962 w 3576579"/>
                  <a:gd name="connsiteY2" fmla="*/ 27229 h 2449950"/>
                  <a:gd name="connsiteX3" fmla="*/ 2100233 w 3576579"/>
                  <a:gd name="connsiteY3" fmla="*/ 0 h 2449950"/>
                  <a:gd name="connsiteX4" fmla="*/ 2176369 w 3576579"/>
                  <a:gd name="connsiteY4" fmla="*/ 33707 h 2449950"/>
                  <a:gd name="connsiteX5" fmla="*/ 3576579 w 3576579"/>
                  <a:gd name="connsiteY5" fmla="*/ 919718 h 2449950"/>
                  <a:gd name="connsiteX6" fmla="*/ 3497470 w 3576579"/>
                  <a:gd name="connsiteY6" fmla="*/ 998909 h 2449950"/>
                  <a:gd name="connsiteX7" fmla="*/ 2450801 w 3576579"/>
                  <a:gd name="connsiteY7" fmla="*/ 2359259 h 2449950"/>
                  <a:gd name="connsiteX8" fmla="*/ 2390211 w 3576579"/>
                  <a:gd name="connsiteY8" fmla="*/ 2448416 h 2449950"/>
                  <a:gd name="connsiteX9" fmla="*/ 2291247 w 3576579"/>
                  <a:gd name="connsiteY9" fmla="*/ 2449950 h 2449950"/>
                  <a:gd name="connsiteX10" fmla="*/ 255347 w 3576579"/>
                  <a:gd name="connsiteY10" fmla="*/ 2436994 h 2449950"/>
                  <a:gd name="connsiteX11" fmla="*/ 183609 w 3576579"/>
                  <a:gd name="connsiteY11" fmla="*/ 2445765 h 2449950"/>
                  <a:gd name="connsiteX12" fmla="*/ 159615 w 3576579"/>
                  <a:gd name="connsiteY12" fmla="*/ 2346303 h 2449950"/>
                  <a:gd name="connsiteX13" fmla="*/ 6444 w 3576579"/>
                  <a:gd name="connsiteY13" fmla="*/ 1005386 h 2449950"/>
                  <a:gd name="connsiteX14" fmla="*/ 0 w 3576579"/>
                  <a:gd name="connsiteY14" fmla="*/ 929243 h 2449950"/>
                  <a:gd name="connsiteX0" fmla="*/ 0 w 3576579"/>
                  <a:gd name="connsiteY0" fmla="*/ 929243 h 2449950"/>
                  <a:gd name="connsiteX1" fmla="*/ 70265 w 3576579"/>
                  <a:gd name="connsiteY1" fmla="*/ 888785 h 2449950"/>
                  <a:gd name="connsiteX2" fmla="*/ 2035962 w 3576579"/>
                  <a:gd name="connsiteY2" fmla="*/ 27229 h 2449950"/>
                  <a:gd name="connsiteX3" fmla="*/ 2100233 w 3576579"/>
                  <a:gd name="connsiteY3" fmla="*/ 0 h 2449950"/>
                  <a:gd name="connsiteX4" fmla="*/ 2176369 w 3576579"/>
                  <a:gd name="connsiteY4" fmla="*/ 33707 h 2449950"/>
                  <a:gd name="connsiteX5" fmla="*/ 3576579 w 3576579"/>
                  <a:gd name="connsiteY5" fmla="*/ 919718 h 2449950"/>
                  <a:gd name="connsiteX6" fmla="*/ 3497470 w 3576579"/>
                  <a:gd name="connsiteY6" fmla="*/ 998909 h 2449950"/>
                  <a:gd name="connsiteX7" fmla="*/ 2450801 w 3576579"/>
                  <a:gd name="connsiteY7" fmla="*/ 2359259 h 2449950"/>
                  <a:gd name="connsiteX8" fmla="*/ 2291247 w 3576579"/>
                  <a:gd name="connsiteY8" fmla="*/ 2449950 h 2449950"/>
                  <a:gd name="connsiteX9" fmla="*/ 255347 w 3576579"/>
                  <a:gd name="connsiteY9" fmla="*/ 2436994 h 2449950"/>
                  <a:gd name="connsiteX10" fmla="*/ 183609 w 3576579"/>
                  <a:gd name="connsiteY10" fmla="*/ 2445765 h 2449950"/>
                  <a:gd name="connsiteX11" fmla="*/ 159615 w 3576579"/>
                  <a:gd name="connsiteY11" fmla="*/ 2346303 h 2449950"/>
                  <a:gd name="connsiteX12" fmla="*/ 6444 w 3576579"/>
                  <a:gd name="connsiteY12" fmla="*/ 1005386 h 2449950"/>
                  <a:gd name="connsiteX13" fmla="*/ 0 w 3576579"/>
                  <a:gd name="connsiteY13" fmla="*/ 929243 h 2449950"/>
                  <a:gd name="connsiteX0" fmla="*/ 0 w 3576579"/>
                  <a:gd name="connsiteY0" fmla="*/ 929243 h 2449950"/>
                  <a:gd name="connsiteX1" fmla="*/ 70265 w 3576579"/>
                  <a:gd name="connsiteY1" fmla="*/ 888785 h 2449950"/>
                  <a:gd name="connsiteX2" fmla="*/ 2035962 w 3576579"/>
                  <a:gd name="connsiteY2" fmla="*/ 27229 h 2449950"/>
                  <a:gd name="connsiteX3" fmla="*/ 2100233 w 3576579"/>
                  <a:gd name="connsiteY3" fmla="*/ 0 h 2449950"/>
                  <a:gd name="connsiteX4" fmla="*/ 2176369 w 3576579"/>
                  <a:gd name="connsiteY4" fmla="*/ 33707 h 2449950"/>
                  <a:gd name="connsiteX5" fmla="*/ 3576579 w 3576579"/>
                  <a:gd name="connsiteY5" fmla="*/ 919718 h 2449950"/>
                  <a:gd name="connsiteX6" fmla="*/ 3497470 w 3576579"/>
                  <a:gd name="connsiteY6" fmla="*/ 998909 h 2449950"/>
                  <a:gd name="connsiteX7" fmla="*/ 2450801 w 3576579"/>
                  <a:gd name="connsiteY7" fmla="*/ 2359259 h 2449950"/>
                  <a:gd name="connsiteX8" fmla="*/ 2291247 w 3576579"/>
                  <a:gd name="connsiteY8" fmla="*/ 2449950 h 2449950"/>
                  <a:gd name="connsiteX9" fmla="*/ 255347 w 3576579"/>
                  <a:gd name="connsiteY9" fmla="*/ 2436994 h 2449950"/>
                  <a:gd name="connsiteX10" fmla="*/ 183609 w 3576579"/>
                  <a:gd name="connsiteY10" fmla="*/ 2445765 h 2449950"/>
                  <a:gd name="connsiteX11" fmla="*/ 159615 w 3576579"/>
                  <a:gd name="connsiteY11" fmla="*/ 2346303 h 2449950"/>
                  <a:gd name="connsiteX12" fmla="*/ 6444 w 3576579"/>
                  <a:gd name="connsiteY12" fmla="*/ 1005386 h 2449950"/>
                  <a:gd name="connsiteX13" fmla="*/ 0 w 3576579"/>
                  <a:gd name="connsiteY13" fmla="*/ 929243 h 2449950"/>
                  <a:gd name="connsiteX0" fmla="*/ 0 w 3576579"/>
                  <a:gd name="connsiteY0" fmla="*/ 929243 h 2456697"/>
                  <a:gd name="connsiteX1" fmla="*/ 70265 w 3576579"/>
                  <a:gd name="connsiteY1" fmla="*/ 888785 h 2456697"/>
                  <a:gd name="connsiteX2" fmla="*/ 2035962 w 3576579"/>
                  <a:gd name="connsiteY2" fmla="*/ 27229 h 2456697"/>
                  <a:gd name="connsiteX3" fmla="*/ 2100233 w 3576579"/>
                  <a:gd name="connsiteY3" fmla="*/ 0 h 2456697"/>
                  <a:gd name="connsiteX4" fmla="*/ 2176369 w 3576579"/>
                  <a:gd name="connsiteY4" fmla="*/ 33707 h 2456697"/>
                  <a:gd name="connsiteX5" fmla="*/ 3576579 w 3576579"/>
                  <a:gd name="connsiteY5" fmla="*/ 919718 h 2456697"/>
                  <a:gd name="connsiteX6" fmla="*/ 3497470 w 3576579"/>
                  <a:gd name="connsiteY6" fmla="*/ 998909 h 2456697"/>
                  <a:gd name="connsiteX7" fmla="*/ 2450801 w 3576579"/>
                  <a:gd name="connsiteY7" fmla="*/ 2359259 h 2456697"/>
                  <a:gd name="connsiteX8" fmla="*/ 2291247 w 3576579"/>
                  <a:gd name="connsiteY8" fmla="*/ 2449950 h 2456697"/>
                  <a:gd name="connsiteX9" fmla="*/ 255347 w 3576579"/>
                  <a:gd name="connsiteY9" fmla="*/ 2436994 h 2456697"/>
                  <a:gd name="connsiteX10" fmla="*/ 183609 w 3576579"/>
                  <a:gd name="connsiteY10" fmla="*/ 2445765 h 2456697"/>
                  <a:gd name="connsiteX11" fmla="*/ 159615 w 3576579"/>
                  <a:gd name="connsiteY11" fmla="*/ 2346303 h 2456697"/>
                  <a:gd name="connsiteX12" fmla="*/ 6444 w 3576579"/>
                  <a:gd name="connsiteY12" fmla="*/ 1005386 h 2456697"/>
                  <a:gd name="connsiteX13" fmla="*/ 0 w 3576579"/>
                  <a:gd name="connsiteY13" fmla="*/ 929243 h 2456697"/>
                  <a:gd name="connsiteX0" fmla="*/ 0 w 3576579"/>
                  <a:gd name="connsiteY0" fmla="*/ 929243 h 2449950"/>
                  <a:gd name="connsiteX1" fmla="*/ 70265 w 3576579"/>
                  <a:gd name="connsiteY1" fmla="*/ 888785 h 2449950"/>
                  <a:gd name="connsiteX2" fmla="*/ 2035962 w 3576579"/>
                  <a:gd name="connsiteY2" fmla="*/ 27229 h 2449950"/>
                  <a:gd name="connsiteX3" fmla="*/ 2100233 w 3576579"/>
                  <a:gd name="connsiteY3" fmla="*/ 0 h 2449950"/>
                  <a:gd name="connsiteX4" fmla="*/ 2176369 w 3576579"/>
                  <a:gd name="connsiteY4" fmla="*/ 33707 h 2449950"/>
                  <a:gd name="connsiteX5" fmla="*/ 3576579 w 3576579"/>
                  <a:gd name="connsiteY5" fmla="*/ 919718 h 2449950"/>
                  <a:gd name="connsiteX6" fmla="*/ 3497470 w 3576579"/>
                  <a:gd name="connsiteY6" fmla="*/ 998909 h 2449950"/>
                  <a:gd name="connsiteX7" fmla="*/ 2450801 w 3576579"/>
                  <a:gd name="connsiteY7" fmla="*/ 2359259 h 2449950"/>
                  <a:gd name="connsiteX8" fmla="*/ 2291247 w 3576579"/>
                  <a:gd name="connsiteY8" fmla="*/ 2449950 h 2449950"/>
                  <a:gd name="connsiteX9" fmla="*/ 255347 w 3576579"/>
                  <a:gd name="connsiteY9" fmla="*/ 2436994 h 2449950"/>
                  <a:gd name="connsiteX10" fmla="*/ 183609 w 3576579"/>
                  <a:gd name="connsiteY10" fmla="*/ 2445765 h 2449950"/>
                  <a:gd name="connsiteX11" fmla="*/ 159615 w 3576579"/>
                  <a:gd name="connsiteY11" fmla="*/ 2346303 h 2449950"/>
                  <a:gd name="connsiteX12" fmla="*/ 6444 w 3576579"/>
                  <a:gd name="connsiteY12" fmla="*/ 1005386 h 2449950"/>
                  <a:gd name="connsiteX13" fmla="*/ 0 w 3576579"/>
                  <a:gd name="connsiteY13" fmla="*/ 929243 h 2449950"/>
                  <a:gd name="connsiteX0" fmla="*/ 0 w 3576579"/>
                  <a:gd name="connsiteY0" fmla="*/ 929243 h 2449950"/>
                  <a:gd name="connsiteX1" fmla="*/ 70265 w 3576579"/>
                  <a:gd name="connsiteY1" fmla="*/ 888785 h 2449950"/>
                  <a:gd name="connsiteX2" fmla="*/ 2035962 w 3576579"/>
                  <a:gd name="connsiteY2" fmla="*/ 27229 h 2449950"/>
                  <a:gd name="connsiteX3" fmla="*/ 2100233 w 3576579"/>
                  <a:gd name="connsiteY3" fmla="*/ 0 h 2449950"/>
                  <a:gd name="connsiteX4" fmla="*/ 2176369 w 3576579"/>
                  <a:gd name="connsiteY4" fmla="*/ 33707 h 2449950"/>
                  <a:gd name="connsiteX5" fmla="*/ 3576579 w 3576579"/>
                  <a:gd name="connsiteY5" fmla="*/ 919718 h 2449950"/>
                  <a:gd name="connsiteX6" fmla="*/ 3497470 w 3576579"/>
                  <a:gd name="connsiteY6" fmla="*/ 998909 h 2449950"/>
                  <a:gd name="connsiteX7" fmla="*/ 2450801 w 3576579"/>
                  <a:gd name="connsiteY7" fmla="*/ 2359259 h 2449950"/>
                  <a:gd name="connsiteX8" fmla="*/ 2291247 w 3576579"/>
                  <a:gd name="connsiteY8" fmla="*/ 2449950 h 2449950"/>
                  <a:gd name="connsiteX9" fmla="*/ 255347 w 3576579"/>
                  <a:gd name="connsiteY9" fmla="*/ 2436994 h 2449950"/>
                  <a:gd name="connsiteX10" fmla="*/ 159615 w 3576579"/>
                  <a:gd name="connsiteY10" fmla="*/ 2346303 h 2449950"/>
                  <a:gd name="connsiteX11" fmla="*/ 6444 w 3576579"/>
                  <a:gd name="connsiteY11" fmla="*/ 1005386 h 2449950"/>
                  <a:gd name="connsiteX12" fmla="*/ 0 w 3576579"/>
                  <a:gd name="connsiteY12" fmla="*/ 929243 h 2449950"/>
                  <a:gd name="connsiteX0" fmla="*/ 0 w 3576579"/>
                  <a:gd name="connsiteY0" fmla="*/ 929243 h 2449950"/>
                  <a:gd name="connsiteX1" fmla="*/ 70265 w 3576579"/>
                  <a:gd name="connsiteY1" fmla="*/ 888785 h 2449950"/>
                  <a:gd name="connsiteX2" fmla="*/ 2035962 w 3576579"/>
                  <a:gd name="connsiteY2" fmla="*/ 27229 h 2449950"/>
                  <a:gd name="connsiteX3" fmla="*/ 2100233 w 3576579"/>
                  <a:gd name="connsiteY3" fmla="*/ 0 h 2449950"/>
                  <a:gd name="connsiteX4" fmla="*/ 2176369 w 3576579"/>
                  <a:gd name="connsiteY4" fmla="*/ 33707 h 2449950"/>
                  <a:gd name="connsiteX5" fmla="*/ 3576579 w 3576579"/>
                  <a:gd name="connsiteY5" fmla="*/ 919718 h 2449950"/>
                  <a:gd name="connsiteX6" fmla="*/ 3497470 w 3576579"/>
                  <a:gd name="connsiteY6" fmla="*/ 998909 h 2449950"/>
                  <a:gd name="connsiteX7" fmla="*/ 2450801 w 3576579"/>
                  <a:gd name="connsiteY7" fmla="*/ 2359259 h 2449950"/>
                  <a:gd name="connsiteX8" fmla="*/ 2291247 w 3576579"/>
                  <a:gd name="connsiteY8" fmla="*/ 2449950 h 2449950"/>
                  <a:gd name="connsiteX9" fmla="*/ 255347 w 3576579"/>
                  <a:gd name="connsiteY9" fmla="*/ 2436994 h 2449950"/>
                  <a:gd name="connsiteX10" fmla="*/ 159615 w 3576579"/>
                  <a:gd name="connsiteY10" fmla="*/ 2346303 h 2449950"/>
                  <a:gd name="connsiteX11" fmla="*/ 6444 w 3576579"/>
                  <a:gd name="connsiteY11" fmla="*/ 1005386 h 2449950"/>
                  <a:gd name="connsiteX12" fmla="*/ 0 w 3576579"/>
                  <a:gd name="connsiteY12" fmla="*/ 929243 h 2449950"/>
                  <a:gd name="connsiteX0" fmla="*/ 0 w 3576579"/>
                  <a:gd name="connsiteY0" fmla="*/ 929243 h 2449950"/>
                  <a:gd name="connsiteX1" fmla="*/ 70265 w 3576579"/>
                  <a:gd name="connsiteY1" fmla="*/ 888785 h 2449950"/>
                  <a:gd name="connsiteX2" fmla="*/ 2035962 w 3576579"/>
                  <a:gd name="connsiteY2" fmla="*/ 27229 h 2449950"/>
                  <a:gd name="connsiteX3" fmla="*/ 2100233 w 3576579"/>
                  <a:gd name="connsiteY3" fmla="*/ 0 h 2449950"/>
                  <a:gd name="connsiteX4" fmla="*/ 2176369 w 3576579"/>
                  <a:gd name="connsiteY4" fmla="*/ 33707 h 2449950"/>
                  <a:gd name="connsiteX5" fmla="*/ 3576579 w 3576579"/>
                  <a:gd name="connsiteY5" fmla="*/ 919718 h 2449950"/>
                  <a:gd name="connsiteX6" fmla="*/ 3497470 w 3576579"/>
                  <a:gd name="connsiteY6" fmla="*/ 998909 h 2449950"/>
                  <a:gd name="connsiteX7" fmla="*/ 2450801 w 3576579"/>
                  <a:gd name="connsiteY7" fmla="*/ 2359259 h 2449950"/>
                  <a:gd name="connsiteX8" fmla="*/ 2291247 w 3576579"/>
                  <a:gd name="connsiteY8" fmla="*/ 2449950 h 2449950"/>
                  <a:gd name="connsiteX9" fmla="*/ 255347 w 3576579"/>
                  <a:gd name="connsiteY9" fmla="*/ 2436994 h 2449950"/>
                  <a:gd name="connsiteX10" fmla="*/ 159615 w 3576579"/>
                  <a:gd name="connsiteY10" fmla="*/ 2346303 h 2449950"/>
                  <a:gd name="connsiteX11" fmla="*/ 6444 w 3576579"/>
                  <a:gd name="connsiteY11" fmla="*/ 1005386 h 2449950"/>
                  <a:gd name="connsiteX12" fmla="*/ 0 w 3576579"/>
                  <a:gd name="connsiteY12" fmla="*/ 929243 h 2449950"/>
                  <a:gd name="connsiteX0" fmla="*/ 0 w 3576579"/>
                  <a:gd name="connsiteY0" fmla="*/ 929243 h 2449950"/>
                  <a:gd name="connsiteX1" fmla="*/ 70265 w 3576579"/>
                  <a:gd name="connsiteY1" fmla="*/ 888785 h 2449950"/>
                  <a:gd name="connsiteX2" fmla="*/ 2035962 w 3576579"/>
                  <a:gd name="connsiteY2" fmla="*/ 27229 h 2449950"/>
                  <a:gd name="connsiteX3" fmla="*/ 2100233 w 3576579"/>
                  <a:gd name="connsiteY3" fmla="*/ 0 h 2449950"/>
                  <a:gd name="connsiteX4" fmla="*/ 2176369 w 3576579"/>
                  <a:gd name="connsiteY4" fmla="*/ 33707 h 2449950"/>
                  <a:gd name="connsiteX5" fmla="*/ 3576579 w 3576579"/>
                  <a:gd name="connsiteY5" fmla="*/ 919718 h 2449950"/>
                  <a:gd name="connsiteX6" fmla="*/ 3497470 w 3576579"/>
                  <a:gd name="connsiteY6" fmla="*/ 998909 h 2449950"/>
                  <a:gd name="connsiteX7" fmla="*/ 2450801 w 3576579"/>
                  <a:gd name="connsiteY7" fmla="*/ 2359259 h 2449950"/>
                  <a:gd name="connsiteX8" fmla="*/ 2291247 w 3576579"/>
                  <a:gd name="connsiteY8" fmla="*/ 2449950 h 2449950"/>
                  <a:gd name="connsiteX9" fmla="*/ 255347 w 3576579"/>
                  <a:gd name="connsiteY9" fmla="*/ 2436994 h 2449950"/>
                  <a:gd name="connsiteX10" fmla="*/ 159615 w 3576579"/>
                  <a:gd name="connsiteY10" fmla="*/ 2346303 h 2449950"/>
                  <a:gd name="connsiteX11" fmla="*/ 6444 w 3576579"/>
                  <a:gd name="connsiteY11" fmla="*/ 1005386 h 2449950"/>
                  <a:gd name="connsiteX12" fmla="*/ 0 w 3576579"/>
                  <a:gd name="connsiteY12" fmla="*/ 929243 h 2449950"/>
                  <a:gd name="connsiteX0" fmla="*/ 0 w 3576579"/>
                  <a:gd name="connsiteY0" fmla="*/ 929243 h 2449950"/>
                  <a:gd name="connsiteX1" fmla="*/ 70265 w 3576579"/>
                  <a:gd name="connsiteY1" fmla="*/ 888785 h 2449950"/>
                  <a:gd name="connsiteX2" fmla="*/ 2035962 w 3576579"/>
                  <a:gd name="connsiteY2" fmla="*/ 27229 h 2449950"/>
                  <a:gd name="connsiteX3" fmla="*/ 2100233 w 3576579"/>
                  <a:gd name="connsiteY3" fmla="*/ 0 h 2449950"/>
                  <a:gd name="connsiteX4" fmla="*/ 2176369 w 3576579"/>
                  <a:gd name="connsiteY4" fmla="*/ 33707 h 2449950"/>
                  <a:gd name="connsiteX5" fmla="*/ 3576579 w 3576579"/>
                  <a:gd name="connsiteY5" fmla="*/ 919718 h 2449950"/>
                  <a:gd name="connsiteX6" fmla="*/ 3497470 w 3576579"/>
                  <a:gd name="connsiteY6" fmla="*/ 998909 h 2449950"/>
                  <a:gd name="connsiteX7" fmla="*/ 2450801 w 3576579"/>
                  <a:gd name="connsiteY7" fmla="*/ 2359259 h 2449950"/>
                  <a:gd name="connsiteX8" fmla="*/ 2291247 w 3576579"/>
                  <a:gd name="connsiteY8" fmla="*/ 2449950 h 2449950"/>
                  <a:gd name="connsiteX9" fmla="*/ 300022 w 3576579"/>
                  <a:gd name="connsiteY9" fmla="*/ 2436994 h 2449950"/>
                  <a:gd name="connsiteX10" fmla="*/ 159615 w 3576579"/>
                  <a:gd name="connsiteY10" fmla="*/ 2346303 h 2449950"/>
                  <a:gd name="connsiteX11" fmla="*/ 6444 w 3576579"/>
                  <a:gd name="connsiteY11" fmla="*/ 1005386 h 2449950"/>
                  <a:gd name="connsiteX12" fmla="*/ 0 w 3576579"/>
                  <a:gd name="connsiteY12" fmla="*/ 929243 h 2449950"/>
                  <a:gd name="connsiteX0" fmla="*/ 0 w 3576579"/>
                  <a:gd name="connsiteY0" fmla="*/ 929243 h 2443473"/>
                  <a:gd name="connsiteX1" fmla="*/ 70265 w 3576579"/>
                  <a:gd name="connsiteY1" fmla="*/ 888785 h 2443473"/>
                  <a:gd name="connsiteX2" fmla="*/ 2035962 w 3576579"/>
                  <a:gd name="connsiteY2" fmla="*/ 27229 h 2443473"/>
                  <a:gd name="connsiteX3" fmla="*/ 2100233 w 3576579"/>
                  <a:gd name="connsiteY3" fmla="*/ 0 h 2443473"/>
                  <a:gd name="connsiteX4" fmla="*/ 2176369 w 3576579"/>
                  <a:gd name="connsiteY4" fmla="*/ 33707 h 2443473"/>
                  <a:gd name="connsiteX5" fmla="*/ 3576579 w 3576579"/>
                  <a:gd name="connsiteY5" fmla="*/ 919718 h 2443473"/>
                  <a:gd name="connsiteX6" fmla="*/ 3497470 w 3576579"/>
                  <a:gd name="connsiteY6" fmla="*/ 998909 h 2443473"/>
                  <a:gd name="connsiteX7" fmla="*/ 2450801 w 3576579"/>
                  <a:gd name="connsiteY7" fmla="*/ 2359259 h 2443473"/>
                  <a:gd name="connsiteX8" fmla="*/ 2252955 w 3576579"/>
                  <a:gd name="connsiteY8" fmla="*/ 2443473 h 2443473"/>
                  <a:gd name="connsiteX9" fmla="*/ 300022 w 3576579"/>
                  <a:gd name="connsiteY9" fmla="*/ 2436994 h 2443473"/>
                  <a:gd name="connsiteX10" fmla="*/ 159615 w 3576579"/>
                  <a:gd name="connsiteY10" fmla="*/ 2346303 h 2443473"/>
                  <a:gd name="connsiteX11" fmla="*/ 6444 w 3576579"/>
                  <a:gd name="connsiteY11" fmla="*/ 1005386 h 2443473"/>
                  <a:gd name="connsiteX12" fmla="*/ 0 w 3576579"/>
                  <a:gd name="connsiteY12" fmla="*/ 929243 h 2443473"/>
                  <a:gd name="connsiteX0" fmla="*/ 0 w 3576579"/>
                  <a:gd name="connsiteY0" fmla="*/ 929243 h 2443473"/>
                  <a:gd name="connsiteX1" fmla="*/ 70265 w 3576579"/>
                  <a:gd name="connsiteY1" fmla="*/ 888785 h 2443473"/>
                  <a:gd name="connsiteX2" fmla="*/ 2035962 w 3576579"/>
                  <a:gd name="connsiteY2" fmla="*/ 27229 h 2443473"/>
                  <a:gd name="connsiteX3" fmla="*/ 2100233 w 3576579"/>
                  <a:gd name="connsiteY3" fmla="*/ 0 h 2443473"/>
                  <a:gd name="connsiteX4" fmla="*/ 2176369 w 3576579"/>
                  <a:gd name="connsiteY4" fmla="*/ 33707 h 2443473"/>
                  <a:gd name="connsiteX5" fmla="*/ 3484706 w 3576579"/>
                  <a:gd name="connsiteY5" fmla="*/ 836963 h 2443473"/>
                  <a:gd name="connsiteX6" fmla="*/ 3576579 w 3576579"/>
                  <a:gd name="connsiteY6" fmla="*/ 919718 h 2443473"/>
                  <a:gd name="connsiteX7" fmla="*/ 3497470 w 3576579"/>
                  <a:gd name="connsiteY7" fmla="*/ 998909 h 2443473"/>
                  <a:gd name="connsiteX8" fmla="*/ 2450801 w 3576579"/>
                  <a:gd name="connsiteY8" fmla="*/ 2359259 h 2443473"/>
                  <a:gd name="connsiteX9" fmla="*/ 2252955 w 3576579"/>
                  <a:gd name="connsiteY9" fmla="*/ 2443473 h 2443473"/>
                  <a:gd name="connsiteX10" fmla="*/ 300022 w 3576579"/>
                  <a:gd name="connsiteY10" fmla="*/ 2436994 h 2443473"/>
                  <a:gd name="connsiteX11" fmla="*/ 159615 w 3576579"/>
                  <a:gd name="connsiteY11" fmla="*/ 2346303 h 2443473"/>
                  <a:gd name="connsiteX12" fmla="*/ 6444 w 3576579"/>
                  <a:gd name="connsiteY12" fmla="*/ 1005386 h 2443473"/>
                  <a:gd name="connsiteX13" fmla="*/ 0 w 3576579"/>
                  <a:gd name="connsiteY13" fmla="*/ 929243 h 2443473"/>
                  <a:gd name="connsiteX0" fmla="*/ 0 w 3497470"/>
                  <a:gd name="connsiteY0" fmla="*/ 929243 h 2443473"/>
                  <a:gd name="connsiteX1" fmla="*/ 70265 w 3497470"/>
                  <a:gd name="connsiteY1" fmla="*/ 888785 h 2443473"/>
                  <a:gd name="connsiteX2" fmla="*/ 2035962 w 3497470"/>
                  <a:gd name="connsiteY2" fmla="*/ 27229 h 2443473"/>
                  <a:gd name="connsiteX3" fmla="*/ 2100233 w 3497470"/>
                  <a:gd name="connsiteY3" fmla="*/ 0 h 2443473"/>
                  <a:gd name="connsiteX4" fmla="*/ 2176369 w 3497470"/>
                  <a:gd name="connsiteY4" fmla="*/ 33707 h 2443473"/>
                  <a:gd name="connsiteX5" fmla="*/ 3484706 w 3497470"/>
                  <a:gd name="connsiteY5" fmla="*/ 836963 h 2443473"/>
                  <a:gd name="connsiteX6" fmla="*/ 3497470 w 3497470"/>
                  <a:gd name="connsiteY6" fmla="*/ 998909 h 2443473"/>
                  <a:gd name="connsiteX7" fmla="*/ 2450801 w 3497470"/>
                  <a:gd name="connsiteY7" fmla="*/ 2359259 h 2443473"/>
                  <a:gd name="connsiteX8" fmla="*/ 2252955 w 3497470"/>
                  <a:gd name="connsiteY8" fmla="*/ 2443473 h 2443473"/>
                  <a:gd name="connsiteX9" fmla="*/ 300022 w 3497470"/>
                  <a:gd name="connsiteY9" fmla="*/ 2436994 h 2443473"/>
                  <a:gd name="connsiteX10" fmla="*/ 159615 w 3497470"/>
                  <a:gd name="connsiteY10" fmla="*/ 2346303 h 2443473"/>
                  <a:gd name="connsiteX11" fmla="*/ 6444 w 3497470"/>
                  <a:gd name="connsiteY11" fmla="*/ 1005386 h 2443473"/>
                  <a:gd name="connsiteX12" fmla="*/ 0 w 3497470"/>
                  <a:gd name="connsiteY12" fmla="*/ 929243 h 2443473"/>
                  <a:gd name="connsiteX0" fmla="*/ 0 w 3520362"/>
                  <a:gd name="connsiteY0" fmla="*/ 929243 h 2443473"/>
                  <a:gd name="connsiteX1" fmla="*/ 70265 w 3520362"/>
                  <a:gd name="connsiteY1" fmla="*/ 888785 h 2443473"/>
                  <a:gd name="connsiteX2" fmla="*/ 2035962 w 3520362"/>
                  <a:gd name="connsiteY2" fmla="*/ 27229 h 2443473"/>
                  <a:gd name="connsiteX3" fmla="*/ 2100233 w 3520362"/>
                  <a:gd name="connsiteY3" fmla="*/ 0 h 2443473"/>
                  <a:gd name="connsiteX4" fmla="*/ 2176369 w 3520362"/>
                  <a:gd name="connsiteY4" fmla="*/ 33707 h 2443473"/>
                  <a:gd name="connsiteX5" fmla="*/ 3484706 w 3520362"/>
                  <a:gd name="connsiteY5" fmla="*/ 836963 h 2443473"/>
                  <a:gd name="connsiteX6" fmla="*/ 3497470 w 3520362"/>
                  <a:gd name="connsiteY6" fmla="*/ 998909 h 2443473"/>
                  <a:gd name="connsiteX7" fmla="*/ 2450801 w 3520362"/>
                  <a:gd name="connsiteY7" fmla="*/ 2359259 h 2443473"/>
                  <a:gd name="connsiteX8" fmla="*/ 2252955 w 3520362"/>
                  <a:gd name="connsiteY8" fmla="*/ 2443473 h 2443473"/>
                  <a:gd name="connsiteX9" fmla="*/ 300022 w 3520362"/>
                  <a:gd name="connsiteY9" fmla="*/ 2436994 h 2443473"/>
                  <a:gd name="connsiteX10" fmla="*/ 159615 w 3520362"/>
                  <a:gd name="connsiteY10" fmla="*/ 2346303 h 2443473"/>
                  <a:gd name="connsiteX11" fmla="*/ 6444 w 3520362"/>
                  <a:gd name="connsiteY11" fmla="*/ 1005386 h 2443473"/>
                  <a:gd name="connsiteX12" fmla="*/ 0 w 3520362"/>
                  <a:gd name="connsiteY12" fmla="*/ 929243 h 2443473"/>
                  <a:gd name="connsiteX0" fmla="*/ 0 w 3531962"/>
                  <a:gd name="connsiteY0" fmla="*/ 929243 h 2443473"/>
                  <a:gd name="connsiteX1" fmla="*/ 70265 w 3531962"/>
                  <a:gd name="connsiteY1" fmla="*/ 888785 h 2443473"/>
                  <a:gd name="connsiteX2" fmla="*/ 2035962 w 3531962"/>
                  <a:gd name="connsiteY2" fmla="*/ 27229 h 2443473"/>
                  <a:gd name="connsiteX3" fmla="*/ 2100233 w 3531962"/>
                  <a:gd name="connsiteY3" fmla="*/ 0 h 2443473"/>
                  <a:gd name="connsiteX4" fmla="*/ 2176369 w 3531962"/>
                  <a:gd name="connsiteY4" fmla="*/ 33707 h 2443473"/>
                  <a:gd name="connsiteX5" fmla="*/ 3484706 w 3531962"/>
                  <a:gd name="connsiteY5" fmla="*/ 836963 h 2443473"/>
                  <a:gd name="connsiteX6" fmla="*/ 3497470 w 3531962"/>
                  <a:gd name="connsiteY6" fmla="*/ 998909 h 2443473"/>
                  <a:gd name="connsiteX7" fmla="*/ 2450801 w 3531962"/>
                  <a:gd name="connsiteY7" fmla="*/ 2359259 h 2443473"/>
                  <a:gd name="connsiteX8" fmla="*/ 2252955 w 3531962"/>
                  <a:gd name="connsiteY8" fmla="*/ 2443473 h 2443473"/>
                  <a:gd name="connsiteX9" fmla="*/ 300022 w 3531962"/>
                  <a:gd name="connsiteY9" fmla="*/ 2436994 h 2443473"/>
                  <a:gd name="connsiteX10" fmla="*/ 159615 w 3531962"/>
                  <a:gd name="connsiteY10" fmla="*/ 2346303 h 2443473"/>
                  <a:gd name="connsiteX11" fmla="*/ 6444 w 3531962"/>
                  <a:gd name="connsiteY11" fmla="*/ 1005386 h 2443473"/>
                  <a:gd name="connsiteX12" fmla="*/ 0 w 3531962"/>
                  <a:gd name="connsiteY12" fmla="*/ 929243 h 2443473"/>
                  <a:gd name="connsiteX0" fmla="*/ 0 w 3529781"/>
                  <a:gd name="connsiteY0" fmla="*/ 929243 h 2443473"/>
                  <a:gd name="connsiteX1" fmla="*/ 70265 w 3529781"/>
                  <a:gd name="connsiteY1" fmla="*/ 888785 h 2443473"/>
                  <a:gd name="connsiteX2" fmla="*/ 2035962 w 3529781"/>
                  <a:gd name="connsiteY2" fmla="*/ 27229 h 2443473"/>
                  <a:gd name="connsiteX3" fmla="*/ 2100233 w 3529781"/>
                  <a:gd name="connsiteY3" fmla="*/ 0 h 2443473"/>
                  <a:gd name="connsiteX4" fmla="*/ 2176369 w 3529781"/>
                  <a:gd name="connsiteY4" fmla="*/ 33707 h 2443473"/>
                  <a:gd name="connsiteX5" fmla="*/ 3484706 w 3529781"/>
                  <a:gd name="connsiteY5" fmla="*/ 836963 h 2443473"/>
                  <a:gd name="connsiteX6" fmla="*/ 3497470 w 3529781"/>
                  <a:gd name="connsiteY6" fmla="*/ 998909 h 2443473"/>
                  <a:gd name="connsiteX7" fmla="*/ 2450801 w 3529781"/>
                  <a:gd name="connsiteY7" fmla="*/ 2359259 h 2443473"/>
                  <a:gd name="connsiteX8" fmla="*/ 2252955 w 3529781"/>
                  <a:gd name="connsiteY8" fmla="*/ 2443473 h 2443473"/>
                  <a:gd name="connsiteX9" fmla="*/ 300022 w 3529781"/>
                  <a:gd name="connsiteY9" fmla="*/ 2436994 h 2443473"/>
                  <a:gd name="connsiteX10" fmla="*/ 159615 w 3529781"/>
                  <a:gd name="connsiteY10" fmla="*/ 2346303 h 2443473"/>
                  <a:gd name="connsiteX11" fmla="*/ 6444 w 3529781"/>
                  <a:gd name="connsiteY11" fmla="*/ 1005386 h 2443473"/>
                  <a:gd name="connsiteX12" fmla="*/ 0 w 3529781"/>
                  <a:gd name="connsiteY12" fmla="*/ 929243 h 2443473"/>
                  <a:gd name="connsiteX0" fmla="*/ 0 w 3529781"/>
                  <a:gd name="connsiteY0" fmla="*/ 929243 h 2443473"/>
                  <a:gd name="connsiteX1" fmla="*/ 70265 w 3529781"/>
                  <a:gd name="connsiteY1" fmla="*/ 888785 h 2443473"/>
                  <a:gd name="connsiteX2" fmla="*/ 2035962 w 3529781"/>
                  <a:gd name="connsiteY2" fmla="*/ 27229 h 2443473"/>
                  <a:gd name="connsiteX3" fmla="*/ 2100233 w 3529781"/>
                  <a:gd name="connsiteY3" fmla="*/ 0 h 2443473"/>
                  <a:gd name="connsiteX4" fmla="*/ 2176369 w 3529781"/>
                  <a:gd name="connsiteY4" fmla="*/ 33707 h 2443473"/>
                  <a:gd name="connsiteX5" fmla="*/ 3484706 w 3529781"/>
                  <a:gd name="connsiteY5" fmla="*/ 836963 h 2443473"/>
                  <a:gd name="connsiteX6" fmla="*/ 3497470 w 3529781"/>
                  <a:gd name="connsiteY6" fmla="*/ 998909 h 2443473"/>
                  <a:gd name="connsiteX7" fmla="*/ 2450801 w 3529781"/>
                  <a:gd name="connsiteY7" fmla="*/ 2359259 h 2443473"/>
                  <a:gd name="connsiteX8" fmla="*/ 2252955 w 3529781"/>
                  <a:gd name="connsiteY8" fmla="*/ 2443473 h 2443473"/>
                  <a:gd name="connsiteX9" fmla="*/ 300022 w 3529781"/>
                  <a:gd name="connsiteY9" fmla="*/ 2436994 h 2443473"/>
                  <a:gd name="connsiteX10" fmla="*/ 159615 w 3529781"/>
                  <a:gd name="connsiteY10" fmla="*/ 2346303 h 2443473"/>
                  <a:gd name="connsiteX11" fmla="*/ 6444 w 3529781"/>
                  <a:gd name="connsiteY11" fmla="*/ 1005386 h 2443473"/>
                  <a:gd name="connsiteX12" fmla="*/ 0 w 3529781"/>
                  <a:gd name="connsiteY12" fmla="*/ 929243 h 2443473"/>
                  <a:gd name="connsiteX0" fmla="*/ 0 w 3529781"/>
                  <a:gd name="connsiteY0" fmla="*/ 902014 h 2416244"/>
                  <a:gd name="connsiteX1" fmla="*/ 70265 w 3529781"/>
                  <a:gd name="connsiteY1" fmla="*/ 861556 h 2416244"/>
                  <a:gd name="connsiteX2" fmla="*/ 2035962 w 3529781"/>
                  <a:gd name="connsiteY2" fmla="*/ 0 h 2416244"/>
                  <a:gd name="connsiteX3" fmla="*/ 2176369 w 3529781"/>
                  <a:gd name="connsiteY3" fmla="*/ 6478 h 2416244"/>
                  <a:gd name="connsiteX4" fmla="*/ 3484706 w 3529781"/>
                  <a:gd name="connsiteY4" fmla="*/ 809734 h 2416244"/>
                  <a:gd name="connsiteX5" fmla="*/ 3497470 w 3529781"/>
                  <a:gd name="connsiteY5" fmla="*/ 971680 h 2416244"/>
                  <a:gd name="connsiteX6" fmla="*/ 2450801 w 3529781"/>
                  <a:gd name="connsiteY6" fmla="*/ 2332030 h 2416244"/>
                  <a:gd name="connsiteX7" fmla="*/ 2252955 w 3529781"/>
                  <a:gd name="connsiteY7" fmla="*/ 2416244 h 2416244"/>
                  <a:gd name="connsiteX8" fmla="*/ 300022 w 3529781"/>
                  <a:gd name="connsiteY8" fmla="*/ 2409765 h 2416244"/>
                  <a:gd name="connsiteX9" fmla="*/ 159615 w 3529781"/>
                  <a:gd name="connsiteY9" fmla="*/ 2319074 h 2416244"/>
                  <a:gd name="connsiteX10" fmla="*/ 6444 w 3529781"/>
                  <a:gd name="connsiteY10" fmla="*/ 978157 h 2416244"/>
                  <a:gd name="connsiteX11" fmla="*/ 0 w 3529781"/>
                  <a:gd name="connsiteY11" fmla="*/ 902014 h 2416244"/>
                  <a:gd name="connsiteX0" fmla="*/ 0 w 3529781"/>
                  <a:gd name="connsiteY0" fmla="*/ 912202 h 2426432"/>
                  <a:gd name="connsiteX1" fmla="*/ 70265 w 3529781"/>
                  <a:gd name="connsiteY1" fmla="*/ 871744 h 2426432"/>
                  <a:gd name="connsiteX2" fmla="*/ 2035962 w 3529781"/>
                  <a:gd name="connsiteY2" fmla="*/ 10188 h 2426432"/>
                  <a:gd name="connsiteX3" fmla="*/ 2176369 w 3529781"/>
                  <a:gd name="connsiteY3" fmla="*/ 16666 h 2426432"/>
                  <a:gd name="connsiteX4" fmla="*/ 3484706 w 3529781"/>
                  <a:gd name="connsiteY4" fmla="*/ 819922 h 2426432"/>
                  <a:gd name="connsiteX5" fmla="*/ 3497470 w 3529781"/>
                  <a:gd name="connsiteY5" fmla="*/ 981868 h 2426432"/>
                  <a:gd name="connsiteX6" fmla="*/ 2450801 w 3529781"/>
                  <a:gd name="connsiteY6" fmla="*/ 2342218 h 2426432"/>
                  <a:gd name="connsiteX7" fmla="*/ 2252955 w 3529781"/>
                  <a:gd name="connsiteY7" fmla="*/ 2426432 h 2426432"/>
                  <a:gd name="connsiteX8" fmla="*/ 300022 w 3529781"/>
                  <a:gd name="connsiteY8" fmla="*/ 2419953 h 2426432"/>
                  <a:gd name="connsiteX9" fmla="*/ 159615 w 3529781"/>
                  <a:gd name="connsiteY9" fmla="*/ 2329262 h 2426432"/>
                  <a:gd name="connsiteX10" fmla="*/ 6444 w 3529781"/>
                  <a:gd name="connsiteY10" fmla="*/ 988345 h 2426432"/>
                  <a:gd name="connsiteX11" fmla="*/ 0 w 3529781"/>
                  <a:gd name="connsiteY11" fmla="*/ 912202 h 2426432"/>
                  <a:gd name="connsiteX0" fmla="*/ 0 w 3529781"/>
                  <a:gd name="connsiteY0" fmla="*/ 920646 h 2434876"/>
                  <a:gd name="connsiteX1" fmla="*/ 70265 w 3529781"/>
                  <a:gd name="connsiteY1" fmla="*/ 880188 h 2434876"/>
                  <a:gd name="connsiteX2" fmla="*/ 2035962 w 3529781"/>
                  <a:gd name="connsiteY2" fmla="*/ 18632 h 2434876"/>
                  <a:gd name="connsiteX3" fmla="*/ 2176369 w 3529781"/>
                  <a:gd name="connsiteY3" fmla="*/ 25110 h 2434876"/>
                  <a:gd name="connsiteX4" fmla="*/ 3484706 w 3529781"/>
                  <a:gd name="connsiteY4" fmla="*/ 828366 h 2434876"/>
                  <a:gd name="connsiteX5" fmla="*/ 3497470 w 3529781"/>
                  <a:gd name="connsiteY5" fmla="*/ 990312 h 2434876"/>
                  <a:gd name="connsiteX6" fmla="*/ 2450801 w 3529781"/>
                  <a:gd name="connsiteY6" fmla="*/ 2350662 h 2434876"/>
                  <a:gd name="connsiteX7" fmla="*/ 2252955 w 3529781"/>
                  <a:gd name="connsiteY7" fmla="*/ 2434876 h 2434876"/>
                  <a:gd name="connsiteX8" fmla="*/ 300022 w 3529781"/>
                  <a:gd name="connsiteY8" fmla="*/ 2428397 h 2434876"/>
                  <a:gd name="connsiteX9" fmla="*/ 159615 w 3529781"/>
                  <a:gd name="connsiteY9" fmla="*/ 2337706 h 2434876"/>
                  <a:gd name="connsiteX10" fmla="*/ 6444 w 3529781"/>
                  <a:gd name="connsiteY10" fmla="*/ 996789 h 2434876"/>
                  <a:gd name="connsiteX11" fmla="*/ 0 w 3529781"/>
                  <a:gd name="connsiteY11" fmla="*/ 920646 h 2434876"/>
                  <a:gd name="connsiteX0" fmla="*/ 0 w 3529781"/>
                  <a:gd name="connsiteY0" fmla="*/ 912903 h 2427133"/>
                  <a:gd name="connsiteX1" fmla="*/ 70265 w 3529781"/>
                  <a:gd name="connsiteY1" fmla="*/ 872445 h 2427133"/>
                  <a:gd name="connsiteX2" fmla="*/ 2010433 w 3529781"/>
                  <a:gd name="connsiteY2" fmla="*/ 30323 h 2427133"/>
                  <a:gd name="connsiteX3" fmla="*/ 2176369 w 3529781"/>
                  <a:gd name="connsiteY3" fmla="*/ 17367 h 2427133"/>
                  <a:gd name="connsiteX4" fmla="*/ 3484706 w 3529781"/>
                  <a:gd name="connsiteY4" fmla="*/ 820623 h 2427133"/>
                  <a:gd name="connsiteX5" fmla="*/ 3497470 w 3529781"/>
                  <a:gd name="connsiteY5" fmla="*/ 982569 h 2427133"/>
                  <a:gd name="connsiteX6" fmla="*/ 2450801 w 3529781"/>
                  <a:gd name="connsiteY6" fmla="*/ 2342919 h 2427133"/>
                  <a:gd name="connsiteX7" fmla="*/ 2252955 w 3529781"/>
                  <a:gd name="connsiteY7" fmla="*/ 2427133 h 2427133"/>
                  <a:gd name="connsiteX8" fmla="*/ 300022 w 3529781"/>
                  <a:gd name="connsiteY8" fmla="*/ 2420654 h 2427133"/>
                  <a:gd name="connsiteX9" fmla="*/ 159615 w 3529781"/>
                  <a:gd name="connsiteY9" fmla="*/ 2329963 h 2427133"/>
                  <a:gd name="connsiteX10" fmla="*/ 6444 w 3529781"/>
                  <a:gd name="connsiteY10" fmla="*/ 989046 h 2427133"/>
                  <a:gd name="connsiteX11" fmla="*/ 0 w 3529781"/>
                  <a:gd name="connsiteY11" fmla="*/ 912903 h 2427133"/>
                  <a:gd name="connsiteX0" fmla="*/ 0 w 3523337"/>
                  <a:gd name="connsiteY0" fmla="*/ 989046 h 2427133"/>
                  <a:gd name="connsiteX1" fmla="*/ 63821 w 3523337"/>
                  <a:gd name="connsiteY1" fmla="*/ 872445 h 2427133"/>
                  <a:gd name="connsiteX2" fmla="*/ 2003989 w 3523337"/>
                  <a:gd name="connsiteY2" fmla="*/ 30323 h 2427133"/>
                  <a:gd name="connsiteX3" fmla="*/ 2169925 w 3523337"/>
                  <a:gd name="connsiteY3" fmla="*/ 17367 h 2427133"/>
                  <a:gd name="connsiteX4" fmla="*/ 3478262 w 3523337"/>
                  <a:gd name="connsiteY4" fmla="*/ 820623 h 2427133"/>
                  <a:gd name="connsiteX5" fmla="*/ 3491026 w 3523337"/>
                  <a:gd name="connsiteY5" fmla="*/ 982569 h 2427133"/>
                  <a:gd name="connsiteX6" fmla="*/ 2444357 w 3523337"/>
                  <a:gd name="connsiteY6" fmla="*/ 2342919 h 2427133"/>
                  <a:gd name="connsiteX7" fmla="*/ 2246511 w 3523337"/>
                  <a:gd name="connsiteY7" fmla="*/ 2427133 h 2427133"/>
                  <a:gd name="connsiteX8" fmla="*/ 293578 w 3523337"/>
                  <a:gd name="connsiteY8" fmla="*/ 2420654 h 2427133"/>
                  <a:gd name="connsiteX9" fmla="*/ 153171 w 3523337"/>
                  <a:gd name="connsiteY9" fmla="*/ 2329963 h 2427133"/>
                  <a:gd name="connsiteX10" fmla="*/ 0 w 3523337"/>
                  <a:gd name="connsiteY10" fmla="*/ 989046 h 2427133"/>
                  <a:gd name="connsiteX0" fmla="*/ 0 w 3523337"/>
                  <a:gd name="connsiteY0" fmla="*/ 989046 h 2427133"/>
                  <a:gd name="connsiteX1" fmla="*/ 63821 w 3523337"/>
                  <a:gd name="connsiteY1" fmla="*/ 872445 h 2427133"/>
                  <a:gd name="connsiteX2" fmla="*/ 2003989 w 3523337"/>
                  <a:gd name="connsiteY2" fmla="*/ 30323 h 2427133"/>
                  <a:gd name="connsiteX3" fmla="*/ 2169925 w 3523337"/>
                  <a:gd name="connsiteY3" fmla="*/ 17367 h 2427133"/>
                  <a:gd name="connsiteX4" fmla="*/ 3478262 w 3523337"/>
                  <a:gd name="connsiteY4" fmla="*/ 820623 h 2427133"/>
                  <a:gd name="connsiteX5" fmla="*/ 3491026 w 3523337"/>
                  <a:gd name="connsiteY5" fmla="*/ 982569 h 2427133"/>
                  <a:gd name="connsiteX6" fmla="*/ 2444357 w 3523337"/>
                  <a:gd name="connsiteY6" fmla="*/ 2342919 h 2427133"/>
                  <a:gd name="connsiteX7" fmla="*/ 2246511 w 3523337"/>
                  <a:gd name="connsiteY7" fmla="*/ 2427133 h 2427133"/>
                  <a:gd name="connsiteX8" fmla="*/ 293578 w 3523337"/>
                  <a:gd name="connsiteY8" fmla="*/ 2420654 h 2427133"/>
                  <a:gd name="connsiteX9" fmla="*/ 153171 w 3523337"/>
                  <a:gd name="connsiteY9" fmla="*/ 2329963 h 2427133"/>
                  <a:gd name="connsiteX10" fmla="*/ 0 w 3523337"/>
                  <a:gd name="connsiteY10" fmla="*/ 989046 h 2427133"/>
                  <a:gd name="connsiteX0" fmla="*/ 8599 w 3531936"/>
                  <a:gd name="connsiteY0" fmla="*/ 989046 h 2427133"/>
                  <a:gd name="connsiteX1" fmla="*/ 72420 w 3531936"/>
                  <a:gd name="connsiteY1" fmla="*/ 872445 h 2427133"/>
                  <a:gd name="connsiteX2" fmla="*/ 2012588 w 3531936"/>
                  <a:gd name="connsiteY2" fmla="*/ 30323 h 2427133"/>
                  <a:gd name="connsiteX3" fmla="*/ 2178524 w 3531936"/>
                  <a:gd name="connsiteY3" fmla="*/ 17367 h 2427133"/>
                  <a:gd name="connsiteX4" fmla="*/ 3486861 w 3531936"/>
                  <a:gd name="connsiteY4" fmla="*/ 820623 h 2427133"/>
                  <a:gd name="connsiteX5" fmla="*/ 3499625 w 3531936"/>
                  <a:gd name="connsiteY5" fmla="*/ 982569 h 2427133"/>
                  <a:gd name="connsiteX6" fmla="*/ 2452956 w 3531936"/>
                  <a:gd name="connsiteY6" fmla="*/ 2342919 h 2427133"/>
                  <a:gd name="connsiteX7" fmla="*/ 2255110 w 3531936"/>
                  <a:gd name="connsiteY7" fmla="*/ 2427133 h 2427133"/>
                  <a:gd name="connsiteX8" fmla="*/ 302177 w 3531936"/>
                  <a:gd name="connsiteY8" fmla="*/ 2420654 h 2427133"/>
                  <a:gd name="connsiteX9" fmla="*/ 161770 w 3531936"/>
                  <a:gd name="connsiteY9" fmla="*/ 2329963 h 2427133"/>
                  <a:gd name="connsiteX10" fmla="*/ 8599 w 3531936"/>
                  <a:gd name="connsiteY10" fmla="*/ 989046 h 2427133"/>
                  <a:gd name="connsiteX0" fmla="*/ 0 w 3523337"/>
                  <a:gd name="connsiteY0" fmla="*/ 989046 h 2427133"/>
                  <a:gd name="connsiteX1" fmla="*/ 63821 w 3523337"/>
                  <a:gd name="connsiteY1" fmla="*/ 872445 h 2427133"/>
                  <a:gd name="connsiteX2" fmla="*/ 2003989 w 3523337"/>
                  <a:gd name="connsiteY2" fmla="*/ 30323 h 2427133"/>
                  <a:gd name="connsiteX3" fmla="*/ 2169925 w 3523337"/>
                  <a:gd name="connsiteY3" fmla="*/ 17367 h 2427133"/>
                  <a:gd name="connsiteX4" fmla="*/ 3478262 w 3523337"/>
                  <a:gd name="connsiteY4" fmla="*/ 820623 h 2427133"/>
                  <a:gd name="connsiteX5" fmla="*/ 3491026 w 3523337"/>
                  <a:gd name="connsiteY5" fmla="*/ 982569 h 2427133"/>
                  <a:gd name="connsiteX6" fmla="*/ 2444357 w 3523337"/>
                  <a:gd name="connsiteY6" fmla="*/ 2342919 h 2427133"/>
                  <a:gd name="connsiteX7" fmla="*/ 2246511 w 3523337"/>
                  <a:gd name="connsiteY7" fmla="*/ 2427133 h 2427133"/>
                  <a:gd name="connsiteX8" fmla="*/ 293578 w 3523337"/>
                  <a:gd name="connsiteY8" fmla="*/ 2420654 h 2427133"/>
                  <a:gd name="connsiteX9" fmla="*/ 153171 w 3523337"/>
                  <a:gd name="connsiteY9" fmla="*/ 2329963 h 2427133"/>
                  <a:gd name="connsiteX10" fmla="*/ 0 w 3523337"/>
                  <a:gd name="connsiteY10" fmla="*/ 989046 h 2427133"/>
                  <a:gd name="connsiteX0" fmla="*/ 0 w 3523337"/>
                  <a:gd name="connsiteY0" fmla="*/ 1027913 h 2427133"/>
                  <a:gd name="connsiteX1" fmla="*/ 63821 w 3523337"/>
                  <a:gd name="connsiteY1" fmla="*/ 872445 h 2427133"/>
                  <a:gd name="connsiteX2" fmla="*/ 2003989 w 3523337"/>
                  <a:gd name="connsiteY2" fmla="*/ 30323 h 2427133"/>
                  <a:gd name="connsiteX3" fmla="*/ 2169925 w 3523337"/>
                  <a:gd name="connsiteY3" fmla="*/ 17367 h 2427133"/>
                  <a:gd name="connsiteX4" fmla="*/ 3478262 w 3523337"/>
                  <a:gd name="connsiteY4" fmla="*/ 820623 h 2427133"/>
                  <a:gd name="connsiteX5" fmla="*/ 3491026 w 3523337"/>
                  <a:gd name="connsiteY5" fmla="*/ 982569 h 2427133"/>
                  <a:gd name="connsiteX6" fmla="*/ 2444357 w 3523337"/>
                  <a:gd name="connsiteY6" fmla="*/ 2342919 h 2427133"/>
                  <a:gd name="connsiteX7" fmla="*/ 2246511 w 3523337"/>
                  <a:gd name="connsiteY7" fmla="*/ 2427133 h 2427133"/>
                  <a:gd name="connsiteX8" fmla="*/ 293578 w 3523337"/>
                  <a:gd name="connsiteY8" fmla="*/ 2420654 h 2427133"/>
                  <a:gd name="connsiteX9" fmla="*/ 153171 w 3523337"/>
                  <a:gd name="connsiteY9" fmla="*/ 2329963 h 2427133"/>
                  <a:gd name="connsiteX10" fmla="*/ 0 w 3523337"/>
                  <a:gd name="connsiteY10" fmla="*/ 1027913 h 2427133"/>
                  <a:gd name="connsiteX0" fmla="*/ 5782 w 3529119"/>
                  <a:gd name="connsiteY0" fmla="*/ 1027913 h 2427133"/>
                  <a:gd name="connsiteX1" fmla="*/ 69603 w 3529119"/>
                  <a:gd name="connsiteY1" fmla="*/ 872445 h 2427133"/>
                  <a:gd name="connsiteX2" fmla="*/ 2009771 w 3529119"/>
                  <a:gd name="connsiteY2" fmla="*/ 30323 h 2427133"/>
                  <a:gd name="connsiteX3" fmla="*/ 2175707 w 3529119"/>
                  <a:gd name="connsiteY3" fmla="*/ 17367 h 2427133"/>
                  <a:gd name="connsiteX4" fmla="*/ 3484044 w 3529119"/>
                  <a:gd name="connsiteY4" fmla="*/ 820623 h 2427133"/>
                  <a:gd name="connsiteX5" fmla="*/ 3496808 w 3529119"/>
                  <a:gd name="connsiteY5" fmla="*/ 982569 h 2427133"/>
                  <a:gd name="connsiteX6" fmla="*/ 2450139 w 3529119"/>
                  <a:gd name="connsiteY6" fmla="*/ 2342919 h 2427133"/>
                  <a:gd name="connsiteX7" fmla="*/ 2252293 w 3529119"/>
                  <a:gd name="connsiteY7" fmla="*/ 2427133 h 2427133"/>
                  <a:gd name="connsiteX8" fmla="*/ 299360 w 3529119"/>
                  <a:gd name="connsiteY8" fmla="*/ 2420654 h 2427133"/>
                  <a:gd name="connsiteX9" fmla="*/ 158953 w 3529119"/>
                  <a:gd name="connsiteY9" fmla="*/ 2329963 h 2427133"/>
                  <a:gd name="connsiteX10" fmla="*/ 5782 w 3529119"/>
                  <a:gd name="connsiteY10" fmla="*/ 1027913 h 2427133"/>
                  <a:gd name="connsiteX0" fmla="*/ 2978 w 3526315"/>
                  <a:gd name="connsiteY0" fmla="*/ 1027913 h 2427133"/>
                  <a:gd name="connsiteX1" fmla="*/ 66799 w 3526315"/>
                  <a:gd name="connsiteY1" fmla="*/ 872445 h 2427133"/>
                  <a:gd name="connsiteX2" fmla="*/ 2006967 w 3526315"/>
                  <a:gd name="connsiteY2" fmla="*/ 30323 h 2427133"/>
                  <a:gd name="connsiteX3" fmla="*/ 2172903 w 3526315"/>
                  <a:gd name="connsiteY3" fmla="*/ 17367 h 2427133"/>
                  <a:gd name="connsiteX4" fmla="*/ 3481240 w 3526315"/>
                  <a:gd name="connsiteY4" fmla="*/ 820623 h 2427133"/>
                  <a:gd name="connsiteX5" fmla="*/ 3494004 w 3526315"/>
                  <a:gd name="connsiteY5" fmla="*/ 982569 h 2427133"/>
                  <a:gd name="connsiteX6" fmla="*/ 2447335 w 3526315"/>
                  <a:gd name="connsiteY6" fmla="*/ 2342919 h 2427133"/>
                  <a:gd name="connsiteX7" fmla="*/ 2249489 w 3526315"/>
                  <a:gd name="connsiteY7" fmla="*/ 2427133 h 2427133"/>
                  <a:gd name="connsiteX8" fmla="*/ 296556 w 3526315"/>
                  <a:gd name="connsiteY8" fmla="*/ 2420654 h 2427133"/>
                  <a:gd name="connsiteX9" fmla="*/ 156149 w 3526315"/>
                  <a:gd name="connsiteY9" fmla="*/ 2329963 h 2427133"/>
                  <a:gd name="connsiteX10" fmla="*/ 2978 w 3526315"/>
                  <a:gd name="connsiteY10" fmla="*/ 1027913 h 2427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26315" h="2427133">
                    <a:moveTo>
                      <a:pt x="2978" y="1027913"/>
                    </a:moveTo>
                    <a:cubicBezTo>
                      <a:pt x="-1276" y="969613"/>
                      <a:pt x="-11914" y="917789"/>
                      <a:pt x="66799" y="872445"/>
                    </a:cubicBezTo>
                    <a:lnTo>
                      <a:pt x="2006967" y="30323"/>
                    </a:lnTo>
                    <a:cubicBezTo>
                      <a:pt x="2053769" y="6569"/>
                      <a:pt x="2100572" y="-17182"/>
                      <a:pt x="2172903" y="17367"/>
                    </a:cubicBezTo>
                    <a:lnTo>
                      <a:pt x="3481240" y="820623"/>
                    </a:lnTo>
                    <a:cubicBezTo>
                      <a:pt x="3555699" y="881083"/>
                      <a:pt x="3521660" y="948021"/>
                      <a:pt x="3494004" y="982569"/>
                    </a:cubicBezTo>
                    <a:lnTo>
                      <a:pt x="2447335" y="2342919"/>
                    </a:lnTo>
                    <a:cubicBezTo>
                      <a:pt x="2381386" y="2424973"/>
                      <a:pt x="2340967" y="2422814"/>
                      <a:pt x="2249489" y="2427133"/>
                    </a:cubicBezTo>
                    <a:lnTo>
                      <a:pt x="296556" y="2420654"/>
                    </a:lnTo>
                    <a:cubicBezTo>
                      <a:pt x="188060" y="2416335"/>
                      <a:pt x="168913" y="2373149"/>
                      <a:pt x="156149" y="2329963"/>
                    </a:cubicBezTo>
                    <a:lnTo>
                      <a:pt x="2978" y="1027913"/>
                    </a:lnTo>
                    <a:close/>
                  </a:path>
                </a:pathLst>
              </a:custGeom>
              <a:noFill/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013" dirty="0"/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xmlns="" id="{98A94FA6-1CE9-D540-831C-73C4C88340E8}"/>
                  </a:ext>
                </a:extLst>
              </p:cNvPr>
              <p:cNvSpPr txBox="1"/>
              <p:nvPr/>
            </p:nvSpPr>
            <p:spPr>
              <a:xfrm>
                <a:off x="15222018" y="286727"/>
                <a:ext cx="794629" cy="33071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 anchor="ctr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Блок</a:t>
                </a:r>
                <a:r>
                  <a:rPr lang="ru-RU" sz="1200" baseline="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 Т</a:t>
                </a:r>
                <a:endParaRPr lang="ru-RU" sz="12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cxnSp>
          <p:nvCxnSpPr>
            <p:cNvPr id="9" name="Прямая соединительная линия 8">
              <a:extLst>
                <a:ext uri="{FF2B5EF4-FFF2-40B4-BE49-F238E27FC236}">
                  <a16:creationId xmlns:a16="http://schemas.microsoft.com/office/drawing/2014/main" xmlns="" id="{9167DE2F-983F-D747-82C0-5ED29E1DE8A3}"/>
                </a:ext>
              </a:extLst>
            </p:cNvPr>
            <p:cNvCxnSpPr/>
            <p:nvPr userDrawn="1"/>
          </p:nvCxnSpPr>
          <p:spPr>
            <a:xfrm>
              <a:off x="11258331" y="278908"/>
              <a:ext cx="0" cy="28025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2814968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066147C5-186D-4E4C-9242-8148410B3D18}"/>
              </a:ext>
            </a:extLst>
          </p:cNvPr>
          <p:cNvSpPr/>
          <p:nvPr userDrawn="1"/>
        </p:nvSpPr>
        <p:spPr>
          <a:xfrm>
            <a:off x="0" y="-18878"/>
            <a:ext cx="12192000" cy="6876879"/>
          </a:xfrm>
          <a:prstGeom prst="rect">
            <a:avLst/>
          </a:prstGeom>
          <a:gradFill flip="none" rotWithShape="1">
            <a:gsLst>
              <a:gs pos="18000">
                <a:schemeClr val="accent6">
                  <a:lumMod val="67000"/>
                </a:schemeClr>
              </a:gs>
              <a:gs pos="100000">
                <a:schemeClr val="accent6"/>
              </a:gs>
            </a:gsLst>
            <a:lin ang="162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5FCFC23A-FBBD-1442-BC6B-7AACBBDF17DB}"/>
              </a:ext>
            </a:extLst>
          </p:cNvPr>
          <p:cNvGrpSpPr/>
          <p:nvPr userDrawn="1"/>
        </p:nvGrpSpPr>
        <p:grpSpPr>
          <a:xfrm>
            <a:off x="0" y="-18879"/>
            <a:ext cx="12192000" cy="675904"/>
            <a:chOff x="0" y="4267200"/>
            <a:chExt cx="12192000" cy="675904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A96D3F2C-5F04-B84F-B9D5-D61433C77E05}"/>
                </a:ext>
              </a:extLst>
            </p:cNvPr>
            <p:cNvSpPr/>
            <p:nvPr userDrawn="1"/>
          </p:nvSpPr>
          <p:spPr>
            <a:xfrm>
              <a:off x="122213" y="4435305"/>
              <a:ext cx="11951853" cy="4294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dist="88900" dir="5400000" sx="97000" sy="97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xmlns="" id="{4BCEF6D8-1372-DA4D-AAD1-0712D4C4C8D4}"/>
                </a:ext>
              </a:extLst>
            </p:cNvPr>
            <p:cNvSpPr/>
            <p:nvPr userDrawn="1"/>
          </p:nvSpPr>
          <p:spPr>
            <a:xfrm>
              <a:off x="0" y="4267200"/>
              <a:ext cx="12192000" cy="675904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3E5CDD5-3156-47A9-A019-94E8642F4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7" y="162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05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F3E5CDD5-3156-47A9-A019-94E8642F4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62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"/>
          <p:cNvSpPr>
            <a:spLocks noGrp="1"/>
          </p:cNvSpPr>
          <p:nvPr>
            <p:ph type="title" hasCustomPrompt="1"/>
          </p:nvPr>
        </p:nvSpPr>
        <p:spPr>
          <a:xfrm>
            <a:off x="636694" y="177110"/>
            <a:ext cx="10871199" cy="30780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000" kern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45780014-60AD-4D4C-B6BB-A0DF121B2FEB}"/>
              </a:ext>
            </a:extLst>
          </p:cNvPr>
          <p:cNvSpPr>
            <a:spLocks/>
          </p:cNvSpPr>
          <p:nvPr userDrawn="1"/>
        </p:nvSpPr>
        <p:spPr bwMode="auto">
          <a:xfrm>
            <a:off x="11662261" y="161564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102572" tIns="102572" rIns="102572" bIns="102572" rtlCol="0" anchor="ctr"/>
          <a:lstStyle/>
          <a:p>
            <a:pPr marL="0" marR="0" lvl="0" indent="0" algn="ctr" defTabSz="121866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>
              <a:ln>
                <a:noFill/>
              </a:ln>
              <a:solidFill>
                <a:srgbClr val="787E7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11790055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420918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066147C5-186D-4E4C-9242-8148410B3D18}"/>
              </a:ext>
            </a:extLst>
          </p:cNvPr>
          <p:cNvSpPr/>
          <p:nvPr userDrawn="1"/>
        </p:nvSpPr>
        <p:spPr>
          <a:xfrm>
            <a:off x="0" y="-18878"/>
            <a:ext cx="12192000" cy="6876879"/>
          </a:xfrm>
          <a:prstGeom prst="rect">
            <a:avLst/>
          </a:prstGeom>
          <a:gradFill flip="none" rotWithShape="1">
            <a:gsLst>
              <a:gs pos="18000">
                <a:schemeClr val="accent6">
                  <a:lumMod val="67000"/>
                </a:schemeClr>
              </a:gs>
              <a:gs pos="100000">
                <a:schemeClr val="accent6"/>
              </a:gs>
            </a:gsLst>
            <a:lin ang="162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5FCFC23A-FBBD-1442-BC6B-7AACBBDF17DB}"/>
              </a:ext>
            </a:extLst>
          </p:cNvPr>
          <p:cNvGrpSpPr/>
          <p:nvPr userDrawn="1"/>
        </p:nvGrpSpPr>
        <p:grpSpPr>
          <a:xfrm>
            <a:off x="0" y="-18879"/>
            <a:ext cx="12192000" cy="675904"/>
            <a:chOff x="0" y="4267200"/>
            <a:chExt cx="12192000" cy="675904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A96D3F2C-5F04-B84F-B9D5-D61433C77E05}"/>
                </a:ext>
              </a:extLst>
            </p:cNvPr>
            <p:cNvSpPr/>
            <p:nvPr userDrawn="1"/>
          </p:nvSpPr>
          <p:spPr>
            <a:xfrm>
              <a:off x="122213" y="4435305"/>
              <a:ext cx="11951853" cy="4294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dist="88900" dir="5400000" sx="97000" sy="97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xmlns="" id="{4BCEF6D8-1372-DA4D-AAD1-0712D4C4C8D4}"/>
                </a:ext>
              </a:extLst>
            </p:cNvPr>
            <p:cNvSpPr/>
            <p:nvPr userDrawn="1"/>
          </p:nvSpPr>
          <p:spPr>
            <a:xfrm>
              <a:off x="0" y="4267200"/>
              <a:ext cx="12192000" cy="675904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3E5CDD5-3156-47A9-A019-94E8642F4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7" y="162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07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F3E5CDD5-3156-47A9-A019-94E8642F4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62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"/>
          <p:cNvSpPr>
            <a:spLocks noGrp="1"/>
          </p:cNvSpPr>
          <p:nvPr>
            <p:ph type="title" hasCustomPrompt="1"/>
          </p:nvPr>
        </p:nvSpPr>
        <p:spPr>
          <a:xfrm>
            <a:off x="1602515" y="177110"/>
            <a:ext cx="9905376" cy="30780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000" kern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45780014-60AD-4D4C-B6BB-A0DF121B2FEB}"/>
              </a:ext>
            </a:extLst>
          </p:cNvPr>
          <p:cNvSpPr>
            <a:spLocks/>
          </p:cNvSpPr>
          <p:nvPr userDrawn="1"/>
        </p:nvSpPr>
        <p:spPr bwMode="auto">
          <a:xfrm>
            <a:off x="11662261" y="161564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102572" tIns="102572" rIns="102572" bIns="102572" rtlCol="0" anchor="ctr"/>
          <a:lstStyle/>
          <a:p>
            <a:pPr marL="0" marR="0" lvl="0" indent="0" algn="ctr" defTabSz="121866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>
              <a:ln>
                <a:noFill/>
              </a:ln>
              <a:solidFill>
                <a:srgbClr val="787E7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1033529" y="89950"/>
            <a:ext cx="446775" cy="446775"/>
            <a:chOff x="4852424" y="5355261"/>
            <a:chExt cx="680400" cy="680400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xmlns="" id="{3DF6420D-E176-5C42-ABBA-A6D11E2EA40A}"/>
                </a:ext>
              </a:extLst>
            </p:cNvPr>
            <p:cNvSpPr/>
            <p:nvPr/>
          </p:nvSpPr>
          <p:spPr>
            <a:xfrm>
              <a:off x="4852424" y="5355261"/>
              <a:ext cx="680400" cy="680400"/>
            </a:xfrm>
            <a:prstGeom prst="ellipse">
              <a:avLst/>
            </a:prstGeom>
            <a:solidFill>
              <a:schemeClr val="accent6"/>
            </a:solidFill>
            <a:ln w="19050" cap="flat" cmpd="sng" algn="ctr">
              <a:solidFill>
                <a:schemeClr val="bg2">
                  <a:lumMod val="75000"/>
                </a:schemeClr>
              </a:solidFill>
              <a:prstDash val="solid"/>
            </a:ln>
            <a:effectLst/>
          </p:spPr>
          <p:txBody>
            <a:bodyPr lIns="96746" tIns="48373" rIns="96746" bIns="48373" rtlCol="0" anchor="ctr"/>
            <a:lstStyle/>
            <a:p>
              <a:pPr algn="ctr" defTabSz="967502">
                <a:defRPr/>
              </a:pPr>
              <a:endParaRPr lang="en-US" sz="1481" kern="0" dirty="0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" name="Freeform 413"/>
            <p:cNvSpPr>
              <a:spLocks noEditPoints="1"/>
            </p:cNvSpPr>
            <p:nvPr/>
          </p:nvSpPr>
          <p:spPr bwMode="auto">
            <a:xfrm>
              <a:off x="4955920" y="5499372"/>
              <a:ext cx="488251" cy="392178"/>
            </a:xfrm>
            <a:custGeom>
              <a:avLst/>
              <a:gdLst/>
              <a:ahLst/>
              <a:cxnLst>
                <a:cxn ang="0">
                  <a:pos x="235" y="365"/>
                </a:cxn>
                <a:cxn ang="0">
                  <a:pos x="246" y="344"/>
                </a:cxn>
                <a:cxn ang="0">
                  <a:pos x="226" y="329"/>
                </a:cxn>
                <a:cxn ang="0">
                  <a:pos x="217" y="320"/>
                </a:cxn>
                <a:cxn ang="0">
                  <a:pos x="206" y="328"/>
                </a:cxn>
                <a:cxn ang="0">
                  <a:pos x="142" y="348"/>
                </a:cxn>
                <a:cxn ang="0">
                  <a:pos x="31" y="237"/>
                </a:cxn>
                <a:cxn ang="0">
                  <a:pos x="106" y="133"/>
                </a:cxn>
                <a:cxn ang="0">
                  <a:pos x="106" y="132"/>
                </a:cxn>
                <a:cxn ang="0">
                  <a:pos x="144" y="127"/>
                </a:cxn>
                <a:cxn ang="0">
                  <a:pos x="201" y="141"/>
                </a:cxn>
                <a:cxn ang="0">
                  <a:pos x="132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6" y="104"/>
                </a:cxn>
                <a:cxn ang="0">
                  <a:pos x="49" y="130"/>
                </a:cxn>
                <a:cxn ang="0">
                  <a:pos x="49" y="129"/>
                </a:cxn>
                <a:cxn ang="0">
                  <a:pos x="0" y="237"/>
                </a:cxn>
                <a:cxn ang="0">
                  <a:pos x="142" y="380"/>
                </a:cxn>
                <a:cxn ang="0">
                  <a:pos x="214" y="360"/>
                </a:cxn>
                <a:cxn ang="0">
                  <a:pos x="231" y="371"/>
                </a:cxn>
                <a:cxn ang="0">
                  <a:pos x="235" y="365"/>
                </a:cxn>
                <a:cxn ang="0">
                  <a:pos x="453" y="183"/>
                </a:cxn>
                <a:cxn ang="0">
                  <a:pos x="454" y="175"/>
                </a:cxn>
                <a:cxn ang="0">
                  <a:pos x="348" y="70"/>
                </a:cxn>
                <a:cxn ang="0">
                  <a:pos x="327" y="72"/>
                </a:cxn>
                <a:cxn ang="0">
                  <a:pos x="212" y="0"/>
                </a:cxn>
                <a:cxn ang="0">
                  <a:pos x="90" y="89"/>
                </a:cxn>
                <a:cxn ang="0">
                  <a:pos x="125" y="86"/>
                </a:cxn>
                <a:cxn ang="0">
                  <a:pos x="212" y="32"/>
                </a:cxn>
                <a:cxn ang="0">
                  <a:pos x="302" y="96"/>
                </a:cxn>
                <a:cxn ang="0">
                  <a:pos x="308" y="112"/>
                </a:cxn>
                <a:cxn ang="0">
                  <a:pos x="323" y="106"/>
                </a:cxn>
                <a:cxn ang="0">
                  <a:pos x="348" y="101"/>
                </a:cxn>
                <a:cxn ang="0">
                  <a:pos x="422" y="175"/>
                </a:cxn>
                <a:cxn ang="0">
                  <a:pos x="420" y="192"/>
                </a:cxn>
                <a:cxn ang="0">
                  <a:pos x="416" y="209"/>
                </a:cxn>
                <a:cxn ang="0">
                  <a:pos x="434" y="211"/>
                </a:cxn>
                <a:cxn ang="0">
                  <a:pos x="492" y="275"/>
                </a:cxn>
                <a:cxn ang="0">
                  <a:pos x="428" y="338"/>
                </a:cxn>
                <a:cxn ang="0">
                  <a:pos x="394" y="329"/>
                </a:cxn>
                <a:cxn ang="0">
                  <a:pos x="384" y="322"/>
                </a:cxn>
                <a:cxn ang="0">
                  <a:pos x="375" y="330"/>
                </a:cxn>
                <a:cxn ang="0">
                  <a:pos x="358" y="343"/>
                </a:cxn>
                <a:cxn ang="0">
                  <a:pos x="352" y="359"/>
                </a:cxn>
                <a:cxn ang="0">
                  <a:pos x="342" y="384"/>
                </a:cxn>
                <a:cxn ang="0">
                  <a:pos x="387" y="361"/>
                </a:cxn>
                <a:cxn ang="0">
                  <a:pos x="428" y="370"/>
                </a:cxn>
                <a:cxn ang="0">
                  <a:pos x="523" y="275"/>
                </a:cxn>
                <a:cxn ang="0">
                  <a:pos x="453" y="183"/>
                </a:cxn>
                <a:cxn ang="0">
                  <a:pos x="383" y="292"/>
                </a:cxn>
                <a:cxn ang="0">
                  <a:pos x="313" y="171"/>
                </a:cxn>
                <a:cxn ang="0">
                  <a:pos x="244" y="292"/>
                </a:cxn>
                <a:cxn ang="0">
                  <a:pos x="282" y="292"/>
                </a:cxn>
                <a:cxn ang="0">
                  <a:pos x="220" y="420"/>
                </a:cxn>
                <a:cxn ang="0">
                  <a:pos x="297" y="420"/>
                </a:cxn>
                <a:cxn ang="0">
                  <a:pos x="343" y="292"/>
                </a:cxn>
                <a:cxn ang="0">
                  <a:pos x="383" y="292"/>
                </a:cxn>
              </a:cxnLst>
              <a:rect l="0" t="0" r="r" b="b"/>
              <a:pathLst>
                <a:path w="523" h="420">
                  <a:moveTo>
                    <a:pt x="235" y="365"/>
                  </a:moveTo>
                  <a:cubicBezTo>
                    <a:pt x="239" y="358"/>
                    <a:pt x="243" y="351"/>
                    <a:pt x="246" y="344"/>
                  </a:cubicBezTo>
                  <a:cubicBezTo>
                    <a:pt x="239" y="340"/>
                    <a:pt x="232" y="335"/>
                    <a:pt x="226" y="329"/>
                  </a:cubicBezTo>
                  <a:cubicBezTo>
                    <a:pt x="217" y="320"/>
                    <a:pt x="217" y="320"/>
                    <a:pt x="217" y="320"/>
                  </a:cubicBezTo>
                  <a:cubicBezTo>
                    <a:pt x="206" y="328"/>
                    <a:pt x="206" y="328"/>
                    <a:pt x="206" y="328"/>
                  </a:cubicBezTo>
                  <a:cubicBezTo>
                    <a:pt x="187" y="341"/>
                    <a:pt x="165" y="348"/>
                    <a:pt x="142" y="348"/>
                  </a:cubicBezTo>
                  <a:cubicBezTo>
                    <a:pt x="81" y="348"/>
                    <a:pt x="31" y="299"/>
                    <a:pt x="31" y="237"/>
                  </a:cubicBezTo>
                  <a:cubicBezTo>
                    <a:pt x="31" y="190"/>
                    <a:pt x="61" y="148"/>
                    <a:pt x="106" y="133"/>
                  </a:cubicBezTo>
                  <a:cubicBezTo>
                    <a:pt x="106" y="132"/>
                    <a:pt x="106" y="132"/>
                    <a:pt x="106" y="132"/>
                  </a:cubicBezTo>
                  <a:cubicBezTo>
                    <a:pt x="117" y="129"/>
                    <a:pt x="129" y="127"/>
                    <a:pt x="144" y="127"/>
                  </a:cubicBezTo>
                  <a:cubicBezTo>
                    <a:pt x="167" y="127"/>
                    <a:pt x="187" y="132"/>
                    <a:pt x="201" y="141"/>
                  </a:cubicBezTo>
                  <a:cubicBezTo>
                    <a:pt x="208" y="131"/>
                    <a:pt x="195" y="103"/>
                    <a:pt x="132" y="103"/>
                  </a:cubicBezTo>
                  <a:cubicBezTo>
                    <a:pt x="127" y="103"/>
                    <a:pt x="123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8" y="103"/>
                    <a:pt x="117" y="104"/>
                    <a:pt x="116" y="104"/>
                  </a:cubicBezTo>
                  <a:cubicBezTo>
                    <a:pt x="77" y="107"/>
                    <a:pt x="49" y="130"/>
                    <a:pt x="49" y="130"/>
                  </a:cubicBezTo>
                  <a:cubicBezTo>
                    <a:pt x="49" y="129"/>
                    <a:pt x="49" y="129"/>
                    <a:pt x="49" y="129"/>
                  </a:cubicBezTo>
                  <a:cubicBezTo>
                    <a:pt x="18" y="156"/>
                    <a:pt x="0" y="195"/>
                    <a:pt x="0" y="237"/>
                  </a:cubicBezTo>
                  <a:cubicBezTo>
                    <a:pt x="0" y="316"/>
                    <a:pt x="63" y="380"/>
                    <a:pt x="142" y="380"/>
                  </a:cubicBezTo>
                  <a:cubicBezTo>
                    <a:pt x="168" y="380"/>
                    <a:pt x="192" y="373"/>
                    <a:pt x="214" y="360"/>
                  </a:cubicBezTo>
                  <a:cubicBezTo>
                    <a:pt x="220" y="364"/>
                    <a:pt x="225" y="368"/>
                    <a:pt x="231" y="371"/>
                  </a:cubicBezTo>
                  <a:lnTo>
                    <a:pt x="235" y="365"/>
                  </a:lnTo>
                  <a:close/>
                  <a:moveTo>
                    <a:pt x="453" y="183"/>
                  </a:moveTo>
                  <a:cubicBezTo>
                    <a:pt x="454" y="180"/>
                    <a:pt x="454" y="178"/>
                    <a:pt x="454" y="175"/>
                  </a:cubicBezTo>
                  <a:cubicBezTo>
                    <a:pt x="454" y="117"/>
                    <a:pt x="407" y="70"/>
                    <a:pt x="348" y="70"/>
                  </a:cubicBezTo>
                  <a:cubicBezTo>
                    <a:pt x="341" y="70"/>
                    <a:pt x="334" y="71"/>
                    <a:pt x="327" y="72"/>
                  </a:cubicBezTo>
                  <a:cubicBezTo>
                    <a:pt x="305" y="29"/>
                    <a:pt x="261" y="0"/>
                    <a:pt x="212" y="0"/>
                  </a:cubicBezTo>
                  <a:cubicBezTo>
                    <a:pt x="155" y="0"/>
                    <a:pt x="106" y="37"/>
                    <a:pt x="90" y="89"/>
                  </a:cubicBezTo>
                  <a:cubicBezTo>
                    <a:pt x="103" y="86"/>
                    <a:pt x="116" y="85"/>
                    <a:pt x="125" y="86"/>
                  </a:cubicBezTo>
                  <a:cubicBezTo>
                    <a:pt x="141" y="53"/>
                    <a:pt x="174" y="32"/>
                    <a:pt x="212" y="32"/>
                  </a:cubicBezTo>
                  <a:cubicBezTo>
                    <a:pt x="253" y="32"/>
                    <a:pt x="289" y="58"/>
                    <a:pt x="302" y="96"/>
                  </a:cubicBezTo>
                  <a:cubicBezTo>
                    <a:pt x="308" y="112"/>
                    <a:pt x="308" y="112"/>
                    <a:pt x="308" y="112"/>
                  </a:cubicBezTo>
                  <a:cubicBezTo>
                    <a:pt x="323" y="106"/>
                    <a:pt x="323" y="106"/>
                    <a:pt x="323" y="106"/>
                  </a:cubicBezTo>
                  <a:cubicBezTo>
                    <a:pt x="331" y="103"/>
                    <a:pt x="340" y="101"/>
                    <a:pt x="348" y="101"/>
                  </a:cubicBezTo>
                  <a:cubicBezTo>
                    <a:pt x="389" y="101"/>
                    <a:pt x="422" y="135"/>
                    <a:pt x="422" y="175"/>
                  </a:cubicBezTo>
                  <a:cubicBezTo>
                    <a:pt x="422" y="181"/>
                    <a:pt x="421" y="186"/>
                    <a:pt x="420" y="192"/>
                  </a:cubicBezTo>
                  <a:cubicBezTo>
                    <a:pt x="416" y="209"/>
                    <a:pt x="416" y="209"/>
                    <a:pt x="416" y="209"/>
                  </a:cubicBezTo>
                  <a:cubicBezTo>
                    <a:pt x="434" y="211"/>
                    <a:pt x="434" y="211"/>
                    <a:pt x="434" y="211"/>
                  </a:cubicBezTo>
                  <a:cubicBezTo>
                    <a:pt x="467" y="214"/>
                    <a:pt x="492" y="242"/>
                    <a:pt x="492" y="275"/>
                  </a:cubicBezTo>
                  <a:cubicBezTo>
                    <a:pt x="492" y="310"/>
                    <a:pt x="463" y="338"/>
                    <a:pt x="428" y="338"/>
                  </a:cubicBezTo>
                  <a:cubicBezTo>
                    <a:pt x="416" y="338"/>
                    <a:pt x="404" y="335"/>
                    <a:pt x="394" y="329"/>
                  </a:cubicBezTo>
                  <a:cubicBezTo>
                    <a:pt x="384" y="322"/>
                    <a:pt x="384" y="322"/>
                    <a:pt x="384" y="322"/>
                  </a:cubicBezTo>
                  <a:cubicBezTo>
                    <a:pt x="375" y="330"/>
                    <a:pt x="375" y="330"/>
                    <a:pt x="375" y="330"/>
                  </a:cubicBezTo>
                  <a:cubicBezTo>
                    <a:pt x="370" y="335"/>
                    <a:pt x="364" y="339"/>
                    <a:pt x="358" y="343"/>
                  </a:cubicBezTo>
                  <a:cubicBezTo>
                    <a:pt x="356" y="348"/>
                    <a:pt x="354" y="354"/>
                    <a:pt x="352" y="359"/>
                  </a:cubicBezTo>
                  <a:cubicBezTo>
                    <a:pt x="349" y="367"/>
                    <a:pt x="346" y="376"/>
                    <a:pt x="342" y="384"/>
                  </a:cubicBezTo>
                  <a:cubicBezTo>
                    <a:pt x="358" y="379"/>
                    <a:pt x="374" y="371"/>
                    <a:pt x="387" y="361"/>
                  </a:cubicBezTo>
                  <a:cubicBezTo>
                    <a:pt x="400" y="367"/>
                    <a:pt x="414" y="370"/>
                    <a:pt x="428" y="370"/>
                  </a:cubicBezTo>
                  <a:cubicBezTo>
                    <a:pt x="481" y="370"/>
                    <a:pt x="523" y="327"/>
                    <a:pt x="523" y="275"/>
                  </a:cubicBezTo>
                  <a:cubicBezTo>
                    <a:pt x="523" y="231"/>
                    <a:pt x="494" y="194"/>
                    <a:pt x="453" y="183"/>
                  </a:cubicBezTo>
                  <a:close/>
                  <a:moveTo>
                    <a:pt x="383" y="292"/>
                  </a:moveTo>
                  <a:cubicBezTo>
                    <a:pt x="313" y="171"/>
                    <a:pt x="313" y="171"/>
                    <a:pt x="313" y="171"/>
                  </a:cubicBezTo>
                  <a:cubicBezTo>
                    <a:pt x="244" y="292"/>
                    <a:pt x="244" y="292"/>
                    <a:pt x="244" y="292"/>
                  </a:cubicBezTo>
                  <a:cubicBezTo>
                    <a:pt x="282" y="292"/>
                    <a:pt x="282" y="292"/>
                    <a:pt x="282" y="292"/>
                  </a:cubicBezTo>
                  <a:cubicBezTo>
                    <a:pt x="274" y="341"/>
                    <a:pt x="252" y="385"/>
                    <a:pt x="220" y="420"/>
                  </a:cubicBezTo>
                  <a:cubicBezTo>
                    <a:pt x="297" y="420"/>
                    <a:pt x="297" y="420"/>
                    <a:pt x="297" y="420"/>
                  </a:cubicBezTo>
                  <a:cubicBezTo>
                    <a:pt x="321" y="382"/>
                    <a:pt x="338" y="338"/>
                    <a:pt x="343" y="292"/>
                  </a:cubicBezTo>
                  <a:lnTo>
                    <a:pt x="383" y="29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Группа 21"/>
          <p:cNvGrpSpPr/>
          <p:nvPr userDrawn="1"/>
        </p:nvGrpSpPr>
        <p:grpSpPr>
          <a:xfrm>
            <a:off x="146651" y="90377"/>
            <a:ext cx="802256" cy="446347"/>
            <a:chOff x="146650" y="90376"/>
            <a:chExt cx="802256" cy="446347"/>
          </a:xfrm>
        </p:grpSpPr>
        <p:grpSp>
          <p:nvGrpSpPr>
            <p:cNvPr id="23" name="Группа 22"/>
            <p:cNvGrpSpPr/>
            <p:nvPr userDrawn="1"/>
          </p:nvGrpSpPr>
          <p:grpSpPr>
            <a:xfrm>
              <a:off x="146650" y="90376"/>
              <a:ext cx="802256" cy="446347"/>
              <a:chOff x="3215754" y="3239215"/>
              <a:chExt cx="5277696" cy="2936328"/>
            </a:xfrm>
            <a:solidFill>
              <a:schemeClr val="accent6"/>
            </a:solidFill>
          </p:grpSpPr>
          <p:sp>
            <p:nvSpPr>
              <p:cNvPr id="59" name="Round Diagonal Corner Rectangle 73"/>
              <p:cNvSpPr/>
              <p:nvPr/>
            </p:nvSpPr>
            <p:spPr>
              <a:xfrm rot="16200000" flipV="1">
                <a:off x="4045695" y="2409275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60" name="Round Diagonal Corner Rectangle 73"/>
              <p:cNvSpPr/>
              <p:nvPr/>
            </p:nvSpPr>
            <p:spPr>
              <a:xfrm rot="16200000" flipV="1">
                <a:off x="6763017" y="2409276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61" name="Round Diagonal Corner Rectangle 73"/>
              <p:cNvSpPr/>
              <p:nvPr/>
            </p:nvSpPr>
            <p:spPr>
              <a:xfrm rot="16200000" flipV="1">
                <a:off x="4045695" y="3427192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62" name="Round Diagonal Corner Rectangle 73"/>
              <p:cNvSpPr/>
              <p:nvPr/>
            </p:nvSpPr>
            <p:spPr>
              <a:xfrm rot="16200000" flipV="1">
                <a:off x="6763017" y="3427193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63" name="Round Diagonal Corner Rectangle 73"/>
              <p:cNvSpPr/>
              <p:nvPr/>
            </p:nvSpPr>
            <p:spPr>
              <a:xfrm rot="16200000" flipV="1">
                <a:off x="5404355" y="3086448"/>
                <a:ext cx="900494" cy="527769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bg2">
                  <a:lumMod val="75000"/>
                </a:schemeClr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</p:grpSp>
        <p:grpSp>
          <p:nvGrpSpPr>
            <p:cNvPr id="24" name="Group 2"/>
            <p:cNvGrpSpPr/>
            <p:nvPr userDrawn="1"/>
          </p:nvGrpSpPr>
          <p:grpSpPr>
            <a:xfrm>
              <a:off x="298733" y="103728"/>
              <a:ext cx="90401" cy="105401"/>
              <a:chOff x="6670675" y="3513137"/>
              <a:chExt cx="1071561" cy="1249363"/>
            </a:xfrm>
            <a:solidFill>
              <a:schemeClr val="accent6">
                <a:lumMod val="60000"/>
                <a:lumOff val="40000"/>
              </a:schemeClr>
            </a:solidFill>
          </p:grpSpPr>
          <p:grpSp>
            <p:nvGrpSpPr>
              <p:cNvPr id="54" name="Group 115"/>
              <p:cNvGrpSpPr/>
              <p:nvPr/>
            </p:nvGrpSpPr>
            <p:grpSpPr>
              <a:xfrm>
                <a:off x="6670675" y="3513137"/>
                <a:ext cx="700087" cy="1249363"/>
                <a:chOff x="-2524125" y="-798513"/>
                <a:chExt cx="700087" cy="1249363"/>
              </a:xfrm>
              <a:grpFill/>
            </p:grpSpPr>
            <p:sp>
              <p:nvSpPr>
                <p:cNvPr id="56" name="Oval 273"/>
                <p:cNvSpPr>
                  <a:spLocks noChangeArrowheads="1"/>
                </p:cNvSpPr>
                <p:nvPr/>
              </p:nvSpPr>
              <p:spPr bwMode="auto">
                <a:xfrm>
                  <a:off x="-2268538" y="-798513"/>
                  <a:ext cx="200025" cy="23812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57" name="Freeform 274"/>
                <p:cNvSpPr>
                  <a:spLocks noEditPoints="1"/>
                </p:cNvSpPr>
                <p:nvPr/>
              </p:nvSpPr>
              <p:spPr bwMode="auto">
                <a:xfrm>
                  <a:off x="-2524125" y="-536575"/>
                  <a:ext cx="700087" cy="987425"/>
                </a:xfrm>
                <a:custGeom>
                  <a:avLst/>
                  <a:gdLst/>
                  <a:ahLst/>
                  <a:cxnLst>
                    <a:cxn ang="0">
                      <a:pos x="123" y="27"/>
                    </a:cxn>
                    <a:cxn ang="0">
                      <a:pos x="122" y="26"/>
                    </a:cxn>
                    <a:cxn ang="0">
                      <a:pos x="116" y="22"/>
                    </a:cxn>
                    <a:cxn ang="0">
                      <a:pos x="91" y="3"/>
                    </a:cxn>
                    <a:cxn ang="0">
                      <a:pos x="85" y="1"/>
                    </a:cxn>
                    <a:cxn ang="0">
                      <a:pos x="77" y="1"/>
                    </a:cxn>
                    <a:cxn ang="0">
                      <a:pos x="75" y="11"/>
                    </a:cxn>
                    <a:cxn ang="0">
                      <a:pos x="68" y="43"/>
                    </a:cxn>
                    <a:cxn ang="0">
                      <a:pos x="68" y="7"/>
                    </a:cxn>
                    <a:cxn ang="0">
                      <a:pos x="59" y="0"/>
                    </a:cxn>
                    <a:cxn ang="0">
                      <a:pos x="59" y="9"/>
                    </a:cxn>
                    <a:cxn ang="0">
                      <a:pos x="46" y="18"/>
                    </a:cxn>
                    <a:cxn ang="0">
                      <a:pos x="41" y="7"/>
                    </a:cxn>
                    <a:cxn ang="0">
                      <a:pos x="48" y="0"/>
                    </a:cxn>
                    <a:cxn ang="0">
                      <a:pos x="39" y="1"/>
                    </a:cxn>
                    <a:cxn ang="0">
                      <a:pos x="3" y="36"/>
                    </a:cxn>
                    <a:cxn ang="0">
                      <a:pos x="3" y="36"/>
                    </a:cxn>
                    <a:cxn ang="0">
                      <a:pos x="1" y="49"/>
                    </a:cxn>
                    <a:cxn ang="0">
                      <a:pos x="1" y="49"/>
                    </a:cxn>
                    <a:cxn ang="0">
                      <a:pos x="2" y="51"/>
                    </a:cxn>
                    <a:cxn ang="0">
                      <a:pos x="6" y="58"/>
                    </a:cxn>
                    <a:cxn ang="0">
                      <a:pos x="20" y="86"/>
                    </a:cxn>
                    <a:cxn ang="0">
                      <a:pos x="33" y="91"/>
                    </a:cxn>
                    <a:cxn ang="0">
                      <a:pos x="35" y="92"/>
                    </a:cxn>
                    <a:cxn ang="0">
                      <a:pos x="61" y="174"/>
                    </a:cxn>
                    <a:cxn ang="0">
                      <a:pos x="57" y="112"/>
                    </a:cxn>
                    <a:cxn ang="0">
                      <a:pos x="91" y="34"/>
                    </a:cxn>
                    <a:cxn ang="0">
                      <a:pos x="95" y="32"/>
                    </a:cxn>
                    <a:cxn ang="0">
                      <a:pos x="77" y="46"/>
                    </a:cxn>
                    <a:cxn ang="0">
                      <a:pos x="91" y="34"/>
                    </a:cxn>
                    <a:cxn ang="0">
                      <a:pos x="31" y="56"/>
                    </a:cxn>
                    <a:cxn ang="0">
                      <a:pos x="24" y="44"/>
                    </a:cxn>
                    <a:cxn ang="0">
                      <a:pos x="34" y="61"/>
                    </a:cxn>
                  </a:cxnLst>
                  <a:rect l="0" t="0" r="r" b="b"/>
                  <a:pathLst>
                    <a:path w="123" h="174">
                      <a:moveTo>
                        <a:pt x="122" y="42"/>
                      </a:moveTo>
                      <a:cubicBezTo>
                        <a:pt x="122" y="35"/>
                        <a:pt x="123" y="24"/>
                        <a:pt x="123" y="27"/>
                      </a:cubicBezTo>
                      <a:cubicBezTo>
                        <a:pt x="123" y="26"/>
                        <a:pt x="123" y="26"/>
                        <a:pt x="123" y="26"/>
                      </a:cubicBezTo>
                      <a:cubicBezTo>
                        <a:pt x="122" y="26"/>
                        <a:pt x="122" y="26"/>
                        <a:pt x="122" y="26"/>
                      </a:cubicBezTo>
                      <a:cubicBezTo>
                        <a:pt x="120" y="25"/>
                        <a:pt x="120" y="25"/>
                        <a:pt x="120" y="25"/>
                      </a:cubicBezTo>
                      <a:cubicBezTo>
                        <a:pt x="116" y="22"/>
                        <a:pt x="116" y="22"/>
                        <a:pt x="116" y="22"/>
                      </a:cubicBezTo>
                      <a:cubicBezTo>
                        <a:pt x="108" y="15"/>
                        <a:pt x="108" y="15"/>
                        <a:pt x="108" y="15"/>
                      </a:cubicBezTo>
                      <a:cubicBezTo>
                        <a:pt x="91" y="3"/>
                        <a:pt x="91" y="3"/>
                        <a:pt x="91" y="3"/>
                      </a:cubicBezTo>
                      <a:cubicBezTo>
                        <a:pt x="90" y="2"/>
                        <a:pt x="88" y="1"/>
                        <a:pt x="86" y="1"/>
                      </a:cubicBezTo>
                      <a:cubicBezTo>
                        <a:pt x="85" y="1"/>
                        <a:pt x="85" y="1"/>
                        <a:pt x="85" y="1"/>
                      </a:cubicBezTo>
                      <a:cubicBezTo>
                        <a:pt x="83" y="1"/>
                        <a:pt x="80" y="1"/>
                        <a:pt x="77" y="0"/>
                      </a:cubicBez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84" y="7"/>
                        <a:pt x="84" y="7"/>
                        <a:pt x="84" y="7"/>
                      </a:cubicBezTo>
                      <a:cubicBezTo>
                        <a:pt x="75" y="11"/>
                        <a:pt x="75" y="11"/>
                        <a:pt x="75" y="11"/>
                      </a:cubicBezTo>
                      <a:cubicBezTo>
                        <a:pt x="80" y="18"/>
                        <a:pt x="80" y="18"/>
                        <a:pt x="80" y="18"/>
                      </a:cubicBezTo>
                      <a:cubicBezTo>
                        <a:pt x="68" y="43"/>
                        <a:pt x="68" y="43"/>
                        <a:pt x="68" y="43"/>
                      </a:cubicBezTo>
                      <a:cubicBezTo>
                        <a:pt x="67" y="9"/>
                        <a:pt x="67" y="9"/>
                        <a:pt x="67" y="9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7" y="7"/>
                        <a:pt x="57" y="7"/>
                        <a:pt x="57" y="7"/>
                      </a:cubicBezTo>
                      <a:cubicBezTo>
                        <a:pt x="59" y="9"/>
                        <a:pt x="59" y="9"/>
                        <a:pt x="59" y="9"/>
                      </a:cubicBezTo>
                      <a:cubicBezTo>
                        <a:pt x="57" y="43"/>
                        <a:pt x="57" y="43"/>
                        <a:pt x="57" y="43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50" y="11"/>
                        <a:pt x="50" y="11"/>
                        <a:pt x="50" y="11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8" y="1"/>
                        <a:pt x="48" y="1"/>
                        <a:pt x="48" y="1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5" y="1"/>
                        <a:pt x="43" y="1"/>
                        <a:pt x="40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6" y="1"/>
                        <a:pt x="34" y="3"/>
                        <a:pt x="32" y="5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0" y="61"/>
                        <a:pt x="2" y="43"/>
                        <a:pt x="1" y="48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2" y="49"/>
                        <a:pt x="2" y="49"/>
                        <a:pt x="2" y="49"/>
                      </a:cubicBezTo>
                      <a:cubicBezTo>
                        <a:pt x="2" y="51"/>
                        <a:pt x="2" y="51"/>
                        <a:pt x="2" y="51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6" y="58"/>
                        <a:pt x="6" y="58"/>
                        <a:pt x="6" y="58"/>
                      </a:cubicBezTo>
                      <a:cubicBezTo>
                        <a:pt x="11" y="67"/>
                        <a:pt x="11" y="67"/>
                        <a:pt x="11" y="67"/>
                      </a:cubicBezTo>
                      <a:cubicBezTo>
                        <a:pt x="20" y="86"/>
                        <a:pt x="20" y="86"/>
                        <a:pt x="20" y="86"/>
                      </a:cubicBezTo>
                      <a:cubicBezTo>
                        <a:pt x="25" y="84"/>
                        <a:pt x="29" y="82"/>
                        <a:pt x="33" y="79"/>
                      </a:cubicBezTo>
                      <a:cubicBezTo>
                        <a:pt x="33" y="83"/>
                        <a:pt x="33" y="87"/>
                        <a:pt x="33" y="91"/>
                      </a:cubicBezTo>
                      <a:cubicBezTo>
                        <a:pt x="33" y="92"/>
                        <a:pt x="33" y="92"/>
                        <a:pt x="33" y="92"/>
                      </a:cubicBezTo>
                      <a:cubicBezTo>
                        <a:pt x="35" y="92"/>
                        <a:pt x="35" y="92"/>
                        <a:pt x="35" y="92"/>
                      </a:cubicBezTo>
                      <a:cubicBezTo>
                        <a:pt x="38" y="174"/>
                        <a:pt x="38" y="174"/>
                        <a:pt x="38" y="174"/>
                      </a:cubicBezTo>
                      <a:cubicBezTo>
                        <a:pt x="61" y="174"/>
                        <a:pt x="61" y="174"/>
                        <a:pt x="61" y="174"/>
                      </a:cubicBezTo>
                      <a:cubicBezTo>
                        <a:pt x="62" y="163"/>
                        <a:pt x="62" y="150"/>
                        <a:pt x="62" y="137"/>
                      </a:cubicBezTo>
                      <a:cubicBezTo>
                        <a:pt x="59" y="129"/>
                        <a:pt x="57" y="121"/>
                        <a:pt x="57" y="112"/>
                      </a:cubicBezTo>
                      <a:cubicBezTo>
                        <a:pt x="57" y="75"/>
                        <a:pt x="86" y="45"/>
                        <a:pt x="122" y="42"/>
                      </a:cubicBezTo>
                      <a:close/>
                      <a:moveTo>
                        <a:pt x="91" y="34"/>
                      </a:moveTo>
                      <a:cubicBezTo>
                        <a:pt x="91" y="32"/>
                        <a:pt x="91" y="30"/>
                        <a:pt x="90" y="28"/>
                      </a:cubicBezTo>
                      <a:cubicBezTo>
                        <a:pt x="95" y="32"/>
                        <a:pt x="95" y="32"/>
                        <a:pt x="95" y="32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ubicBezTo>
                        <a:pt x="77" y="46"/>
                        <a:pt x="77" y="46"/>
                        <a:pt x="77" y="46"/>
                      </a:cubicBezTo>
                      <a:cubicBezTo>
                        <a:pt x="75" y="43"/>
                        <a:pt x="75" y="43"/>
                        <a:pt x="75" y="43"/>
                      </a:cubicBezTo>
                      <a:lnTo>
                        <a:pt x="91" y="34"/>
                      </a:lnTo>
                      <a:close/>
                      <a:moveTo>
                        <a:pt x="34" y="61"/>
                      </a:moveTo>
                      <a:cubicBezTo>
                        <a:pt x="31" y="56"/>
                        <a:pt x="31" y="56"/>
                        <a:pt x="31" y="56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4" y="44"/>
                        <a:pt x="24" y="44"/>
                        <a:pt x="24" y="44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cubicBezTo>
                        <a:pt x="34" y="41"/>
                        <a:pt x="34" y="51"/>
                        <a:pt x="34" y="6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58" name="Freeform 275"/>
                <p:cNvSpPr>
                  <a:spLocks/>
                </p:cNvSpPr>
                <p:nvPr/>
              </p:nvSpPr>
              <p:spPr bwMode="auto">
                <a:xfrm>
                  <a:off x="-2154238" y="287337"/>
                  <a:ext cx="141287" cy="1635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" y="29"/>
                    </a:cxn>
                    <a:cxn ang="0">
                      <a:pos x="25" y="29"/>
                    </a:cxn>
                    <a:cxn ang="0">
                      <a:pos x="25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5" h="29">
                      <a:moveTo>
                        <a:pt x="0" y="0"/>
                      </a:move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25" y="29"/>
                        <a:pt x="25" y="29"/>
                        <a:pt x="25" y="29"/>
                      </a:cubicBezTo>
                      <a:cubicBezTo>
                        <a:pt x="25" y="28"/>
                        <a:pt x="25" y="27"/>
                        <a:pt x="25" y="26"/>
                      </a:cubicBezTo>
                      <a:cubicBezTo>
                        <a:pt x="15" y="19"/>
                        <a:pt x="6" y="10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</p:grpSp>
          <p:sp>
            <p:nvSpPr>
              <p:cNvPr id="55" name="Freeform 209"/>
              <p:cNvSpPr>
                <a:spLocks noEditPoints="1"/>
              </p:cNvSpPr>
              <p:nvPr/>
            </p:nvSpPr>
            <p:spPr bwMode="auto">
              <a:xfrm>
                <a:off x="7032625" y="4046538"/>
                <a:ext cx="709611" cy="709611"/>
              </a:xfrm>
              <a:custGeom>
                <a:avLst/>
                <a:gdLst/>
                <a:ahLst/>
                <a:cxnLst>
                  <a:cxn ang="0">
                    <a:pos x="114" y="40"/>
                  </a:cxn>
                  <a:cxn ang="0">
                    <a:pos x="109" y="41"/>
                  </a:cxn>
                  <a:cxn ang="0">
                    <a:pos x="103" y="34"/>
                  </a:cxn>
                  <a:cxn ang="0">
                    <a:pos x="109" y="25"/>
                  </a:cxn>
                  <a:cxn ang="0">
                    <a:pos x="96" y="16"/>
                  </a:cxn>
                  <a:cxn ang="0">
                    <a:pos x="88" y="19"/>
                  </a:cxn>
                  <a:cxn ang="0">
                    <a:pos x="87" y="10"/>
                  </a:cxn>
                  <a:cxn ang="0">
                    <a:pos x="74" y="2"/>
                  </a:cxn>
                  <a:cxn ang="0">
                    <a:pos x="70" y="3"/>
                  </a:cxn>
                  <a:cxn ang="0">
                    <a:pos x="59" y="10"/>
                  </a:cxn>
                  <a:cxn ang="0">
                    <a:pos x="55" y="0"/>
                  </a:cxn>
                  <a:cxn ang="0">
                    <a:pos x="47" y="2"/>
                  </a:cxn>
                  <a:cxn ang="0">
                    <a:pos x="45" y="2"/>
                  </a:cxn>
                  <a:cxn ang="0">
                    <a:pos x="40" y="6"/>
                  </a:cxn>
                  <a:cxn ang="0">
                    <a:pos x="34" y="16"/>
                  </a:cxn>
                  <a:cxn ang="0">
                    <a:pos x="26" y="11"/>
                  </a:cxn>
                  <a:cxn ang="0">
                    <a:pos x="16" y="19"/>
                  </a:cxn>
                  <a:cxn ang="0">
                    <a:pos x="21" y="29"/>
                  </a:cxn>
                  <a:cxn ang="0">
                    <a:pos x="14" y="34"/>
                  </a:cxn>
                  <a:cxn ang="0">
                    <a:pos x="6" y="34"/>
                  </a:cxn>
                  <a:cxn ang="0">
                    <a:pos x="2" y="46"/>
                  </a:cxn>
                  <a:cxn ang="0">
                    <a:pos x="10" y="52"/>
                  </a:cxn>
                  <a:cxn ang="0">
                    <a:pos x="3" y="61"/>
                  </a:cxn>
                  <a:cxn ang="0">
                    <a:pos x="2" y="77"/>
                  </a:cxn>
                  <a:cxn ang="0">
                    <a:pos x="13" y="78"/>
                  </a:cxn>
                  <a:cxn ang="0">
                    <a:pos x="11" y="89"/>
                  </a:cxn>
                  <a:cxn ang="0">
                    <a:pos x="19" y="103"/>
                  </a:cxn>
                  <a:cxn ang="0">
                    <a:pos x="29" y="99"/>
                  </a:cxn>
                  <a:cxn ang="0">
                    <a:pos x="33" y="110"/>
                  </a:cxn>
                  <a:cxn ang="0">
                    <a:pos x="46" y="118"/>
                  </a:cxn>
                  <a:cxn ang="0">
                    <a:pos x="52" y="109"/>
                  </a:cxn>
                  <a:cxn ang="0">
                    <a:pos x="61" y="117"/>
                  </a:cxn>
                  <a:cxn ang="0">
                    <a:pos x="77" y="117"/>
                  </a:cxn>
                  <a:cxn ang="0">
                    <a:pos x="78" y="106"/>
                  </a:cxn>
                  <a:cxn ang="0">
                    <a:pos x="90" y="108"/>
                  </a:cxn>
                  <a:cxn ang="0">
                    <a:pos x="103" y="101"/>
                  </a:cxn>
                  <a:cxn ang="0">
                    <a:pos x="99" y="91"/>
                  </a:cxn>
                  <a:cxn ang="0">
                    <a:pos x="110" y="87"/>
                  </a:cxn>
                  <a:cxn ang="0">
                    <a:pos x="118" y="73"/>
                  </a:cxn>
                  <a:cxn ang="0">
                    <a:pos x="109" y="67"/>
                  </a:cxn>
                  <a:cxn ang="0">
                    <a:pos x="117" y="58"/>
                  </a:cxn>
                  <a:cxn ang="0">
                    <a:pos x="117" y="44"/>
                  </a:cxn>
                  <a:cxn ang="0">
                    <a:pos x="23" y="67"/>
                  </a:cxn>
                  <a:cxn ang="0">
                    <a:pos x="24" y="47"/>
                  </a:cxn>
                  <a:cxn ang="0">
                    <a:pos x="50" y="23"/>
                  </a:cxn>
                  <a:cxn ang="0">
                    <a:pos x="51" y="39"/>
                  </a:cxn>
                  <a:cxn ang="0">
                    <a:pos x="47" y="41"/>
                  </a:cxn>
                  <a:cxn ang="0">
                    <a:pos x="37" y="60"/>
                  </a:cxn>
                  <a:cxn ang="0">
                    <a:pos x="66" y="97"/>
                  </a:cxn>
                  <a:cxn ang="0">
                    <a:pos x="48" y="79"/>
                  </a:cxn>
                  <a:cxn ang="0">
                    <a:pos x="68" y="81"/>
                  </a:cxn>
                  <a:cxn ang="0">
                    <a:pos x="66" y="97"/>
                  </a:cxn>
                  <a:cxn ang="0">
                    <a:pos x="82" y="64"/>
                  </a:cxn>
                  <a:cxn ang="0">
                    <a:pos x="74" y="42"/>
                  </a:cxn>
                  <a:cxn ang="0">
                    <a:pos x="74" y="25"/>
                  </a:cxn>
                  <a:cxn ang="0">
                    <a:pos x="89" y="36"/>
                  </a:cxn>
                  <a:cxn ang="0">
                    <a:pos x="97" y="53"/>
                  </a:cxn>
                </a:cxnLst>
                <a:rect l="0" t="0" r="r" b="b"/>
                <a:pathLst>
                  <a:path w="119" h="119">
                    <a:moveTo>
                      <a:pt x="117" y="42"/>
                    </a:moveTo>
                    <a:cubicBezTo>
                      <a:pt x="117" y="41"/>
                      <a:pt x="115" y="40"/>
                      <a:pt x="114" y="40"/>
                    </a:cubicBezTo>
                    <a:cubicBezTo>
                      <a:pt x="114" y="40"/>
                      <a:pt x="113" y="40"/>
                      <a:pt x="113" y="40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6" y="41"/>
                      <a:pt x="106" y="41"/>
                      <a:pt x="106" y="41"/>
                    </a:cubicBezTo>
                    <a:cubicBezTo>
                      <a:pt x="105" y="39"/>
                      <a:pt x="104" y="37"/>
                      <a:pt x="103" y="34"/>
                    </a:cubicBezTo>
                    <a:cubicBezTo>
                      <a:pt x="108" y="30"/>
                      <a:pt x="108" y="30"/>
                      <a:pt x="108" y="30"/>
                    </a:cubicBezTo>
                    <a:cubicBezTo>
                      <a:pt x="110" y="29"/>
                      <a:pt x="110" y="27"/>
                      <a:pt x="109" y="25"/>
                    </a:cubicBezTo>
                    <a:cubicBezTo>
                      <a:pt x="101" y="16"/>
                      <a:pt x="101" y="16"/>
                      <a:pt x="101" y="16"/>
                    </a:cubicBezTo>
                    <a:cubicBezTo>
                      <a:pt x="100" y="15"/>
                      <a:pt x="98" y="15"/>
                      <a:pt x="96" y="16"/>
                    </a:cubicBezTo>
                    <a:cubicBezTo>
                      <a:pt x="91" y="21"/>
                      <a:pt x="91" y="21"/>
                      <a:pt x="91" y="21"/>
                    </a:cubicBezTo>
                    <a:cubicBezTo>
                      <a:pt x="90" y="20"/>
                      <a:pt x="89" y="19"/>
                      <a:pt x="88" y="19"/>
                    </a:cubicBezTo>
                    <a:cubicBezTo>
                      <a:pt x="87" y="18"/>
                      <a:pt x="86" y="17"/>
                      <a:pt x="84" y="16"/>
                    </a:cubicBezTo>
                    <a:cubicBezTo>
                      <a:pt x="87" y="10"/>
                      <a:pt x="87" y="10"/>
                      <a:pt x="87" y="10"/>
                    </a:cubicBezTo>
                    <a:cubicBezTo>
                      <a:pt x="87" y="8"/>
                      <a:pt x="87" y="6"/>
                      <a:pt x="85" y="6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2" y="1"/>
                      <a:pt x="70" y="2"/>
                      <a:pt x="70" y="3"/>
                    </a:cubicBezTo>
                    <a:cubicBezTo>
                      <a:pt x="67" y="10"/>
                      <a:pt x="67" y="10"/>
                      <a:pt x="67" y="10"/>
                    </a:cubicBezTo>
                    <a:cubicBezTo>
                      <a:pt x="65" y="10"/>
                      <a:pt x="62" y="10"/>
                      <a:pt x="59" y="10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58" y="1"/>
                      <a:pt x="56" y="0"/>
                      <a:pt x="55" y="0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1" y="3"/>
                      <a:pt x="40" y="4"/>
                      <a:pt x="40" y="6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9" y="14"/>
                      <a:pt x="37" y="15"/>
                      <a:pt x="34" y="16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10"/>
                      <a:pt x="27" y="10"/>
                      <a:pt x="26" y="11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5" y="20"/>
                      <a:pt x="15" y="22"/>
                      <a:pt x="16" y="23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19" y="31"/>
                      <a:pt x="18" y="33"/>
                      <a:pt x="16" y="35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8" y="32"/>
                      <a:pt x="6" y="33"/>
                      <a:pt x="6" y="3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1" y="47"/>
                      <a:pt x="2" y="49"/>
                      <a:pt x="3" y="50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0" y="55"/>
                      <a:pt x="10" y="57"/>
                      <a:pt x="10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0" y="63"/>
                      <a:pt x="0" y="65"/>
                    </a:cubicBezTo>
                    <a:cubicBezTo>
                      <a:pt x="2" y="77"/>
                      <a:pt x="2" y="77"/>
                      <a:pt x="2" y="77"/>
                    </a:cubicBezTo>
                    <a:cubicBezTo>
                      <a:pt x="3" y="78"/>
                      <a:pt x="4" y="80"/>
                      <a:pt x="6" y="79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4" y="80"/>
                      <a:pt x="15" y="83"/>
                      <a:pt x="17" y="85"/>
                    </a:cubicBezTo>
                    <a:cubicBezTo>
                      <a:pt x="11" y="89"/>
                      <a:pt x="11" y="89"/>
                      <a:pt x="11" y="89"/>
                    </a:cubicBezTo>
                    <a:cubicBezTo>
                      <a:pt x="10" y="91"/>
                      <a:pt x="10" y="92"/>
                      <a:pt x="11" y="94"/>
                    </a:cubicBezTo>
                    <a:cubicBezTo>
                      <a:pt x="19" y="103"/>
                      <a:pt x="19" y="103"/>
                      <a:pt x="19" y="103"/>
                    </a:cubicBezTo>
                    <a:cubicBezTo>
                      <a:pt x="20" y="104"/>
                      <a:pt x="22" y="105"/>
                      <a:pt x="23" y="103"/>
                    </a:cubicBezTo>
                    <a:cubicBezTo>
                      <a:pt x="29" y="99"/>
                      <a:pt x="29" y="99"/>
                      <a:pt x="29" y="99"/>
                    </a:cubicBezTo>
                    <a:cubicBezTo>
                      <a:pt x="31" y="100"/>
                      <a:pt x="33" y="102"/>
                      <a:pt x="35" y="103"/>
                    </a:cubicBezTo>
                    <a:cubicBezTo>
                      <a:pt x="33" y="110"/>
                      <a:pt x="33" y="110"/>
                      <a:pt x="33" y="110"/>
                    </a:cubicBezTo>
                    <a:cubicBezTo>
                      <a:pt x="32" y="111"/>
                      <a:pt x="33" y="113"/>
                      <a:pt x="34" y="114"/>
                    </a:cubicBezTo>
                    <a:cubicBezTo>
                      <a:pt x="46" y="118"/>
                      <a:pt x="46" y="118"/>
                      <a:pt x="46" y="118"/>
                    </a:cubicBezTo>
                    <a:cubicBezTo>
                      <a:pt x="48" y="118"/>
                      <a:pt x="49" y="118"/>
                      <a:pt x="50" y="116"/>
                    </a:cubicBezTo>
                    <a:cubicBezTo>
                      <a:pt x="52" y="109"/>
                      <a:pt x="52" y="109"/>
                      <a:pt x="52" y="109"/>
                    </a:cubicBezTo>
                    <a:cubicBezTo>
                      <a:pt x="55" y="109"/>
                      <a:pt x="57" y="110"/>
                      <a:pt x="60" y="110"/>
                    </a:cubicBezTo>
                    <a:cubicBezTo>
                      <a:pt x="61" y="117"/>
                      <a:pt x="61" y="117"/>
                      <a:pt x="61" y="117"/>
                    </a:cubicBezTo>
                    <a:cubicBezTo>
                      <a:pt x="62" y="118"/>
                      <a:pt x="63" y="119"/>
                      <a:pt x="65" y="119"/>
                    </a:cubicBezTo>
                    <a:cubicBezTo>
                      <a:pt x="77" y="117"/>
                      <a:pt x="77" y="117"/>
                      <a:pt x="77" y="117"/>
                    </a:cubicBezTo>
                    <a:cubicBezTo>
                      <a:pt x="79" y="117"/>
                      <a:pt x="80" y="115"/>
                      <a:pt x="79" y="113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80" y="105"/>
                      <a:pt x="83" y="104"/>
                      <a:pt x="85" y="103"/>
                    </a:cubicBezTo>
                    <a:cubicBezTo>
                      <a:pt x="90" y="108"/>
                      <a:pt x="90" y="108"/>
                      <a:pt x="90" y="108"/>
                    </a:cubicBezTo>
                    <a:cubicBezTo>
                      <a:pt x="91" y="109"/>
                      <a:pt x="93" y="110"/>
                      <a:pt x="94" y="108"/>
                    </a:cubicBezTo>
                    <a:cubicBezTo>
                      <a:pt x="103" y="101"/>
                      <a:pt x="103" y="101"/>
                      <a:pt x="103" y="101"/>
                    </a:cubicBezTo>
                    <a:cubicBezTo>
                      <a:pt x="104" y="100"/>
                      <a:pt x="105" y="98"/>
                      <a:pt x="104" y="96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0" y="89"/>
                      <a:pt x="102" y="87"/>
                      <a:pt x="103" y="84"/>
                    </a:cubicBezTo>
                    <a:cubicBezTo>
                      <a:pt x="110" y="87"/>
                      <a:pt x="110" y="87"/>
                      <a:pt x="110" y="87"/>
                    </a:cubicBezTo>
                    <a:cubicBezTo>
                      <a:pt x="111" y="87"/>
                      <a:pt x="113" y="86"/>
                      <a:pt x="114" y="85"/>
                    </a:cubicBezTo>
                    <a:cubicBezTo>
                      <a:pt x="118" y="73"/>
                      <a:pt x="118" y="73"/>
                      <a:pt x="118" y="73"/>
                    </a:cubicBezTo>
                    <a:cubicBezTo>
                      <a:pt x="118" y="72"/>
                      <a:pt x="118" y="70"/>
                      <a:pt x="116" y="69"/>
                    </a:cubicBezTo>
                    <a:cubicBezTo>
                      <a:pt x="109" y="67"/>
                      <a:pt x="109" y="67"/>
                      <a:pt x="109" y="67"/>
                    </a:cubicBezTo>
                    <a:cubicBezTo>
                      <a:pt x="110" y="64"/>
                      <a:pt x="110" y="62"/>
                      <a:pt x="110" y="59"/>
                    </a:cubicBezTo>
                    <a:cubicBezTo>
                      <a:pt x="117" y="58"/>
                      <a:pt x="117" y="58"/>
                      <a:pt x="117" y="58"/>
                    </a:cubicBezTo>
                    <a:cubicBezTo>
                      <a:pt x="118" y="58"/>
                      <a:pt x="119" y="56"/>
                      <a:pt x="119" y="54"/>
                    </a:cubicBezTo>
                    <a:cubicBezTo>
                      <a:pt x="117" y="44"/>
                      <a:pt x="117" y="44"/>
                      <a:pt x="117" y="44"/>
                    </a:cubicBezTo>
                    <a:lnTo>
                      <a:pt x="117" y="42"/>
                    </a:lnTo>
                    <a:close/>
                    <a:moveTo>
                      <a:pt x="23" y="67"/>
                    </a:moveTo>
                    <a:cubicBezTo>
                      <a:pt x="23" y="66"/>
                      <a:pt x="23" y="66"/>
                      <a:pt x="23" y="66"/>
                    </a:cubicBezTo>
                    <a:cubicBezTo>
                      <a:pt x="22" y="60"/>
                      <a:pt x="22" y="53"/>
                      <a:pt x="24" y="47"/>
                    </a:cubicBezTo>
                    <a:cubicBezTo>
                      <a:pt x="28" y="37"/>
                      <a:pt x="36" y="28"/>
                      <a:pt x="47" y="24"/>
                    </a:cubicBezTo>
                    <a:cubicBezTo>
                      <a:pt x="48" y="24"/>
                      <a:pt x="49" y="24"/>
                      <a:pt x="50" y="23"/>
                    </a:cubicBezTo>
                    <a:cubicBezTo>
                      <a:pt x="51" y="23"/>
                      <a:pt x="52" y="23"/>
                      <a:pt x="52" y="23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49" y="39"/>
                      <a:pt x="48" y="40"/>
                      <a:pt x="47" y="41"/>
                    </a:cubicBezTo>
                    <a:cubicBezTo>
                      <a:pt x="42" y="44"/>
                      <a:pt x="39" y="50"/>
                      <a:pt x="38" y="56"/>
                    </a:cubicBezTo>
                    <a:cubicBezTo>
                      <a:pt x="37" y="57"/>
                      <a:pt x="37" y="59"/>
                      <a:pt x="37" y="60"/>
                    </a:cubicBezTo>
                    <a:lnTo>
                      <a:pt x="23" y="67"/>
                    </a:lnTo>
                    <a:close/>
                    <a:moveTo>
                      <a:pt x="66" y="97"/>
                    </a:moveTo>
                    <a:cubicBezTo>
                      <a:pt x="54" y="99"/>
                      <a:pt x="41" y="95"/>
                      <a:pt x="33" y="86"/>
                    </a:cubicBezTo>
                    <a:cubicBezTo>
                      <a:pt x="48" y="79"/>
                      <a:pt x="48" y="79"/>
                      <a:pt x="48" y="79"/>
                    </a:cubicBezTo>
                    <a:cubicBezTo>
                      <a:pt x="52" y="82"/>
                      <a:pt x="58" y="83"/>
                      <a:pt x="64" y="82"/>
                    </a:cubicBezTo>
                    <a:cubicBezTo>
                      <a:pt x="65" y="82"/>
                      <a:pt x="67" y="81"/>
                      <a:pt x="68" y="81"/>
                    </a:cubicBezTo>
                    <a:cubicBezTo>
                      <a:pt x="82" y="90"/>
                      <a:pt x="82" y="90"/>
                      <a:pt x="82" y="90"/>
                    </a:cubicBezTo>
                    <a:cubicBezTo>
                      <a:pt x="77" y="93"/>
                      <a:pt x="72" y="96"/>
                      <a:pt x="66" y="97"/>
                    </a:cubicBezTo>
                    <a:close/>
                    <a:moveTo>
                      <a:pt x="95" y="73"/>
                    </a:moveTo>
                    <a:cubicBezTo>
                      <a:pt x="82" y="64"/>
                      <a:pt x="82" y="64"/>
                      <a:pt x="82" y="64"/>
                    </a:cubicBezTo>
                    <a:cubicBezTo>
                      <a:pt x="82" y="62"/>
                      <a:pt x="83" y="59"/>
                      <a:pt x="82" y="56"/>
                    </a:cubicBezTo>
                    <a:cubicBezTo>
                      <a:pt x="81" y="50"/>
                      <a:pt x="78" y="45"/>
                      <a:pt x="74" y="42"/>
                    </a:cubicBezTo>
                    <a:cubicBezTo>
                      <a:pt x="73" y="42"/>
                      <a:pt x="73" y="41"/>
                      <a:pt x="72" y="41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80" y="27"/>
                      <a:pt x="85" y="31"/>
                      <a:pt x="89" y="36"/>
                    </a:cubicBezTo>
                    <a:cubicBezTo>
                      <a:pt x="91" y="38"/>
                      <a:pt x="93" y="41"/>
                      <a:pt x="94" y="44"/>
                    </a:cubicBezTo>
                    <a:cubicBezTo>
                      <a:pt x="95" y="47"/>
                      <a:pt x="96" y="50"/>
                      <a:pt x="97" y="53"/>
                    </a:cubicBezTo>
                    <a:cubicBezTo>
                      <a:pt x="98" y="60"/>
                      <a:pt x="97" y="67"/>
                      <a:pt x="95" y="7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</p:grpSp>
        <p:grpSp>
          <p:nvGrpSpPr>
            <p:cNvPr id="25" name="Group 4"/>
            <p:cNvGrpSpPr>
              <a:grpSpLocks noChangeAspect="1"/>
            </p:cNvGrpSpPr>
            <p:nvPr userDrawn="1"/>
          </p:nvGrpSpPr>
          <p:grpSpPr bwMode="auto">
            <a:xfrm>
              <a:off x="713661" y="113741"/>
              <a:ext cx="69318" cy="90152"/>
              <a:chOff x="3655" y="1900"/>
              <a:chExt cx="366" cy="476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8" name="Freeform 5"/>
              <p:cNvSpPr>
                <a:spLocks noEditPoints="1"/>
              </p:cNvSpPr>
              <p:nvPr/>
            </p:nvSpPr>
            <p:spPr bwMode="auto">
              <a:xfrm>
                <a:off x="3953" y="1971"/>
                <a:ext cx="68" cy="132"/>
              </a:xfrm>
              <a:custGeom>
                <a:avLst/>
                <a:gdLst>
                  <a:gd name="T0" fmla="*/ 31 w 38"/>
                  <a:gd name="T1" fmla="*/ 74 h 74"/>
                  <a:gd name="T2" fmla="*/ 27 w 38"/>
                  <a:gd name="T3" fmla="*/ 73 h 74"/>
                  <a:gd name="T4" fmla="*/ 18 w 38"/>
                  <a:gd name="T5" fmla="*/ 52 h 74"/>
                  <a:gd name="T6" fmla="*/ 17 w 38"/>
                  <a:gd name="T7" fmla="*/ 49 h 74"/>
                  <a:gd name="T8" fmla="*/ 2 w 38"/>
                  <a:gd name="T9" fmla="*/ 10 h 74"/>
                  <a:gd name="T10" fmla="*/ 4 w 38"/>
                  <a:gd name="T11" fmla="*/ 2 h 74"/>
                  <a:gd name="T12" fmla="*/ 12 w 38"/>
                  <a:gd name="T13" fmla="*/ 4 h 74"/>
                  <a:gd name="T14" fmla="*/ 29 w 38"/>
                  <a:gd name="T15" fmla="*/ 46 h 74"/>
                  <a:gd name="T16" fmla="*/ 29 w 38"/>
                  <a:gd name="T17" fmla="*/ 48 h 74"/>
                  <a:gd name="T18" fmla="*/ 30 w 38"/>
                  <a:gd name="T19" fmla="*/ 49 h 74"/>
                  <a:gd name="T20" fmla="*/ 34 w 38"/>
                  <a:gd name="T21" fmla="*/ 63 h 74"/>
                  <a:gd name="T22" fmla="*/ 36 w 38"/>
                  <a:gd name="T23" fmla="*/ 72 h 74"/>
                  <a:gd name="T24" fmla="*/ 31 w 38"/>
                  <a:gd name="T25" fmla="*/ 74 h 74"/>
                  <a:gd name="T26" fmla="*/ 31 w 38"/>
                  <a:gd name="T27" fmla="*/ 74 h 74"/>
                  <a:gd name="T28" fmla="*/ 31 w 38"/>
                  <a:gd name="T2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74">
                    <a:moveTo>
                      <a:pt x="31" y="74"/>
                    </a:moveTo>
                    <a:cubicBezTo>
                      <a:pt x="29" y="74"/>
                      <a:pt x="28" y="74"/>
                      <a:pt x="27" y="73"/>
                    </a:cubicBezTo>
                    <a:cubicBezTo>
                      <a:pt x="23" y="70"/>
                      <a:pt x="19" y="60"/>
                      <a:pt x="18" y="52"/>
                    </a:cubicBezTo>
                    <a:cubicBezTo>
                      <a:pt x="17" y="52"/>
                      <a:pt x="17" y="51"/>
                      <a:pt x="17" y="49"/>
                    </a:cubicBezTo>
                    <a:cubicBezTo>
                      <a:pt x="15" y="43"/>
                      <a:pt x="11" y="26"/>
                      <a:pt x="2" y="10"/>
                    </a:cubicBezTo>
                    <a:cubicBezTo>
                      <a:pt x="0" y="7"/>
                      <a:pt x="1" y="3"/>
                      <a:pt x="4" y="2"/>
                    </a:cubicBezTo>
                    <a:cubicBezTo>
                      <a:pt x="7" y="0"/>
                      <a:pt x="11" y="1"/>
                      <a:pt x="12" y="4"/>
                    </a:cubicBezTo>
                    <a:cubicBezTo>
                      <a:pt x="23" y="21"/>
                      <a:pt x="27" y="39"/>
                      <a:pt x="29" y="46"/>
                    </a:cubicBezTo>
                    <a:cubicBezTo>
                      <a:pt x="29" y="47"/>
                      <a:pt x="29" y="48"/>
                      <a:pt x="29" y="48"/>
                    </a:cubicBezTo>
                    <a:cubicBezTo>
                      <a:pt x="29" y="48"/>
                      <a:pt x="30" y="49"/>
                      <a:pt x="30" y="49"/>
                    </a:cubicBezTo>
                    <a:cubicBezTo>
                      <a:pt x="31" y="55"/>
                      <a:pt x="33" y="62"/>
                      <a:pt x="34" y="63"/>
                    </a:cubicBezTo>
                    <a:cubicBezTo>
                      <a:pt x="37" y="65"/>
                      <a:pt x="38" y="69"/>
                      <a:pt x="36" y="72"/>
                    </a:cubicBezTo>
                    <a:cubicBezTo>
                      <a:pt x="34" y="73"/>
                      <a:pt x="32" y="74"/>
                      <a:pt x="31" y="74"/>
                    </a:cubicBezTo>
                    <a:close/>
                    <a:moveTo>
                      <a:pt x="31" y="74"/>
                    </a:moveTo>
                    <a:cubicBezTo>
                      <a:pt x="31" y="74"/>
                      <a:pt x="31" y="74"/>
                      <a:pt x="31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39" name="Freeform 6"/>
              <p:cNvSpPr>
                <a:spLocks noEditPoints="1"/>
              </p:cNvSpPr>
              <p:nvPr/>
            </p:nvSpPr>
            <p:spPr bwMode="auto">
              <a:xfrm>
                <a:off x="3810" y="1900"/>
                <a:ext cx="143" cy="62"/>
              </a:xfrm>
              <a:custGeom>
                <a:avLst/>
                <a:gdLst>
                  <a:gd name="T0" fmla="*/ 74 w 80"/>
                  <a:gd name="T1" fmla="*/ 35 h 35"/>
                  <a:gd name="T2" fmla="*/ 69 w 80"/>
                  <a:gd name="T3" fmla="*/ 34 h 35"/>
                  <a:gd name="T4" fmla="*/ 25 w 80"/>
                  <a:gd name="T5" fmla="*/ 12 h 35"/>
                  <a:gd name="T6" fmla="*/ 8 w 80"/>
                  <a:gd name="T7" fmla="*/ 14 h 35"/>
                  <a:gd name="T8" fmla="*/ 1 w 80"/>
                  <a:gd name="T9" fmla="*/ 9 h 35"/>
                  <a:gd name="T10" fmla="*/ 6 w 80"/>
                  <a:gd name="T11" fmla="*/ 2 h 35"/>
                  <a:gd name="T12" fmla="*/ 26 w 80"/>
                  <a:gd name="T13" fmla="*/ 0 h 35"/>
                  <a:gd name="T14" fmla="*/ 26 w 80"/>
                  <a:gd name="T15" fmla="*/ 0 h 35"/>
                  <a:gd name="T16" fmla="*/ 78 w 80"/>
                  <a:gd name="T17" fmla="*/ 25 h 35"/>
                  <a:gd name="T18" fmla="*/ 78 w 80"/>
                  <a:gd name="T19" fmla="*/ 34 h 35"/>
                  <a:gd name="T20" fmla="*/ 74 w 80"/>
                  <a:gd name="T21" fmla="*/ 35 h 35"/>
                  <a:gd name="T22" fmla="*/ 74 w 80"/>
                  <a:gd name="T23" fmla="*/ 35 h 35"/>
                  <a:gd name="T24" fmla="*/ 74 w 80"/>
                  <a:gd name="T2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35">
                    <a:moveTo>
                      <a:pt x="74" y="35"/>
                    </a:moveTo>
                    <a:cubicBezTo>
                      <a:pt x="72" y="35"/>
                      <a:pt x="70" y="35"/>
                      <a:pt x="69" y="34"/>
                    </a:cubicBezTo>
                    <a:cubicBezTo>
                      <a:pt x="57" y="21"/>
                      <a:pt x="42" y="14"/>
                      <a:pt x="25" y="12"/>
                    </a:cubicBezTo>
                    <a:cubicBezTo>
                      <a:pt x="19" y="12"/>
                      <a:pt x="14" y="13"/>
                      <a:pt x="8" y="14"/>
                    </a:cubicBezTo>
                    <a:cubicBezTo>
                      <a:pt x="5" y="14"/>
                      <a:pt x="2" y="12"/>
                      <a:pt x="1" y="9"/>
                    </a:cubicBezTo>
                    <a:cubicBezTo>
                      <a:pt x="0" y="5"/>
                      <a:pt x="3" y="2"/>
                      <a:pt x="6" y="2"/>
                    </a:cubicBezTo>
                    <a:cubicBezTo>
                      <a:pt x="12" y="0"/>
                      <a:pt x="19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46" y="2"/>
                      <a:pt x="64" y="10"/>
                      <a:pt x="78" y="25"/>
                    </a:cubicBezTo>
                    <a:cubicBezTo>
                      <a:pt x="80" y="27"/>
                      <a:pt x="80" y="31"/>
                      <a:pt x="78" y="34"/>
                    </a:cubicBezTo>
                    <a:cubicBezTo>
                      <a:pt x="77" y="35"/>
                      <a:pt x="75" y="35"/>
                      <a:pt x="74" y="35"/>
                    </a:cubicBezTo>
                    <a:close/>
                    <a:moveTo>
                      <a:pt x="74" y="35"/>
                    </a:moveTo>
                    <a:cubicBezTo>
                      <a:pt x="74" y="35"/>
                      <a:pt x="74" y="35"/>
                      <a:pt x="74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0" name="Freeform 7"/>
              <p:cNvSpPr>
                <a:spLocks noEditPoints="1"/>
              </p:cNvSpPr>
              <p:nvPr/>
            </p:nvSpPr>
            <p:spPr bwMode="auto">
              <a:xfrm>
                <a:off x="3657" y="1927"/>
                <a:ext cx="120" cy="119"/>
              </a:xfrm>
              <a:custGeom>
                <a:avLst/>
                <a:gdLst>
                  <a:gd name="T0" fmla="*/ 6 w 67"/>
                  <a:gd name="T1" fmla="*/ 67 h 67"/>
                  <a:gd name="T2" fmla="*/ 5 w 67"/>
                  <a:gd name="T3" fmla="*/ 67 h 67"/>
                  <a:gd name="T4" fmla="*/ 0 w 67"/>
                  <a:gd name="T5" fmla="*/ 62 h 67"/>
                  <a:gd name="T6" fmla="*/ 3 w 67"/>
                  <a:gd name="T7" fmla="*/ 56 h 67"/>
                  <a:gd name="T8" fmla="*/ 4 w 67"/>
                  <a:gd name="T9" fmla="*/ 55 h 67"/>
                  <a:gd name="T10" fmla="*/ 14 w 67"/>
                  <a:gd name="T11" fmla="*/ 46 h 67"/>
                  <a:gd name="T12" fmla="*/ 15 w 67"/>
                  <a:gd name="T13" fmla="*/ 44 h 67"/>
                  <a:gd name="T14" fmla="*/ 24 w 67"/>
                  <a:gd name="T15" fmla="*/ 33 h 67"/>
                  <a:gd name="T16" fmla="*/ 56 w 67"/>
                  <a:gd name="T17" fmla="*/ 2 h 67"/>
                  <a:gd name="T18" fmla="*/ 65 w 67"/>
                  <a:gd name="T19" fmla="*/ 3 h 67"/>
                  <a:gd name="T20" fmla="*/ 63 w 67"/>
                  <a:gd name="T21" fmla="*/ 12 h 67"/>
                  <a:gd name="T22" fmla="*/ 33 w 67"/>
                  <a:gd name="T23" fmla="*/ 41 h 67"/>
                  <a:gd name="T24" fmla="*/ 25 w 67"/>
                  <a:gd name="T25" fmla="*/ 51 h 67"/>
                  <a:gd name="T26" fmla="*/ 24 w 67"/>
                  <a:gd name="T27" fmla="*/ 53 h 67"/>
                  <a:gd name="T28" fmla="*/ 14 w 67"/>
                  <a:gd name="T29" fmla="*/ 63 h 67"/>
                  <a:gd name="T30" fmla="*/ 6 w 67"/>
                  <a:gd name="T31" fmla="*/ 67 h 67"/>
                  <a:gd name="T32" fmla="*/ 6 w 67"/>
                  <a:gd name="T33" fmla="*/ 67 h 67"/>
                  <a:gd name="T34" fmla="*/ 6 w 67"/>
                  <a:gd name="T3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7" h="67">
                    <a:moveTo>
                      <a:pt x="6" y="67"/>
                    </a:moveTo>
                    <a:cubicBezTo>
                      <a:pt x="6" y="67"/>
                      <a:pt x="6" y="67"/>
                      <a:pt x="5" y="67"/>
                    </a:cubicBezTo>
                    <a:cubicBezTo>
                      <a:pt x="3" y="66"/>
                      <a:pt x="1" y="64"/>
                      <a:pt x="0" y="62"/>
                    </a:cubicBezTo>
                    <a:cubicBezTo>
                      <a:pt x="0" y="59"/>
                      <a:pt x="1" y="57"/>
                      <a:pt x="3" y="56"/>
                    </a:cubicBezTo>
                    <a:cubicBezTo>
                      <a:pt x="3" y="55"/>
                      <a:pt x="4" y="55"/>
                      <a:pt x="4" y="55"/>
                    </a:cubicBezTo>
                    <a:cubicBezTo>
                      <a:pt x="6" y="54"/>
                      <a:pt x="10" y="51"/>
                      <a:pt x="14" y="46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8" y="41"/>
                      <a:pt x="20" y="37"/>
                      <a:pt x="24" y="33"/>
                    </a:cubicBezTo>
                    <a:cubicBezTo>
                      <a:pt x="34" y="20"/>
                      <a:pt x="45" y="10"/>
                      <a:pt x="56" y="2"/>
                    </a:cubicBezTo>
                    <a:cubicBezTo>
                      <a:pt x="59" y="0"/>
                      <a:pt x="63" y="1"/>
                      <a:pt x="65" y="3"/>
                    </a:cubicBezTo>
                    <a:cubicBezTo>
                      <a:pt x="67" y="6"/>
                      <a:pt x="66" y="10"/>
                      <a:pt x="63" y="12"/>
                    </a:cubicBezTo>
                    <a:cubicBezTo>
                      <a:pt x="53" y="19"/>
                      <a:pt x="43" y="29"/>
                      <a:pt x="33" y="41"/>
                    </a:cubicBezTo>
                    <a:cubicBezTo>
                      <a:pt x="30" y="45"/>
                      <a:pt x="27" y="48"/>
                      <a:pt x="25" y="51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0" y="58"/>
                      <a:pt x="17" y="61"/>
                      <a:pt x="14" y="63"/>
                    </a:cubicBezTo>
                    <a:cubicBezTo>
                      <a:pt x="10" y="66"/>
                      <a:pt x="8" y="67"/>
                      <a:pt x="6" y="67"/>
                    </a:cubicBezTo>
                    <a:close/>
                    <a:moveTo>
                      <a:pt x="6" y="67"/>
                    </a:moveTo>
                    <a:cubicBezTo>
                      <a:pt x="6" y="67"/>
                      <a:pt x="6" y="67"/>
                      <a:pt x="6" y="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1" name="Freeform 8"/>
              <p:cNvSpPr>
                <a:spLocks noEditPoints="1"/>
              </p:cNvSpPr>
              <p:nvPr/>
            </p:nvSpPr>
            <p:spPr bwMode="auto">
              <a:xfrm>
                <a:off x="3655" y="2114"/>
                <a:ext cx="81" cy="44"/>
              </a:xfrm>
              <a:custGeom>
                <a:avLst/>
                <a:gdLst>
                  <a:gd name="T0" fmla="*/ 7 w 45"/>
                  <a:gd name="T1" fmla="*/ 25 h 25"/>
                  <a:gd name="T2" fmla="*/ 1 w 45"/>
                  <a:gd name="T3" fmla="*/ 21 h 25"/>
                  <a:gd name="T4" fmla="*/ 6 w 45"/>
                  <a:gd name="T5" fmla="*/ 13 h 25"/>
                  <a:gd name="T6" fmla="*/ 35 w 45"/>
                  <a:gd name="T7" fmla="*/ 1 h 25"/>
                  <a:gd name="T8" fmla="*/ 44 w 45"/>
                  <a:gd name="T9" fmla="*/ 4 h 25"/>
                  <a:gd name="T10" fmla="*/ 41 w 45"/>
                  <a:gd name="T11" fmla="*/ 12 h 25"/>
                  <a:gd name="T12" fmla="*/ 9 w 45"/>
                  <a:gd name="T13" fmla="*/ 25 h 25"/>
                  <a:gd name="T14" fmla="*/ 7 w 45"/>
                  <a:gd name="T15" fmla="*/ 25 h 25"/>
                  <a:gd name="T16" fmla="*/ 7 w 45"/>
                  <a:gd name="T17" fmla="*/ 25 h 25"/>
                  <a:gd name="T18" fmla="*/ 7 w 45"/>
                  <a:gd name="T1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5" h="25">
                    <a:moveTo>
                      <a:pt x="7" y="25"/>
                    </a:moveTo>
                    <a:cubicBezTo>
                      <a:pt x="4" y="25"/>
                      <a:pt x="2" y="24"/>
                      <a:pt x="1" y="21"/>
                    </a:cubicBezTo>
                    <a:cubicBezTo>
                      <a:pt x="0" y="17"/>
                      <a:pt x="2" y="14"/>
                      <a:pt x="6" y="13"/>
                    </a:cubicBezTo>
                    <a:cubicBezTo>
                      <a:pt x="17" y="10"/>
                      <a:pt x="28" y="5"/>
                      <a:pt x="35" y="1"/>
                    </a:cubicBezTo>
                    <a:cubicBezTo>
                      <a:pt x="38" y="0"/>
                      <a:pt x="42" y="1"/>
                      <a:pt x="44" y="4"/>
                    </a:cubicBezTo>
                    <a:cubicBezTo>
                      <a:pt x="45" y="7"/>
                      <a:pt x="44" y="11"/>
                      <a:pt x="41" y="12"/>
                    </a:cubicBezTo>
                    <a:cubicBezTo>
                      <a:pt x="33" y="16"/>
                      <a:pt x="21" y="22"/>
                      <a:pt x="9" y="25"/>
                    </a:cubicBezTo>
                    <a:cubicBezTo>
                      <a:pt x="8" y="25"/>
                      <a:pt x="8" y="25"/>
                      <a:pt x="7" y="25"/>
                    </a:cubicBezTo>
                    <a:close/>
                    <a:moveTo>
                      <a:pt x="7" y="25"/>
                    </a:moveTo>
                    <a:cubicBezTo>
                      <a:pt x="7" y="25"/>
                      <a:pt x="7" y="25"/>
                      <a:pt x="7" y="2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2" name="Freeform 9"/>
              <p:cNvSpPr>
                <a:spLocks noEditPoints="1"/>
              </p:cNvSpPr>
              <p:nvPr/>
            </p:nvSpPr>
            <p:spPr bwMode="auto">
              <a:xfrm>
                <a:off x="3738" y="1989"/>
                <a:ext cx="211" cy="132"/>
              </a:xfrm>
              <a:custGeom>
                <a:avLst/>
                <a:gdLst>
                  <a:gd name="T0" fmla="*/ 7 w 118"/>
                  <a:gd name="T1" fmla="*/ 74 h 74"/>
                  <a:gd name="T2" fmla="*/ 2 w 118"/>
                  <a:gd name="T3" fmla="*/ 71 h 74"/>
                  <a:gd name="T4" fmla="*/ 3 w 118"/>
                  <a:gd name="T5" fmla="*/ 63 h 74"/>
                  <a:gd name="T6" fmla="*/ 45 w 118"/>
                  <a:gd name="T7" fmla="*/ 27 h 74"/>
                  <a:gd name="T8" fmla="*/ 94 w 118"/>
                  <a:gd name="T9" fmla="*/ 5 h 74"/>
                  <a:gd name="T10" fmla="*/ 117 w 118"/>
                  <a:gd name="T11" fmla="*/ 27 h 74"/>
                  <a:gd name="T12" fmla="*/ 113 w 118"/>
                  <a:gd name="T13" fmla="*/ 34 h 74"/>
                  <a:gd name="T14" fmla="*/ 105 w 118"/>
                  <a:gd name="T15" fmla="*/ 30 h 74"/>
                  <a:gd name="T16" fmla="*/ 90 w 118"/>
                  <a:gd name="T17" fmla="*/ 17 h 74"/>
                  <a:gd name="T18" fmla="*/ 54 w 118"/>
                  <a:gd name="T19" fmla="*/ 35 h 74"/>
                  <a:gd name="T20" fmla="*/ 10 w 118"/>
                  <a:gd name="T21" fmla="*/ 73 h 74"/>
                  <a:gd name="T22" fmla="*/ 7 w 118"/>
                  <a:gd name="T23" fmla="*/ 74 h 74"/>
                  <a:gd name="T24" fmla="*/ 7 w 118"/>
                  <a:gd name="T25" fmla="*/ 74 h 74"/>
                  <a:gd name="T26" fmla="*/ 7 w 118"/>
                  <a:gd name="T27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8" h="74">
                    <a:moveTo>
                      <a:pt x="7" y="74"/>
                    </a:moveTo>
                    <a:cubicBezTo>
                      <a:pt x="5" y="74"/>
                      <a:pt x="3" y="73"/>
                      <a:pt x="2" y="71"/>
                    </a:cubicBezTo>
                    <a:cubicBezTo>
                      <a:pt x="0" y="69"/>
                      <a:pt x="0" y="65"/>
                      <a:pt x="3" y="63"/>
                    </a:cubicBezTo>
                    <a:cubicBezTo>
                      <a:pt x="25" y="48"/>
                      <a:pt x="45" y="27"/>
                      <a:pt x="45" y="27"/>
                    </a:cubicBezTo>
                    <a:cubicBezTo>
                      <a:pt x="61" y="8"/>
                      <a:pt x="79" y="0"/>
                      <a:pt x="94" y="5"/>
                    </a:cubicBezTo>
                    <a:cubicBezTo>
                      <a:pt x="109" y="9"/>
                      <a:pt x="115" y="19"/>
                      <a:pt x="117" y="27"/>
                    </a:cubicBezTo>
                    <a:cubicBezTo>
                      <a:pt x="118" y="30"/>
                      <a:pt x="116" y="33"/>
                      <a:pt x="113" y="34"/>
                    </a:cubicBezTo>
                    <a:cubicBezTo>
                      <a:pt x="110" y="35"/>
                      <a:pt x="106" y="34"/>
                      <a:pt x="105" y="30"/>
                    </a:cubicBezTo>
                    <a:cubicBezTo>
                      <a:pt x="103" y="24"/>
                      <a:pt x="98" y="19"/>
                      <a:pt x="90" y="17"/>
                    </a:cubicBezTo>
                    <a:cubicBezTo>
                      <a:pt x="79" y="13"/>
                      <a:pt x="64" y="24"/>
                      <a:pt x="54" y="35"/>
                    </a:cubicBezTo>
                    <a:cubicBezTo>
                      <a:pt x="52" y="38"/>
                      <a:pt x="32" y="58"/>
                      <a:pt x="10" y="73"/>
                    </a:cubicBezTo>
                    <a:cubicBezTo>
                      <a:pt x="9" y="74"/>
                      <a:pt x="8" y="74"/>
                      <a:pt x="7" y="74"/>
                    </a:cubicBezTo>
                    <a:close/>
                    <a:moveTo>
                      <a:pt x="7" y="74"/>
                    </a:moveTo>
                    <a:cubicBezTo>
                      <a:pt x="7" y="74"/>
                      <a:pt x="7" y="74"/>
                      <a:pt x="7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3" name="Freeform 10"/>
              <p:cNvSpPr>
                <a:spLocks noEditPoints="1"/>
              </p:cNvSpPr>
              <p:nvPr/>
            </p:nvSpPr>
            <p:spPr bwMode="auto">
              <a:xfrm>
                <a:off x="3677" y="2071"/>
                <a:ext cx="269" cy="203"/>
              </a:xfrm>
              <a:custGeom>
                <a:avLst/>
                <a:gdLst>
                  <a:gd name="T0" fmla="*/ 7 w 150"/>
                  <a:gd name="T1" fmla="*/ 114 h 114"/>
                  <a:gd name="T2" fmla="*/ 1 w 150"/>
                  <a:gd name="T3" fmla="*/ 110 h 114"/>
                  <a:gd name="T4" fmla="*/ 4 w 150"/>
                  <a:gd name="T5" fmla="*/ 102 h 114"/>
                  <a:gd name="T6" fmla="*/ 82 w 150"/>
                  <a:gd name="T7" fmla="*/ 58 h 114"/>
                  <a:gd name="T8" fmla="*/ 138 w 150"/>
                  <a:gd name="T9" fmla="*/ 5 h 114"/>
                  <a:gd name="T10" fmla="*/ 146 w 150"/>
                  <a:gd name="T11" fmla="*/ 1 h 114"/>
                  <a:gd name="T12" fmla="*/ 149 w 150"/>
                  <a:gd name="T13" fmla="*/ 9 h 114"/>
                  <a:gd name="T14" fmla="*/ 89 w 150"/>
                  <a:gd name="T15" fmla="*/ 69 h 114"/>
                  <a:gd name="T16" fmla="*/ 9 w 150"/>
                  <a:gd name="T17" fmla="*/ 113 h 114"/>
                  <a:gd name="T18" fmla="*/ 7 w 150"/>
                  <a:gd name="T19" fmla="*/ 114 h 114"/>
                  <a:gd name="T20" fmla="*/ 7 w 150"/>
                  <a:gd name="T21" fmla="*/ 114 h 114"/>
                  <a:gd name="T22" fmla="*/ 7 w 150"/>
                  <a:gd name="T23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0" h="114">
                    <a:moveTo>
                      <a:pt x="7" y="114"/>
                    </a:moveTo>
                    <a:cubicBezTo>
                      <a:pt x="4" y="114"/>
                      <a:pt x="2" y="113"/>
                      <a:pt x="1" y="110"/>
                    </a:cubicBezTo>
                    <a:cubicBezTo>
                      <a:pt x="0" y="107"/>
                      <a:pt x="1" y="103"/>
                      <a:pt x="4" y="102"/>
                    </a:cubicBezTo>
                    <a:cubicBezTo>
                      <a:pt x="31" y="91"/>
                      <a:pt x="68" y="68"/>
                      <a:pt x="82" y="58"/>
                    </a:cubicBezTo>
                    <a:cubicBezTo>
                      <a:pt x="112" y="39"/>
                      <a:pt x="131" y="20"/>
                      <a:pt x="138" y="5"/>
                    </a:cubicBezTo>
                    <a:cubicBezTo>
                      <a:pt x="139" y="2"/>
                      <a:pt x="143" y="0"/>
                      <a:pt x="146" y="1"/>
                    </a:cubicBezTo>
                    <a:cubicBezTo>
                      <a:pt x="149" y="3"/>
                      <a:pt x="150" y="6"/>
                      <a:pt x="149" y="9"/>
                    </a:cubicBezTo>
                    <a:cubicBezTo>
                      <a:pt x="140" y="33"/>
                      <a:pt x="111" y="54"/>
                      <a:pt x="89" y="69"/>
                    </a:cubicBezTo>
                    <a:cubicBezTo>
                      <a:pt x="74" y="78"/>
                      <a:pt x="36" y="102"/>
                      <a:pt x="9" y="113"/>
                    </a:cubicBezTo>
                    <a:cubicBezTo>
                      <a:pt x="8" y="114"/>
                      <a:pt x="8" y="114"/>
                      <a:pt x="7" y="114"/>
                    </a:cubicBezTo>
                    <a:close/>
                    <a:moveTo>
                      <a:pt x="7" y="114"/>
                    </a:moveTo>
                    <a:cubicBezTo>
                      <a:pt x="7" y="114"/>
                      <a:pt x="7" y="114"/>
                      <a:pt x="7" y="1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4" name="Freeform 11"/>
              <p:cNvSpPr>
                <a:spLocks noEditPoints="1"/>
              </p:cNvSpPr>
              <p:nvPr/>
            </p:nvSpPr>
            <p:spPr bwMode="auto">
              <a:xfrm>
                <a:off x="3766" y="1946"/>
                <a:ext cx="112" cy="73"/>
              </a:xfrm>
              <a:custGeom>
                <a:avLst/>
                <a:gdLst>
                  <a:gd name="T0" fmla="*/ 15 w 62"/>
                  <a:gd name="T1" fmla="*/ 35 h 41"/>
                  <a:gd name="T2" fmla="*/ 33 w 62"/>
                  <a:gd name="T3" fmla="*/ 21 h 41"/>
                  <a:gd name="T4" fmla="*/ 56 w 62"/>
                  <a:gd name="T5" fmla="*/ 13 h 41"/>
                  <a:gd name="T6" fmla="*/ 62 w 62"/>
                  <a:gd name="T7" fmla="*/ 7 h 41"/>
                  <a:gd name="T8" fmla="*/ 56 w 62"/>
                  <a:gd name="T9" fmla="*/ 0 h 41"/>
                  <a:gd name="T10" fmla="*/ 6 w 62"/>
                  <a:gd name="T11" fmla="*/ 26 h 41"/>
                  <a:gd name="T12" fmla="*/ 15 w 62"/>
                  <a:gd name="T13" fmla="*/ 35 h 41"/>
                  <a:gd name="T14" fmla="*/ 15 w 62"/>
                  <a:gd name="T15" fmla="*/ 35 h 41"/>
                  <a:gd name="T16" fmla="*/ 15 w 62"/>
                  <a:gd name="T17" fmla="*/ 3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41">
                    <a:moveTo>
                      <a:pt x="15" y="35"/>
                    </a:moveTo>
                    <a:cubicBezTo>
                      <a:pt x="20" y="30"/>
                      <a:pt x="26" y="25"/>
                      <a:pt x="33" y="21"/>
                    </a:cubicBezTo>
                    <a:cubicBezTo>
                      <a:pt x="40" y="17"/>
                      <a:pt x="48" y="14"/>
                      <a:pt x="56" y="13"/>
                    </a:cubicBezTo>
                    <a:cubicBezTo>
                      <a:pt x="59" y="13"/>
                      <a:pt x="62" y="10"/>
                      <a:pt x="62" y="7"/>
                    </a:cubicBezTo>
                    <a:cubicBezTo>
                      <a:pt x="62" y="4"/>
                      <a:pt x="59" y="0"/>
                      <a:pt x="56" y="0"/>
                    </a:cubicBezTo>
                    <a:cubicBezTo>
                      <a:pt x="36" y="3"/>
                      <a:pt x="20" y="13"/>
                      <a:pt x="6" y="26"/>
                    </a:cubicBezTo>
                    <a:cubicBezTo>
                      <a:pt x="0" y="32"/>
                      <a:pt x="9" y="41"/>
                      <a:pt x="15" y="35"/>
                    </a:cubicBezTo>
                    <a:close/>
                    <a:moveTo>
                      <a:pt x="15" y="35"/>
                    </a:moveTo>
                    <a:cubicBezTo>
                      <a:pt x="15" y="35"/>
                      <a:pt x="15" y="35"/>
                      <a:pt x="15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5" name="Freeform 12"/>
              <p:cNvSpPr>
                <a:spLocks noEditPoints="1"/>
              </p:cNvSpPr>
              <p:nvPr/>
            </p:nvSpPr>
            <p:spPr bwMode="auto">
              <a:xfrm>
                <a:off x="3661" y="2023"/>
                <a:ext cx="105" cy="78"/>
              </a:xfrm>
              <a:custGeom>
                <a:avLst/>
                <a:gdLst>
                  <a:gd name="T0" fmla="*/ 8 w 59"/>
                  <a:gd name="T1" fmla="*/ 43 h 44"/>
                  <a:gd name="T2" fmla="*/ 32 w 59"/>
                  <a:gd name="T3" fmla="*/ 32 h 44"/>
                  <a:gd name="T4" fmla="*/ 54 w 59"/>
                  <a:gd name="T5" fmla="*/ 14 h 44"/>
                  <a:gd name="T6" fmla="*/ 45 w 59"/>
                  <a:gd name="T7" fmla="*/ 6 h 44"/>
                  <a:gd name="T8" fmla="*/ 26 w 59"/>
                  <a:gd name="T9" fmla="*/ 21 h 44"/>
                  <a:gd name="T10" fmla="*/ 5 w 59"/>
                  <a:gd name="T11" fmla="*/ 31 h 44"/>
                  <a:gd name="T12" fmla="*/ 1 w 59"/>
                  <a:gd name="T13" fmla="*/ 39 h 44"/>
                  <a:gd name="T14" fmla="*/ 8 w 59"/>
                  <a:gd name="T15" fmla="*/ 43 h 44"/>
                  <a:gd name="T16" fmla="*/ 8 w 59"/>
                  <a:gd name="T17" fmla="*/ 43 h 44"/>
                  <a:gd name="T18" fmla="*/ 8 w 59"/>
                  <a:gd name="T1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44">
                    <a:moveTo>
                      <a:pt x="8" y="43"/>
                    </a:moveTo>
                    <a:cubicBezTo>
                      <a:pt x="17" y="41"/>
                      <a:pt x="24" y="36"/>
                      <a:pt x="32" y="32"/>
                    </a:cubicBezTo>
                    <a:cubicBezTo>
                      <a:pt x="40" y="28"/>
                      <a:pt x="47" y="21"/>
                      <a:pt x="54" y="14"/>
                    </a:cubicBezTo>
                    <a:cubicBezTo>
                      <a:pt x="59" y="9"/>
                      <a:pt x="50" y="0"/>
                      <a:pt x="45" y="6"/>
                    </a:cubicBezTo>
                    <a:cubicBezTo>
                      <a:pt x="39" y="12"/>
                      <a:pt x="33" y="17"/>
                      <a:pt x="26" y="21"/>
                    </a:cubicBezTo>
                    <a:cubicBezTo>
                      <a:pt x="19" y="25"/>
                      <a:pt x="12" y="29"/>
                      <a:pt x="5" y="31"/>
                    </a:cubicBezTo>
                    <a:cubicBezTo>
                      <a:pt x="2" y="32"/>
                      <a:pt x="0" y="36"/>
                      <a:pt x="1" y="39"/>
                    </a:cubicBezTo>
                    <a:cubicBezTo>
                      <a:pt x="1" y="42"/>
                      <a:pt x="5" y="44"/>
                      <a:pt x="8" y="43"/>
                    </a:cubicBezTo>
                    <a:close/>
                    <a:moveTo>
                      <a:pt x="8" y="43"/>
                    </a:moveTo>
                    <a:cubicBezTo>
                      <a:pt x="8" y="43"/>
                      <a:pt x="8" y="43"/>
                      <a:pt x="8" y="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6" name="Freeform 13"/>
              <p:cNvSpPr>
                <a:spLocks noEditPoints="1"/>
              </p:cNvSpPr>
              <p:nvPr/>
            </p:nvSpPr>
            <p:spPr bwMode="auto">
              <a:xfrm>
                <a:off x="3824" y="2046"/>
                <a:ext cx="75" cy="78"/>
              </a:xfrm>
              <a:custGeom>
                <a:avLst/>
                <a:gdLst>
                  <a:gd name="T0" fmla="*/ 7 w 42"/>
                  <a:gd name="T1" fmla="*/ 44 h 44"/>
                  <a:gd name="T2" fmla="*/ 3 w 42"/>
                  <a:gd name="T3" fmla="*/ 42 h 44"/>
                  <a:gd name="T4" fmla="*/ 3 w 42"/>
                  <a:gd name="T5" fmla="*/ 33 h 44"/>
                  <a:gd name="T6" fmla="*/ 30 w 42"/>
                  <a:gd name="T7" fmla="*/ 4 h 44"/>
                  <a:gd name="T8" fmla="*/ 39 w 42"/>
                  <a:gd name="T9" fmla="*/ 2 h 44"/>
                  <a:gd name="T10" fmla="*/ 40 w 42"/>
                  <a:gd name="T11" fmla="*/ 11 h 44"/>
                  <a:gd name="T12" fmla="*/ 11 w 42"/>
                  <a:gd name="T13" fmla="*/ 43 h 44"/>
                  <a:gd name="T14" fmla="*/ 7 w 42"/>
                  <a:gd name="T15" fmla="*/ 44 h 44"/>
                  <a:gd name="T16" fmla="*/ 7 w 42"/>
                  <a:gd name="T17" fmla="*/ 44 h 44"/>
                  <a:gd name="T18" fmla="*/ 7 w 42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" h="44">
                    <a:moveTo>
                      <a:pt x="7" y="44"/>
                    </a:moveTo>
                    <a:cubicBezTo>
                      <a:pt x="6" y="44"/>
                      <a:pt x="4" y="44"/>
                      <a:pt x="3" y="42"/>
                    </a:cubicBezTo>
                    <a:cubicBezTo>
                      <a:pt x="0" y="40"/>
                      <a:pt x="1" y="36"/>
                      <a:pt x="3" y="33"/>
                    </a:cubicBezTo>
                    <a:cubicBezTo>
                      <a:pt x="14" y="24"/>
                      <a:pt x="23" y="14"/>
                      <a:pt x="30" y="4"/>
                    </a:cubicBezTo>
                    <a:cubicBezTo>
                      <a:pt x="32" y="1"/>
                      <a:pt x="36" y="0"/>
                      <a:pt x="39" y="2"/>
                    </a:cubicBezTo>
                    <a:cubicBezTo>
                      <a:pt x="42" y="4"/>
                      <a:pt x="42" y="8"/>
                      <a:pt x="40" y="11"/>
                    </a:cubicBezTo>
                    <a:cubicBezTo>
                      <a:pt x="33" y="22"/>
                      <a:pt x="23" y="33"/>
                      <a:pt x="11" y="43"/>
                    </a:cubicBezTo>
                    <a:cubicBezTo>
                      <a:pt x="10" y="44"/>
                      <a:pt x="9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7" name="Freeform 14"/>
              <p:cNvSpPr>
                <a:spLocks noEditPoints="1"/>
              </p:cNvSpPr>
              <p:nvPr/>
            </p:nvSpPr>
            <p:spPr bwMode="auto">
              <a:xfrm>
                <a:off x="3662" y="2139"/>
                <a:ext cx="139" cy="78"/>
              </a:xfrm>
              <a:custGeom>
                <a:avLst/>
                <a:gdLst>
                  <a:gd name="T0" fmla="*/ 7 w 77"/>
                  <a:gd name="T1" fmla="*/ 44 h 44"/>
                  <a:gd name="T2" fmla="*/ 1 w 77"/>
                  <a:gd name="T3" fmla="*/ 40 h 44"/>
                  <a:gd name="T4" fmla="*/ 5 w 77"/>
                  <a:gd name="T5" fmla="*/ 32 h 44"/>
                  <a:gd name="T6" fmla="*/ 5 w 77"/>
                  <a:gd name="T7" fmla="*/ 32 h 44"/>
                  <a:gd name="T8" fmla="*/ 47 w 77"/>
                  <a:gd name="T9" fmla="*/ 13 h 44"/>
                  <a:gd name="T10" fmla="*/ 67 w 77"/>
                  <a:gd name="T11" fmla="*/ 1 h 44"/>
                  <a:gd name="T12" fmla="*/ 75 w 77"/>
                  <a:gd name="T13" fmla="*/ 3 h 44"/>
                  <a:gd name="T14" fmla="*/ 74 w 77"/>
                  <a:gd name="T15" fmla="*/ 12 h 44"/>
                  <a:gd name="T16" fmla="*/ 53 w 77"/>
                  <a:gd name="T17" fmla="*/ 24 h 44"/>
                  <a:gd name="T18" fmla="*/ 9 w 77"/>
                  <a:gd name="T19" fmla="*/ 44 h 44"/>
                  <a:gd name="T20" fmla="*/ 9 w 77"/>
                  <a:gd name="T21" fmla="*/ 44 h 44"/>
                  <a:gd name="T22" fmla="*/ 7 w 77"/>
                  <a:gd name="T23" fmla="*/ 44 h 44"/>
                  <a:gd name="T24" fmla="*/ 7 w 77"/>
                  <a:gd name="T25" fmla="*/ 44 h 44"/>
                  <a:gd name="T26" fmla="*/ 7 w 77"/>
                  <a:gd name="T2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7" h="44">
                    <a:moveTo>
                      <a:pt x="7" y="44"/>
                    </a:moveTo>
                    <a:cubicBezTo>
                      <a:pt x="4" y="44"/>
                      <a:pt x="2" y="43"/>
                      <a:pt x="1" y="40"/>
                    </a:cubicBezTo>
                    <a:cubicBezTo>
                      <a:pt x="0" y="37"/>
                      <a:pt x="2" y="33"/>
                      <a:pt x="5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11" y="30"/>
                      <a:pt x="28" y="24"/>
                      <a:pt x="47" y="13"/>
                    </a:cubicBezTo>
                    <a:cubicBezTo>
                      <a:pt x="54" y="9"/>
                      <a:pt x="61" y="5"/>
                      <a:pt x="67" y="1"/>
                    </a:cubicBezTo>
                    <a:cubicBezTo>
                      <a:pt x="70" y="0"/>
                      <a:pt x="73" y="0"/>
                      <a:pt x="75" y="3"/>
                    </a:cubicBezTo>
                    <a:cubicBezTo>
                      <a:pt x="77" y="6"/>
                      <a:pt x="76" y="10"/>
                      <a:pt x="74" y="12"/>
                    </a:cubicBezTo>
                    <a:cubicBezTo>
                      <a:pt x="67" y="16"/>
                      <a:pt x="60" y="20"/>
                      <a:pt x="53" y="24"/>
                    </a:cubicBezTo>
                    <a:cubicBezTo>
                      <a:pt x="33" y="35"/>
                      <a:pt x="16" y="41"/>
                      <a:pt x="9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8" y="44"/>
                      <a:pt x="8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8" name="Freeform 15"/>
              <p:cNvSpPr>
                <a:spLocks noEditPoints="1"/>
              </p:cNvSpPr>
              <p:nvPr/>
            </p:nvSpPr>
            <p:spPr bwMode="auto">
              <a:xfrm>
                <a:off x="3801" y="2215"/>
                <a:ext cx="190" cy="89"/>
              </a:xfrm>
              <a:custGeom>
                <a:avLst/>
                <a:gdLst>
                  <a:gd name="T0" fmla="*/ 99 w 106"/>
                  <a:gd name="T1" fmla="*/ 50 h 50"/>
                  <a:gd name="T2" fmla="*/ 97 w 106"/>
                  <a:gd name="T3" fmla="*/ 49 h 50"/>
                  <a:gd name="T4" fmla="*/ 64 w 106"/>
                  <a:gd name="T5" fmla="*/ 30 h 50"/>
                  <a:gd name="T6" fmla="*/ 36 w 106"/>
                  <a:gd name="T7" fmla="*/ 14 h 50"/>
                  <a:gd name="T8" fmla="*/ 10 w 106"/>
                  <a:gd name="T9" fmla="*/ 29 h 50"/>
                  <a:gd name="T10" fmla="*/ 1 w 106"/>
                  <a:gd name="T11" fmla="*/ 27 h 50"/>
                  <a:gd name="T12" fmla="*/ 3 w 106"/>
                  <a:gd name="T13" fmla="*/ 18 h 50"/>
                  <a:gd name="T14" fmla="*/ 34 w 106"/>
                  <a:gd name="T15" fmla="*/ 2 h 50"/>
                  <a:gd name="T16" fmla="*/ 71 w 106"/>
                  <a:gd name="T17" fmla="*/ 20 h 50"/>
                  <a:gd name="T18" fmla="*/ 101 w 106"/>
                  <a:gd name="T19" fmla="*/ 37 h 50"/>
                  <a:gd name="T20" fmla="*/ 105 w 106"/>
                  <a:gd name="T21" fmla="*/ 45 h 50"/>
                  <a:gd name="T22" fmla="*/ 99 w 106"/>
                  <a:gd name="T23" fmla="*/ 50 h 50"/>
                  <a:gd name="T24" fmla="*/ 99 w 106"/>
                  <a:gd name="T25" fmla="*/ 50 h 50"/>
                  <a:gd name="T26" fmla="*/ 99 w 106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6" h="50">
                    <a:moveTo>
                      <a:pt x="99" y="50"/>
                    </a:moveTo>
                    <a:cubicBezTo>
                      <a:pt x="98" y="50"/>
                      <a:pt x="97" y="49"/>
                      <a:pt x="97" y="49"/>
                    </a:cubicBezTo>
                    <a:cubicBezTo>
                      <a:pt x="86" y="46"/>
                      <a:pt x="75" y="38"/>
                      <a:pt x="64" y="30"/>
                    </a:cubicBezTo>
                    <a:cubicBezTo>
                      <a:pt x="54" y="23"/>
                      <a:pt x="41" y="13"/>
                      <a:pt x="36" y="14"/>
                    </a:cubicBezTo>
                    <a:cubicBezTo>
                      <a:pt x="31" y="15"/>
                      <a:pt x="15" y="25"/>
                      <a:pt x="10" y="29"/>
                    </a:cubicBezTo>
                    <a:cubicBezTo>
                      <a:pt x="7" y="30"/>
                      <a:pt x="3" y="30"/>
                      <a:pt x="1" y="27"/>
                    </a:cubicBezTo>
                    <a:cubicBezTo>
                      <a:pt x="0" y="24"/>
                      <a:pt x="0" y="20"/>
                      <a:pt x="3" y="18"/>
                    </a:cubicBezTo>
                    <a:cubicBezTo>
                      <a:pt x="20" y="8"/>
                      <a:pt x="28" y="3"/>
                      <a:pt x="34" y="2"/>
                    </a:cubicBezTo>
                    <a:cubicBezTo>
                      <a:pt x="44" y="0"/>
                      <a:pt x="57" y="9"/>
                      <a:pt x="71" y="20"/>
                    </a:cubicBezTo>
                    <a:cubicBezTo>
                      <a:pt x="82" y="27"/>
                      <a:pt x="92" y="35"/>
                      <a:pt x="101" y="37"/>
                    </a:cubicBezTo>
                    <a:cubicBezTo>
                      <a:pt x="104" y="39"/>
                      <a:pt x="106" y="42"/>
                      <a:pt x="105" y="45"/>
                    </a:cubicBezTo>
                    <a:cubicBezTo>
                      <a:pt x="104" y="48"/>
                      <a:pt x="101" y="50"/>
                      <a:pt x="99" y="50"/>
                    </a:cubicBezTo>
                    <a:close/>
                    <a:moveTo>
                      <a:pt x="99" y="50"/>
                    </a:moveTo>
                    <a:cubicBezTo>
                      <a:pt x="99" y="50"/>
                      <a:pt x="99" y="50"/>
                      <a:pt x="99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9" name="Freeform 16"/>
              <p:cNvSpPr>
                <a:spLocks noEditPoints="1"/>
              </p:cNvSpPr>
              <p:nvPr/>
            </p:nvSpPr>
            <p:spPr bwMode="auto">
              <a:xfrm>
                <a:off x="3702" y="2260"/>
                <a:ext cx="100" cy="66"/>
              </a:xfrm>
              <a:custGeom>
                <a:avLst/>
                <a:gdLst>
                  <a:gd name="T0" fmla="*/ 7 w 56"/>
                  <a:gd name="T1" fmla="*/ 37 h 37"/>
                  <a:gd name="T2" fmla="*/ 1 w 56"/>
                  <a:gd name="T3" fmla="*/ 33 h 37"/>
                  <a:gd name="T4" fmla="*/ 5 w 56"/>
                  <a:gd name="T5" fmla="*/ 25 h 37"/>
                  <a:gd name="T6" fmla="*/ 45 w 56"/>
                  <a:gd name="T7" fmla="*/ 2 h 37"/>
                  <a:gd name="T8" fmla="*/ 54 w 56"/>
                  <a:gd name="T9" fmla="*/ 4 h 37"/>
                  <a:gd name="T10" fmla="*/ 52 w 56"/>
                  <a:gd name="T11" fmla="*/ 12 h 37"/>
                  <a:gd name="T12" fmla="*/ 9 w 56"/>
                  <a:gd name="T13" fmla="*/ 37 h 37"/>
                  <a:gd name="T14" fmla="*/ 7 w 56"/>
                  <a:gd name="T15" fmla="*/ 37 h 37"/>
                  <a:gd name="T16" fmla="*/ 7 w 56"/>
                  <a:gd name="T17" fmla="*/ 37 h 37"/>
                  <a:gd name="T18" fmla="*/ 7 w 56"/>
                  <a:gd name="T1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37">
                    <a:moveTo>
                      <a:pt x="7" y="37"/>
                    </a:moveTo>
                    <a:cubicBezTo>
                      <a:pt x="4" y="37"/>
                      <a:pt x="2" y="35"/>
                      <a:pt x="1" y="33"/>
                    </a:cubicBezTo>
                    <a:cubicBezTo>
                      <a:pt x="0" y="29"/>
                      <a:pt x="2" y="26"/>
                      <a:pt x="5" y="25"/>
                    </a:cubicBezTo>
                    <a:cubicBezTo>
                      <a:pt x="13" y="23"/>
                      <a:pt x="31" y="11"/>
                      <a:pt x="45" y="2"/>
                    </a:cubicBezTo>
                    <a:cubicBezTo>
                      <a:pt x="48" y="0"/>
                      <a:pt x="52" y="1"/>
                      <a:pt x="54" y="4"/>
                    </a:cubicBezTo>
                    <a:cubicBezTo>
                      <a:pt x="56" y="6"/>
                      <a:pt x="55" y="10"/>
                      <a:pt x="52" y="12"/>
                    </a:cubicBezTo>
                    <a:cubicBezTo>
                      <a:pt x="32" y="25"/>
                      <a:pt x="17" y="35"/>
                      <a:pt x="9" y="37"/>
                    </a:cubicBezTo>
                    <a:cubicBezTo>
                      <a:pt x="8" y="37"/>
                      <a:pt x="7" y="37"/>
                      <a:pt x="7" y="37"/>
                    </a:cubicBezTo>
                    <a:close/>
                    <a:moveTo>
                      <a:pt x="7" y="37"/>
                    </a:moveTo>
                    <a:cubicBezTo>
                      <a:pt x="7" y="37"/>
                      <a:pt x="7" y="37"/>
                      <a:pt x="7" y="3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0" name="Freeform 17"/>
              <p:cNvSpPr>
                <a:spLocks noEditPoints="1"/>
              </p:cNvSpPr>
              <p:nvPr/>
            </p:nvSpPr>
            <p:spPr bwMode="auto">
              <a:xfrm>
                <a:off x="3906" y="2319"/>
                <a:ext cx="56" cy="39"/>
              </a:xfrm>
              <a:custGeom>
                <a:avLst/>
                <a:gdLst>
                  <a:gd name="T0" fmla="*/ 24 w 31"/>
                  <a:gd name="T1" fmla="*/ 22 h 22"/>
                  <a:gd name="T2" fmla="*/ 22 w 31"/>
                  <a:gd name="T3" fmla="*/ 21 h 22"/>
                  <a:gd name="T4" fmla="*/ 4 w 31"/>
                  <a:gd name="T5" fmla="*/ 12 h 22"/>
                  <a:gd name="T6" fmla="*/ 2 w 31"/>
                  <a:gd name="T7" fmla="*/ 4 h 22"/>
                  <a:gd name="T8" fmla="*/ 11 w 31"/>
                  <a:gd name="T9" fmla="*/ 1 h 22"/>
                  <a:gd name="T10" fmla="*/ 26 w 31"/>
                  <a:gd name="T11" fmla="*/ 10 h 22"/>
                  <a:gd name="T12" fmla="*/ 30 w 31"/>
                  <a:gd name="T13" fmla="*/ 18 h 22"/>
                  <a:gd name="T14" fmla="*/ 24 w 31"/>
                  <a:gd name="T15" fmla="*/ 22 h 22"/>
                  <a:gd name="T16" fmla="*/ 24 w 31"/>
                  <a:gd name="T17" fmla="*/ 22 h 22"/>
                  <a:gd name="T18" fmla="*/ 24 w 31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22">
                    <a:moveTo>
                      <a:pt x="24" y="22"/>
                    </a:moveTo>
                    <a:cubicBezTo>
                      <a:pt x="23" y="22"/>
                      <a:pt x="23" y="22"/>
                      <a:pt x="22" y="21"/>
                    </a:cubicBezTo>
                    <a:cubicBezTo>
                      <a:pt x="17" y="20"/>
                      <a:pt x="10" y="16"/>
                      <a:pt x="4" y="12"/>
                    </a:cubicBezTo>
                    <a:cubicBezTo>
                      <a:pt x="1" y="10"/>
                      <a:pt x="0" y="6"/>
                      <a:pt x="2" y="4"/>
                    </a:cubicBezTo>
                    <a:cubicBezTo>
                      <a:pt x="4" y="1"/>
                      <a:pt x="8" y="0"/>
                      <a:pt x="11" y="1"/>
                    </a:cubicBezTo>
                    <a:cubicBezTo>
                      <a:pt x="16" y="5"/>
                      <a:pt x="22" y="8"/>
                      <a:pt x="26" y="10"/>
                    </a:cubicBezTo>
                    <a:cubicBezTo>
                      <a:pt x="29" y="11"/>
                      <a:pt x="31" y="15"/>
                      <a:pt x="30" y="18"/>
                    </a:cubicBezTo>
                    <a:cubicBezTo>
                      <a:pt x="29" y="20"/>
                      <a:pt x="27" y="22"/>
                      <a:pt x="24" y="22"/>
                    </a:cubicBezTo>
                    <a:close/>
                    <a:moveTo>
                      <a:pt x="24" y="22"/>
                    </a:moveTo>
                    <a:cubicBezTo>
                      <a:pt x="24" y="22"/>
                      <a:pt x="24" y="22"/>
                      <a:pt x="24" y="2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1" name="Freeform 18"/>
              <p:cNvSpPr>
                <a:spLocks noEditPoints="1"/>
              </p:cNvSpPr>
              <p:nvPr/>
            </p:nvSpPr>
            <p:spPr bwMode="auto">
              <a:xfrm>
                <a:off x="3741" y="2287"/>
                <a:ext cx="165" cy="89"/>
              </a:xfrm>
              <a:custGeom>
                <a:avLst/>
                <a:gdLst>
                  <a:gd name="T0" fmla="*/ 7 w 92"/>
                  <a:gd name="T1" fmla="*/ 50 h 50"/>
                  <a:gd name="T2" fmla="*/ 2 w 92"/>
                  <a:gd name="T3" fmla="*/ 47 h 50"/>
                  <a:gd name="T4" fmla="*/ 4 w 92"/>
                  <a:gd name="T5" fmla="*/ 39 h 50"/>
                  <a:gd name="T6" fmla="*/ 12 w 92"/>
                  <a:gd name="T7" fmla="*/ 33 h 50"/>
                  <a:gd name="T8" fmla="*/ 63 w 92"/>
                  <a:gd name="T9" fmla="*/ 1 h 50"/>
                  <a:gd name="T10" fmla="*/ 88 w 92"/>
                  <a:gd name="T11" fmla="*/ 10 h 50"/>
                  <a:gd name="T12" fmla="*/ 90 w 92"/>
                  <a:gd name="T13" fmla="*/ 19 h 50"/>
                  <a:gd name="T14" fmla="*/ 81 w 92"/>
                  <a:gd name="T15" fmla="*/ 21 h 50"/>
                  <a:gd name="T16" fmla="*/ 65 w 92"/>
                  <a:gd name="T17" fmla="*/ 13 h 50"/>
                  <a:gd name="T18" fmla="*/ 19 w 92"/>
                  <a:gd name="T19" fmla="*/ 43 h 50"/>
                  <a:gd name="T20" fmla="*/ 11 w 92"/>
                  <a:gd name="T21" fmla="*/ 49 h 50"/>
                  <a:gd name="T22" fmla="*/ 7 w 92"/>
                  <a:gd name="T23" fmla="*/ 50 h 50"/>
                  <a:gd name="T24" fmla="*/ 7 w 92"/>
                  <a:gd name="T25" fmla="*/ 50 h 50"/>
                  <a:gd name="T26" fmla="*/ 7 w 92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50">
                    <a:moveTo>
                      <a:pt x="7" y="50"/>
                    </a:moveTo>
                    <a:cubicBezTo>
                      <a:pt x="5" y="50"/>
                      <a:pt x="3" y="49"/>
                      <a:pt x="2" y="47"/>
                    </a:cubicBezTo>
                    <a:cubicBezTo>
                      <a:pt x="0" y="45"/>
                      <a:pt x="1" y="41"/>
                      <a:pt x="4" y="39"/>
                    </a:cubicBezTo>
                    <a:cubicBezTo>
                      <a:pt x="6" y="37"/>
                      <a:pt x="9" y="35"/>
                      <a:pt x="12" y="33"/>
                    </a:cubicBezTo>
                    <a:cubicBezTo>
                      <a:pt x="39" y="13"/>
                      <a:pt x="55" y="2"/>
                      <a:pt x="63" y="1"/>
                    </a:cubicBezTo>
                    <a:cubicBezTo>
                      <a:pt x="68" y="0"/>
                      <a:pt x="75" y="3"/>
                      <a:pt x="88" y="10"/>
                    </a:cubicBezTo>
                    <a:cubicBezTo>
                      <a:pt x="91" y="12"/>
                      <a:pt x="92" y="16"/>
                      <a:pt x="90" y="19"/>
                    </a:cubicBezTo>
                    <a:cubicBezTo>
                      <a:pt x="88" y="22"/>
                      <a:pt x="84" y="23"/>
                      <a:pt x="81" y="21"/>
                    </a:cubicBezTo>
                    <a:cubicBezTo>
                      <a:pt x="69" y="14"/>
                      <a:pt x="66" y="13"/>
                      <a:pt x="65" y="13"/>
                    </a:cubicBezTo>
                    <a:cubicBezTo>
                      <a:pt x="58" y="14"/>
                      <a:pt x="30" y="35"/>
                      <a:pt x="19" y="43"/>
                    </a:cubicBezTo>
                    <a:cubicBezTo>
                      <a:pt x="16" y="45"/>
                      <a:pt x="13" y="48"/>
                      <a:pt x="11" y="49"/>
                    </a:cubicBezTo>
                    <a:cubicBezTo>
                      <a:pt x="10" y="50"/>
                      <a:pt x="9" y="50"/>
                      <a:pt x="7" y="50"/>
                    </a:cubicBezTo>
                    <a:close/>
                    <a:moveTo>
                      <a:pt x="7" y="50"/>
                    </a:moveTo>
                    <a:cubicBezTo>
                      <a:pt x="7" y="50"/>
                      <a:pt x="7" y="50"/>
                      <a:pt x="7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2" name="Freeform 20"/>
              <p:cNvSpPr>
                <a:spLocks noEditPoints="1"/>
              </p:cNvSpPr>
              <p:nvPr/>
            </p:nvSpPr>
            <p:spPr bwMode="auto">
              <a:xfrm>
                <a:off x="3949" y="2108"/>
                <a:ext cx="72" cy="77"/>
              </a:xfrm>
              <a:custGeom>
                <a:avLst/>
                <a:gdLst>
                  <a:gd name="T0" fmla="*/ 1 w 40"/>
                  <a:gd name="T1" fmla="*/ 11 h 43"/>
                  <a:gd name="T2" fmla="*/ 30 w 40"/>
                  <a:gd name="T3" fmla="*/ 41 h 43"/>
                  <a:gd name="T4" fmla="*/ 38 w 40"/>
                  <a:gd name="T5" fmla="*/ 39 h 43"/>
                  <a:gd name="T6" fmla="*/ 36 w 40"/>
                  <a:gd name="T7" fmla="*/ 31 h 43"/>
                  <a:gd name="T8" fmla="*/ 21 w 40"/>
                  <a:gd name="T9" fmla="*/ 23 h 43"/>
                  <a:gd name="T10" fmla="*/ 13 w 40"/>
                  <a:gd name="T11" fmla="*/ 7 h 43"/>
                  <a:gd name="T12" fmla="*/ 1 w 40"/>
                  <a:gd name="T13" fmla="*/ 11 h 43"/>
                  <a:gd name="T14" fmla="*/ 1 w 40"/>
                  <a:gd name="T15" fmla="*/ 11 h 43"/>
                  <a:gd name="T16" fmla="*/ 1 w 40"/>
                  <a:gd name="T17" fmla="*/ 1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43">
                    <a:moveTo>
                      <a:pt x="1" y="11"/>
                    </a:moveTo>
                    <a:cubicBezTo>
                      <a:pt x="4" y="27"/>
                      <a:pt x="15" y="36"/>
                      <a:pt x="30" y="41"/>
                    </a:cubicBezTo>
                    <a:cubicBezTo>
                      <a:pt x="33" y="43"/>
                      <a:pt x="36" y="42"/>
                      <a:pt x="38" y="39"/>
                    </a:cubicBezTo>
                    <a:cubicBezTo>
                      <a:pt x="40" y="37"/>
                      <a:pt x="39" y="32"/>
                      <a:pt x="36" y="31"/>
                    </a:cubicBezTo>
                    <a:cubicBezTo>
                      <a:pt x="31" y="29"/>
                      <a:pt x="25" y="26"/>
                      <a:pt x="21" y="23"/>
                    </a:cubicBezTo>
                    <a:cubicBezTo>
                      <a:pt x="16" y="19"/>
                      <a:pt x="14" y="13"/>
                      <a:pt x="13" y="7"/>
                    </a:cubicBezTo>
                    <a:cubicBezTo>
                      <a:pt x="12" y="0"/>
                      <a:pt x="0" y="3"/>
                      <a:pt x="1" y="11"/>
                    </a:cubicBezTo>
                    <a:close/>
                    <a:moveTo>
                      <a:pt x="1" y="11"/>
                    </a:moveTo>
                    <a:cubicBezTo>
                      <a:pt x="1" y="11"/>
                      <a:pt x="1" y="11"/>
                      <a:pt x="1" y="1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3" name="Freeform 21"/>
              <p:cNvSpPr>
                <a:spLocks noEditPoints="1"/>
              </p:cNvSpPr>
              <p:nvPr/>
            </p:nvSpPr>
            <p:spPr bwMode="auto">
              <a:xfrm>
                <a:off x="3906" y="2160"/>
                <a:ext cx="99" cy="86"/>
              </a:xfrm>
              <a:custGeom>
                <a:avLst/>
                <a:gdLst>
                  <a:gd name="T0" fmla="*/ 1 w 55"/>
                  <a:gd name="T1" fmla="*/ 8 h 48"/>
                  <a:gd name="T2" fmla="*/ 44 w 55"/>
                  <a:gd name="T3" fmla="*/ 46 h 48"/>
                  <a:gd name="T4" fmla="*/ 48 w 55"/>
                  <a:gd name="T5" fmla="*/ 34 h 48"/>
                  <a:gd name="T6" fmla="*/ 35 w 55"/>
                  <a:gd name="T7" fmla="*/ 28 h 48"/>
                  <a:gd name="T8" fmla="*/ 13 w 55"/>
                  <a:gd name="T9" fmla="*/ 5 h 48"/>
                  <a:gd name="T10" fmla="*/ 6 w 55"/>
                  <a:gd name="T11" fmla="*/ 1 h 48"/>
                  <a:gd name="T12" fmla="*/ 1 w 55"/>
                  <a:gd name="T13" fmla="*/ 8 h 48"/>
                  <a:gd name="T14" fmla="*/ 1 w 55"/>
                  <a:gd name="T15" fmla="*/ 8 h 48"/>
                  <a:gd name="T16" fmla="*/ 1 w 55"/>
                  <a:gd name="T17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48">
                    <a:moveTo>
                      <a:pt x="1" y="8"/>
                    </a:moveTo>
                    <a:cubicBezTo>
                      <a:pt x="9" y="27"/>
                      <a:pt x="26" y="40"/>
                      <a:pt x="44" y="46"/>
                    </a:cubicBezTo>
                    <a:cubicBezTo>
                      <a:pt x="52" y="48"/>
                      <a:pt x="55" y="36"/>
                      <a:pt x="48" y="34"/>
                    </a:cubicBezTo>
                    <a:cubicBezTo>
                      <a:pt x="43" y="33"/>
                      <a:pt x="40" y="31"/>
                      <a:pt x="35" y="28"/>
                    </a:cubicBezTo>
                    <a:cubicBezTo>
                      <a:pt x="26" y="23"/>
                      <a:pt x="17" y="15"/>
                      <a:pt x="13" y="5"/>
                    </a:cubicBezTo>
                    <a:cubicBezTo>
                      <a:pt x="12" y="2"/>
                      <a:pt x="9" y="0"/>
                      <a:pt x="6" y="1"/>
                    </a:cubicBezTo>
                    <a:cubicBezTo>
                      <a:pt x="3" y="2"/>
                      <a:pt x="0" y="5"/>
                      <a:pt x="1" y="8"/>
                    </a:cubicBezTo>
                    <a:close/>
                    <a:moveTo>
                      <a:pt x="1" y="8"/>
                    </a:moveTo>
                    <a:cubicBezTo>
                      <a:pt x="1" y="8"/>
                      <a:pt x="1" y="8"/>
                      <a:pt x="1" y="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</p:grpSp>
        <p:grpSp>
          <p:nvGrpSpPr>
            <p:cNvPr id="26" name="Group 15"/>
            <p:cNvGrpSpPr>
              <a:grpSpLocks noChangeAspect="1"/>
            </p:cNvGrpSpPr>
            <p:nvPr userDrawn="1"/>
          </p:nvGrpSpPr>
          <p:grpSpPr bwMode="auto">
            <a:xfrm>
              <a:off x="702225" y="267251"/>
              <a:ext cx="94846" cy="95277"/>
              <a:chOff x="4843" y="2141"/>
              <a:chExt cx="220" cy="22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0" name="Freeform 16"/>
              <p:cNvSpPr>
                <a:spLocks/>
              </p:cNvSpPr>
              <p:nvPr/>
            </p:nvSpPr>
            <p:spPr bwMode="auto">
              <a:xfrm>
                <a:off x="4843" y="2298"/>
                <a:ext cx="184" cy="64"/>
              </a:xfrm>
              <a:custGeom>
                <a:avLst/>
                <a:gdLst>
                  <a:gd name="T0" fmla="*/ 584 w 1371"/>
                  <a:gd name="T1" fmla="*/ 473 h 473"/>
                  <a:gd name="T2" fmla="*/ 489 w 1371"/>
                  <a:gd name="T3" fmla="*/ 464 h 473"/>
                  <a:gd name="T4" fmla="*/ 142 w 1371"/>
                  <a:gd name="T5" fmla="*/ 375 h 473"/>
                  <a:gd name="T6" fmla="*/ 18 w 1371"/>
                  <a:gd name="T7" fmla="*/ 273 h 473"/>
                  <a:gd name="T8" fmla="*/ 0 w 1371"/>
                  <a:gd name="T9" fmla="*/ 213 h 473"/>
                  <a:gd name="T10" fmla="*/ 0 w 1371"/>
                  <a:gd name="T11" fmla="*/ 17 h 473"/>
                  <a:gd name="T12" fmla="*/ 13 w 1371"/>
                  <a:gd name="T13" fmla="*/ 8 h 473"/>
                  <a:gd name="T14" fmla="*/ 285 w 1371"/>
                  <a:gd name="T15" fmla="*/ 107 h 473"/>
                  <a:gd name="T16" fmla="*/ 769 w 1371"/>
                  <a:gd name="T17" fmla="*/ 141 h 473"/>
                  <a:gd name="T18" fmla="*/ 1176 w 1371"/>
                  <a:gd name="T19" fmla="*/ 85 h 473"/>
                  <a:gd name="T20" fmla="*/ 1352 w 1371"/>
                  <a:gd name="T21" fmla="*/ 10 h 473"/>
                  <a:gd name="T22" fmla="*/ 1365 w 1371"/>
                  <a:gd name="T23" fmla="*/ 5 h 473"/>
                  <a:gd name="T24" fmla="*/ 1369 w 1371"/>
                  <a:gd name="T25" fmla="*/ 20 h 473"/>
                  <a:gd name="T26" fmla="*/ 1369 w 1371"/>
                  <a:gd name="T27" fmla="*/ 218 h 473"/>
                  <a:gd name="T28" fmla="*/ 1333 w 1371"/>
                  <a:gd name="T29" fmla="*/ 298 h 473"/>
                  <a:gd name="T30" fmla="*/ 1178 w 1371"/>
                  <a:gd name="T31" fmla="*/ 396 h 473"/>
                  <a:gd name="T32" fmla="*/ 876 w 1371"/>
                  <a:gd name="T33" fmla="*/ 464 h 473"/>
                  <a:gd name="T34" fmla="*/ 786 w 1371"/>
                  <a:gd name="T35" fmla="*/ 473 h 473"/>
                  <a:gd name="T36" fmla="*/ 584 w 1371"/>
                  <a:gd name="T37" fmla="*/ 473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71" h="473">
                    <a:moveTo>
                      <a:pt x="584" y="473"/>
                    </a:moveTo>
                    <a:cubicBezTo>
                      <a:pt x="552" y="470"/>
                      <a:pt x="520" y="467"/>
                      <a:pt x="489" y="464"/>
                    </a:cubicBezTo>
                    <a:cubicBezTo>
                      <a:pt x="369" y="450"/>
                      <a:pt x="252" y="427"/>
                      <a:pt x="142" y="375"/>
                    </a:cubicBezTo>
                    <a:cubicBezTo>
                      <a:pt x="93" y="351"/>
                      <a:pt x="47" y="322"/>
                      <a:pt x="18" y="273"/>
                    </a:cubicBezTo>
                    <a:cubicBezTo>
                      <a:pt x="7" y="255"/>
                      <a:pt x="0" y="235"/>
                      <a:pt x="0" y="213"/>
                    </a:cubicBezTo>
                    <a:cubicBezTo>
                      <a:pt x="1" y="148"/>
                      <a:pt x="1" y="82"/>
                      <a:pt x="0" y="17"/>
                    </a:cubicBezTo>
                    <a:cubicBezTo>
                      <a:pt x="0" y="8"/>
                      <a:pt x="1" y="0"/>
                      <a:pt x="13" y="8"/>
                    </a:cubicBezTo>
                    <a:cubicBezTo>
                      <a:pt x="97" y="61"/>
                      <a:pt x="190" y="87"/>
                      <a:pt x="285" y="107"/>
                    </a:cubicBezTo>
                    <a:cubicBezTo>
                      <a:pt x="445" y="140"/>
                      <a:pt x="607" y="146"/>
                      <a:pt x="769" y="141"/>
                    </a:cubicBezTo>
                    <a:cubicBezTo>
                      <a:pt x="906" y="137"/>
                      <a:pt x="1043" y="123"/>
                      <a:pt x="1176" y="85"/>
                    </a:cubicBezTo>
                    <a:cubicBezTo>
                      <a:pt x="1238" y="67"/>
                      <a:pt x="1298" y="45"/>
                      <a:pt x="1352" y="10"/>
                    </a:cubicBezTo>
                    <a:cubicBezTo>
                      <a:pt x="1356" y="8"/>
                      <a:pt x="1360" y="3"/>
                      <a:pt x="1365" y="5"/>
                    </a:cubicBezTo>
                    <a:cubicBezTo>
                      <a:pt x="1371" y="8"/>
                      <a:pt x="1369" y="15"/>
                      <a:pt x="1369" y="20"/>
                    </a:cubicBezTo>
                    <a:cubicBezTo>
                      <a:pt x="1369" y="86"/>
                      <a:pt x="1369" y="152"/>
                      <a:pt x="1369" y="218"/>
                    </a:cubicBezTo>
                    <a:cubicBezTo>
                      <a:pt x="1368" y="249"/>
                      <a:pt x="1353" y="275"/>
                      <a:pt x="1333" y="298"/>
                    </a:cubicBezTo>
                    <a:cubicBezTo>
                      <a:pt x="1291" y="346"/>
                      <a:pt x="1236" y="373"/>
                      <a:pt x="1178" y="396"/>
                    </a:cubicBezTo>
                    <a:cubicBezTo>
                      <a:pt x="1081" y="434"/>
                      <a:pt x="979" y="453"/>
                      <a:pt x="876" y="464"/>
                    </a:cubicBezTo>
                    <a:cubicBezTo>
                      <a:pt x="846" y="467"/>
                      <a:pt x="816" y="470"/>
                      <a:pt x="786" y="473"/>
                    </a:cubicBezTo>
                    <a:cubicBezTo>
                      <a:pt x="718" y="473"/>
                      <a:pt x="651" y="473"/>
                      <a:pt x="584" y="4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17"/>
              <p:cNvSpPr>
                <a:spLocks/>
              </p:cNvSpPr>
              <p:nvPr/>
            </p:nvSpPr>
            <p:spPr bwMode="auto">
              <a:xfrm>
                <a:off x="4894" y="2141"/>
                <a:ext cx="169" cy="56"/>
              </a:xfrm>
              <a:custGeom>
                <a:avLst/>
                <a:gdLst>
                  <a:gd name="T0" fmla="*/ 1263 w 1263"/>
                  <a:gd name="T1" fmla="*/ 314 h 416"/>
                  <a:gd name="T2" fmla="*/ 1114 w 1263"/>
                  <a:gd name="T3" fmla="*/ 395 h 416"/>
                  <a:gd name="T4" fmla="*/ 1056 w 1263"/>
                  <a:gd name="T5" fmla="*/ 413 h 416"/>
                  <a:gd name="T6" fmla="*/ 1042 w 1263"/>
                  <a:gd name="T7" fmla="*/ 403 h 416"/>
                  <a:gd name="T8" fmla="*/ 943 w 1263"/>
                  <a:gd name="T9" fmla="*/ 233 h 416"/>
                  <a:gd name="T10" fmla="*/ 696 w 1263"/>
                  <a:gd name="T11" fmla="*/ 132 h 416"/>
                  <a:gd name="T12" fmla="*/ 462 w 1263"/>
                  <a:gd name="T13" fmla="*/ 99 h 416"/>
                  <a:gd name="T14" fmla="*/ 243 w 1263"/>
                  <a:gd name="T15" fmla="*/ 97 h 416"/>
                  <a:gd name="T16" fmla="*/ 15 w 1263"/>
                  <a:gd name="T17" fmla="*/ 124 h 416"/>
                  <a:gd name="T18" fmla="*/ 0 w 1263"/>
                  <a:gd name="T19" fmla="*/ 122 h 416"/>
                  <a:gd name="T20" fmla="*/ 47 w 1263"/>
                  <a:gd name="T21" fmla="*/ 96 h 416"/>
                  <a:gd name="T22" fmla="*/ 354 w 1263"/>
                  <a:gd name="T23" fmla="*/ 15 h 416"/>
                  <a:gd name="T24" fmla="*/ 648 w 1263"/>
                  <a:gd name="T25" fmla="*/ 3 h 416"/>
                  <a:gd name="T26" fmla="*/ 1057 w 1263"/>
                  <a:gd name="T27" fmla="*/ 72 h 416"/>
                  <a:gd name="T28" fmla="*/ 1213 w 1263"/>
                  <a:gd name="T29" fmla="*/ 162 h 416"/>
                  <a:gd name="T30" fmla="*/ 1263 w 1263"/>
                  <a:gd name="T31" fmla="*/ 237 h 416"/>
                  <a:gd name="T32" fmla="*/ 1263 w 1263"/>
                  <a:gd name="T33" fmla="*/ 314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63" h="416">
                    <a:moveTo>
                      <a:pt x="1263" y="314"/>
                    </a:moveTo>
                    <a:cubicBezTo>
                      <a:pt x="1221" y="355"/>
                      <a:pt x="1168" y="375"/>
                      <a:pt x="1114" y="395"/>
                    </a:cubicBezTo>
                    <a:cubicBezTo>
                      <a:pt x="1095" y="402"/>
                      <a:pt x="1075" y="407"/>
                      <a:pt x="1056" y="413"/>
                    </a:cubicBezTo>
                    <a:cubicBezTo>
                      <a:pt x="1046" y="416"/>
                      <a:pt x="1041" y="413"/>
                      <a:pt x="1042" y="403"/>
                    </a:cubicBezTo>
                    <a:cubicBezTo>
                      <a:pt x="1048" y="323"/>
                      <a:pt x="1001" y="274"/>
                      <a:pt x="943" y="233"/>
                    </a:cubicBezTo>
                    <a:cubicBezTo>
                      <a:pt x="868" y="181"/>
                      <a:pt x="783" y="153"/>
                      <a:pt x="696" y="132"/>
                    </a:cubicBezTo>
                    <a:cubicBezTo>
                      <a:pt x="619" y="114"/>
                      <a:pt x="541" y="105"/>
                      <a:pt x="462" y="99"/>
                    </a:cubicBezTo>
                    <a:cubicBezTo>
                      <a:pt x="389" y="94"/>
                      <a:pt x="316" y="95"/>
                      <a:pt x="243" y="97"/>
                    </a:cubicBezTo>
                    <a:cubicBezTo>
                      <a:pt x="166" y="100"/>
                      <a:pt x="90" y="109"/>
                      <a:pt x="15" y="124"/>
                    </a:cubicBezTo>
                    <a:cubicBezTo>
                      <a:pt x="11" y="124"/>
                      <a:pt x="7" y="126"/>
                      <a:pt x="0" y="122"/>
                    </a:cubicBezTo>
                    <a:cubicBezTo>
                      <a:pt x="17" y="113"/>
                      <a:pt x="31" y="104"/>
                      <a:pt x="47" y="96"/>
                    </a:cubicBezTo>
                    <a:cubicBezTo>
                      <a:pt x="144" y="51"/>
                      <a:pt x="248" y="29"/>
                      <a:pt x="354" y="15"/>
                    </a:cubicBezTo>
                    <a:cubicBezTo>
                      <a:pt x="452" y="2"/>
                      <a:pt x="550" y="0"/>
                      <a:pt x="648" y="3"/>
                    </a:cubicBezTo>
                    <a:cubicBezTo>
                      <a:pt x="787" y="7"/>
                      <a:pt x="925" y="23"/>
                      <a:pt x="1057" y="72"/>
                    </a:cubicBezTo>
                    <a:cubicBezTo>
                      <a:pt x="1114" y="93"/>
                      <a:pt x="1168" y="120"/>
                      <a:pt x="1213" y="162"/>
                    </a:cubicBezTo>
                    <a:cubicBezTo>
                      <a:pt x="1236" y="183"/>
                      <a:pt x="1251" y="209"/>
                      <a:pt x="1263" y="237"/>
                    </a:cubicBezTo>
                    <a:cubicBezTo>
                      <a:pt x="1263" y="262"/>
                      <a:pt x="1263" y="288"/>
                      <a:pt x="1263" y="3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18"/>
              <p:cNvSpPr>
                <a:spLocks/>
              </p:cNvSpPr>
              <p:nvPr/>
            </p:nvSpPr>
            <p:spPr bwMode="auto">
              <a:xfrm>
                <a:off x="5034" y="2192"/>
                <a:ext cx="29" cy="48"/>
              </a:xfrm>
              <a:custGeom>
                <a:avLst/>
                <a:gdLst>
                  <a:gd name="T0" fmla="*/ 221 w 221"/>
                  <a:gd name="T1" fmla="*/ 259 h 360"/>
                  <a:gd name="T2" fmla="*/ 52 w 221"/>
                  <a:gd name="T3" fmla="*/ 345 h 360"/>
                  <a:gd name="T4" fmla="*/ 13 w 221"/>
                  <a:gd name="T5" fmla="*/ 357 h 360"/>
                  <a:gd name="T6" fmla="*/ 0 w 221"/>
                  <a:gd name="T7" fmla="*/ 347 h 360"/>
                  <a:gd name="T8" fmla="*/ 0 w 221"/>
                  <a:gd name="T9" fmla="*/ 338 h 360"/>
                  <a:gd name="T10" fmla="*/ 0 w 221"/>
                  <a:gd name="T11" fmla="*/ 106 h 360"/>
                  <a:gd name="T12" fmla="*/ 19 w 221"/>
                  <a:gd name="T13" fmla="*/ 80 h 360"/>
                  <a:gd name="T14" fmla="*/ 215 w 221"/>
                  <a:gd name="T15" fmla="*/ 1 h 360"/>
                  <a:gd name="T16" fmla="*/ 221 w 221"/>
                  <a:gd name="T17" fmla="*/ 0 h 360"/>
                  <a:gd name="T18" fmla="*/ 221 w 221"/>
                  <a:gd name="T19" fmla="*/ 259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1" h="360">
                    <a:moveTo>
                      <a:pt x="221" y="259"/>
                    </a:moveTo>
                    <a:cubicBezTo>
                      <a:pt x="172" y="302"/>
                      <a:pt x="113" y="326"/>
                      <a:pt x="52" y="345"/>
                    </a:cubicBezTo>
                    <a:cubicBezTo>
                      <a:pt x="39" y="349"/>
                      <a:pt x="26" y="353"/>
                      <a:pt x="13" y="357"/>
                    </a:cubicBezTo>
                    <a:cubicBezTo>
                      <a:pt x="4" y="360"/>
                      <a:pt x="0" y="356"/>
                      <a:pt x="0" y="347"/>
                    </a:cubicBezTo>
                    <a:cubicBezTo>
                      <a:pt x="0" y="344"/>
                      <a:pt x="0" y="341"/>
                      <a:pt x="0" y="338"/>
                    </a:cubicBezTo>
                    <a:cubicBezTo>
                      <a:pt x="0" y="260"/>
                      <a:pt x="0" y="183"/>
                      <a:pt x="0" y="106"/>
                    </a:cubicBezTo>
                    <a:cubicBezTo>
                      <a:pt x="0" y="91"/>
                      <a:pt x="4" y="84"/>
                      <a:pt x="19" y="80"/>
                    </a:cubicBezTo>
                    <a:cubicBezTo>
                      <a:pt x="87" y="62"/>
                      <a:pt x="154" y="39"/>
                      <a:pt x="215" y="1"/>
                    </a:cubicBezTo>
                    <a:cubicBezTo>
                      <a:pt x="217" y="0"/>
                      <a:pt x="219" y="0"/>
                      <a:pt x="221" y="0"/>
                    </a:cubicBezTo>
                    <a:cubicBezTo>
                      <a:pt x="221" y="86"/>
                      <a:pt x="221" y="172"/>
                      <a:pt x="221" y="2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19"/>
              <p:cNvSpPr>
                <a:spLocks/>
              </p:cNvSpPr>
              <p:nvPr/>
            </p:nvSpPr>
            <p:spPr bwMode="auto">
              <a:xfrm>
                <a:off x="5034" y="2235"/>
                <a:ext cx="29" cy="49"/>
              </a:xfrm>
              <a:custGeom>
                <a:avLst/>
                <a:gdLst>
                  <a:gd name="T0" fmla="*/ 221 w 221"/>
                  <a:gd name="T1" fmla="*/ 262 h 362"/>
                  <a:gd name="T2" fmla="*/ 19 w 221"/>
                  <a:gd name="T3" fmla="*/ 357 h 362"/>
                  <a:gd name="T4" fmla="*/ 0 w 221"/>
                  <a:gd name="T5" fmla="*/ 344 h 362"/>
                  <a:gd name="T6" fmla="*/ 0 w 221"/>
                  <a:gd name="T7" fmla="*/ 111 h 362"/>
                  <a:gd name="T8" fmla="*/ 17 w 221"/>
                  <a:gd name="T9" fmla="*/ 87 h 362"/>
                  <a:gd name="T10" fmla="*/ 179 w 221"/>
                  <a:gd name="T11" fmla="*/ 23 h 362"/>
                  <a:gd name="T12" fmla="*/ 221 w 221"/>
                  <a:gd name="T13" fmla="*/ 0 h 362"/>
                  <a:gd name="T14" fmla="*/ 221 w 221"/>
                  <a:gd name="T15" fmla="*/ 2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1" h="362">
                    <a:moveTo>
                      <a:pt x="221" y="262"/>
                    </a:moveTo>
                    <a:cubicBezTo>
                      <a:pt x="162" y="311"/>
                      <a:pt x="91" y="336"/>
                      <a:pt x="19" y="357"/>
                    </a:cubicBezTo>
                    <a:cubicBezTo>
                      <a:pt x="2" y="362"/>
                      <a:pt x="0" y="361"/>
                      <a:pt x="0" y="344"/>
                    </a:cubicBezTo>
                    <a:cubicBezTo>
                      <a:pt x="0" y="266"/>
                      <a:pt x="0" y="188"/>
                      <a:pt x="0" y="111"/>
                    </a:cubicBezTo>
                    <a:cubicBezTo>
                      <a:pt x="0" y="97"/>
                      <a:pt x="5" y="91"/>
                      <a:pt x="17" y="87"/>
                    </a:cubicBezTo>
                    <a:cubicBezTo>
                      <a:pt x="72" y="68"/>
                      <a:pt x="128" y="51"/>
                      <a:pt x="179" y="23"/>
                    </a:cubicBezTo>
                    <a:cubicBezTo>
                      <a:pt x="193" y="16"/>
                      <a:pt x="207" y="8"/>
                      <a:pt x="221" y="0"/>
                    </a:cubicBezTo>
                    <a:cubicBezTo>
                      <a:pt x="221" y="87"/>
                      <a:pt x="221" y="175"/>
                      <a:pt x="221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Freeform 20"/>
              <p:cNvSpPr>
                <a:spLocks/>
              </p:cNvSpPr>
              <p:nvPr/>
            </p:nvSpPr>
            <p:spPr bwMode="auto">
              <a:xfrm>
                <a:off x="5034" y="2279"/>
                <a:ext cx="29" cy="54"/>
              </a:xfrm>
              <a:custGeom>
                <a:avLst/>
                <a:gdLst>
                  <a:gd name="T0" fmla="*/ 216 w 216"/>
                  <a:gd name="T1" fmla="*/ 237 h 402"/>
                  <a:gd name="T2" fmla="*/ 39 w 216"/>
                  <a:gd name="T3" fmla="*/ 388 h 402"/>
                  <a:gd name="T4" fmla="*/ 10 w 216"/>
                  <a:gd name="T5" fmla="*/ 400 h 402"/>
                  <a:gd name="T6" fmla="*/ 4 w 216"/>
                  <a:gd name="T7" fmla="*/ 393 h 402"/>
                  <a:gd name="T8" fmla="*/ 23 w 216"/>
                  <a:gd name="T9" fmla="*/ 269 h 402"/>
                  <a:gd name="T10" fmla="*/ 23 w 216"/>
                  <a:gd name="T11" fmla="*/ 106 h 402"/>
                  <a:gd name="T12" fmla="*/ 33 w 216"/>
                  <a:gd name="T13" fmla="*/ 84 h 402"/>
                  <a:gd name="T14" fmla="*/ 211 w 216"/>
                  <a:gd name="T15" fmla="*/ 1 h 402"/>
                  <a:gd name="T16" fmla="*/ 216 w 216"/>
                  <a:gd name="T17" fmla="*/ 0 h 402"/>
                  <a:gd name="T18" fmla="*/ 216 w 216"/>
                  <a:gd name="T19" fmla="*/ 237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6" h="402">
                    <a:moveTo>
                      <a:pt x="216" y="237"/>
                    </a:moveTo>
                    <a:cubicBezTo>
                      <a:pt x="185" y="320"/>
                      <a:pt x="113" y="355"/>
                      <a:pt x="39" y="388"/>
                    </a:cubicBezTo>
                    <a:cubicBezTo>
                      <a:pt x="30" y="393"/>
                      <a:pt x="20" y="396"/>
                      <a:pt x="10" y="400"/>
                    </a:cubicBezTo>
                    <a:cubicBezTo>
                      <a:pt x="3" y="402"/>
                      <a:pt x="0" y="399"/>
                      <a:pt x="4" y="393"/>
                    </a:cubicBezTo>
                    <a:cubicBezTo>
                      <a:pt x="28" y="354"/>
                      <a:pt x="23" y="311"/>
                      <a:pt x="23" y="269"/>
                    </a:cubicBezTo>
                    <a:cubicBezTo>
                      <a:pt x="23" y="214"/>
                      <a:pt x="23" y="160"/>
                      <a:pt x="23" y="106"/>
                    </a:cubicBezTo>
                    <a:cubicBezTo>
                      <a:pt x="23" y="97"/>
                      <a:pt x="23" y="89"/>
                      <a:pt x="33" y="84"/>
                    </a:cubicBezTo>
                    <a:cubicBezTo>
                      <a:pt x="93" y="57"/>
                      <a:pt x="152" y="29"/>
                      <a:pt x="211" y="1"/>
                    </a:cubicBezTo>
                    <a:cubicBezTo>
                      <a:pt x="213" y="0"/>
                      <a:pt x="214" y="0"/>
                      <a:pt x="216" y="0"/>
                    </a:cubicBezTo>
                    <a:cubicBezTo>
                      <a:pt x="216" y="79"/>
                      <a:pt x="216" y="158"/>
                      <a:pt x="216" y="2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Freeform 21"/>
              <p:cNvSpPr>
                <a:spLocks/>
              </p:cNvSpPr>
              <p:nvPr/>
            </p:nvSpPr>
            <p:spPr bwMode="auto">
              <a:xfrm>
                <a:off x="4843" y="2161"/>
                <a:ext cx="184" cy="63"/>
              </a:xfrm>
              <a:custGeom>
                <a:avLst/>
                <a:gdLst>
                  <a:gd name="T0" fmla="*/ 689 w 1377"/>
                  <a:gd name="T1" fmla="*/ 0 h 468"/>
                  <a:gd name="T2" fmla="*/ 1073 w 1377"/>
                  <a:gd name="T3" fmla="*/ 42 h 468"/>
                  <a:gd name="T4" fmla="*/ 1298 w 1377"/>
                  <a:gd name="T5" fmla="*/ 141 h 468"/>
                  <a:gd name="T6" fmla="*/ 1369 w 1377"/>
                  <a:gd name="T7" fmla="*/ 235 h 468"/>
                  <a:gd name="T8" fmla="*/ 1372 w 1377"/>
                  <a:gd name="T9" fmla="*/ 308 h 468"/>
                  <a:gd name="T10" fmla="*/ 1350 w 1377"/>
                  <a:gd name="T11" fmla="*/ 330 h 468"/>
                  <a:gd name="T12" fmla="*/ 1252 w 1377"/>
                  <a:gd name="T13" fmla="*/ 383 h 468"/>
                  <a:gd name="T14" fmla="*/ 965 w 1377"/>
                  <a:gd name="T15" fmla="*/ 450 h 468"/>
                  <a:gd name="T16" fmla="*/ 703 w 1377"/>
                  <a:gd name="T17" fmla="*/ 468 h 468"/>
                  <a:gd name="T18" fmla="*/ 472 w 1377"/>
                  <a:gd name="T19" fmla="*/ 457 h 468"/>
                  <a:gd name="T20" fmla="*/ 204 w 1377"/>
                  <a:gd name="T21" fmla="*/ 409 h 468"/>
                  <a:gd name="T22" fmla="*/ 30 w 1377"/>
                  <a:gd name="T23" fmla="*/ 333 h 468"/>
                  <a:gd name="T24" fmla="*/ 4 w 1377"/>
                  <a:gd name="T25" fmla="*/ 284 h 468"/>
                  <a:gd name="T26" fmla="*/ 75 w 1377"/>
                  <a:gd name="T27" fmla="*/ 143 h 468"/>
                  <a:gd name="T28" fmla="*/ 304 w 1377"/>
                  <a:gd name="T29" fmla="*/ 42 h 468"/>
                  <a:gd name="T30" fmla="*/ 584 w 1377"/>
                  <a:gd name="T31" fmla="*/ 3 h 468"/>
                  <a:gd name="T32" fmla="*/ 689 w 1377"/>
                  <a:gd name="T33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7" h="468">
                    <a:moveTo>
                      <a:pt x="689" y="0"/>
                    </a:moveTo>
                    <a:cubicBezTo>
                      <a:pt x="819" y="0"/>
                      <a:pt x="947" y="10"/>
                      <a:pt x="1073" y="42"/>
                    </a:cubicBezTo>
                    <a:cubicBezTo>
                      <a:pt x="1153" y="62"/>
                      <a:pt x="1231" y="90"/>
                      <a:pt x="1298" y="141"/>
                    </a:cubicBezTo>
                    <a:cubicBezTo>
                      <a:pt x="1331" y="165"/>
                      <a:pt x="1357" y="195"/>
                      <a:pt x="1369" y="235"/>
                    </a:cubicBezTo>
                    <a:cubicBezTo>
                      <a:pt x="1377" y="259"/>
                      <a:pt x="1373" y="283"/>
                      <a:pt x="1372" y="308"/>
                    </a:cubicBezTo>
                    <a:cubicBezTo>
                      <a:pt x="1371" y="318"/>
                      <a:pt x="1359" y="324"/>
                      <a:pt x="1350" y="330"/>
                    </a:cubicBezTo>
                    <a:cubicBezTo>
                      <a:pt x="1320" y="353"/>
                      <a:pt x="1287" y="369"/>
                      <a:pt x="1252" y="383"/>
                    </a:cubicBezTo>
                    <a:cubicBezTo>
                      <a:pt x="1159" y="418"/>
                      <a:pt x="1063" y="437"/>
                      <a:pt x="965" y="450"/>
                    </a:cubicBezTo>
                    <a:cubicBezTo>
                      <a:pt x="878" y="462"/>
                      <a:pt x="791" y="467"/>
                      <a:pt x="703" y="468"/>
                    </a:cubicBezTo>
                    <a:cubicBezTo>
                      <a:pt x="626" y="468"/>
                      <a:pt x="549" y="465"/>
                      <a:pt x="472" y="457"/>
                    </a:cubicBezTo>
                    <a:cubicBezTo>
                      <a:pt x="381" y="448"/>
                      <a:pt x="292" y="434"/>
                      <a:pt x="204" y="409"/>
                    </a:cubicBezTo>
                    <a:cubicBezTo>
                      <a:pt x="143" y="391"/>
                      <a:pt x="83" y="370"/>
                      <a:pt x="30" y="333"/>
                    </a:cubicBezTo>
                    <a:cubicBezTo>
                      <a:pt x="12" y="321"/>
                      <a:pt x="5" y="307"/>
                      <a:pt x="4" y="284"/>
                    </a:cubicBezTo>
                    <a:cubicBezTo>
                      <a:pt x="0" y="222"/>
                      <a:pt x="30" y="179"/>
                      <a:pt x="75" y="143"/>
                    </a:cubicBezTo>
                    <a:cubicBezTo>
                      <a:pt x="143" y="90"/>
                      <a:pt x="222" y="63"/>
                      <a:pt x="304" y="42"/>
                    </a:cubicBezTo>
                    <a:cubicBezTo>
                      <a:pt x="396" y="19"/>
                      <a:pt x="489" y="7"/>
                      <a:pt x="584" y="3"/>
                    </a:cubicBezTo>
                    <a:cubicBezTo>
                      <a:pt x="619" y="1"/>
                      <a:pt x="654" y="1"/>
                      <a:pt x="68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22"/>
              <p:cNvSpPr>
                <a:spLocks/>
              </p:cNvSpPr>
              <p:nvPr/>
            </p:nvSpPr>
            <p:spPr bwMode="auto">
              <a:xfrm>
                <a:off x="4843" y="2211"/>
                <a:ext cx="184" cy="56"/>
              </a:xfrm>
              <a:custGeom>
                <a:avLst/>
                <a:gdLst>
                  <a:gd name="T0" fmla="*/ 1 w 1370"/>
                  <a:gd name="T1" fmla="*/ 131 h 418"/>
                  <a:gd name="T2" fmla="*/ 1 w 1370"/>
                  <a:gd name="T3" fmla="*/ 15 h 418"/>
                  <a:gd name="T4" fmla="*/ 14 w 1370"/>
                  <a:gd name="T5" fmla="*/ 7 h 418"/>
                  <a:gd name="T6" fmla="*/ 261 w 1370"/>
                  <a:gd name="T7" fmla="*/ 96 h 418"/>
                  <a:gd name="T8" fmla="*/ 523 w 1370"/>
                  <a:gd name="T9" fmla="*/ 133 h 418"/>
                  <a:gd name="T10" fmla="*/ 761 w 1370"/>
                  <a:gd name="T11" fmla="*/ 138 h 418"/>
                  <a:gd name="T12" fmla="*/ 1236 w 1370"/>
                  <a:gd name="T13" fmla="*/ 62 h 418"/>
                  <a:gd name="T14" fmla="*/ 1354 w 1370"/>
                  <a:gd name="T15" fmla="*/ 8 h 418"/>
                  <a:gd name="T16" fmla="*/ 1370 w 1370"/>
                  <a:gd name="T17" fmla="*/ 17 h 418"/>
                  <a:gd name="T18" fmla="*/ 1370 w 1370"/>
                  <a:gd name="T19" fmla="*/ 245 h 418"/>
                  <a:gd name="T20" fmla="*/ 1357 w 1370"/>
                  <a:gd name="T21" fmla="*/ 270 h 418"/>
                  <a:gd name="T22" fmla="*/ 1220 w 1370"/>
                  <a:gd name="T23" fmla="*/ 341 h 418"/>
                  <a:gd name="T24" fmla="*/ 890 w 1370"/>
                  <a:gd name="T25" fmla="*/ 406 h 418"/>
                  <a:gd name="T26" fmla="*/ 610 w 1370"/>
                  <a:gd name="T27" fmla="*/ 415 h 418"/>
                  <a:gd name="T28" fmla="*/ 160 w 1370"/>
                  <a:gd name="T29" fmla="*/ 344 h 418"/>
                  <a:gd name="T30" fmla="*/ 21 w 1370"/>
                  <a:gd name="T31" fmla="*/ 277 h 418"/>
                  <a:gd name="T32" fmla="*/ 1 w 1370"/>
                  <a:gd name="T33" fmla="*/ 237 h 418"/>
                  <a:gd name="T34" fmla="*/ 1 w 1370"/>
                  <a:gd name="T35" fmla="*/ 131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70" h="418">
                    <a:moveTo>
                      <a:pt x="1" y="131"/>
                    </a:moveTo>
                    <a:cubicBezTo>
                      <a:pt x="2" y="92"/>
                      <a:pt x="2" y="54"/>
                      <a:pt x="1" y="15"/>
                    </a:cubicBezTo>
                    <a:cubicBezTo>
                      <a:pt x="1" y="5"/>
                      <a:pt x="4" y="0"/>
                      <a:pt x="14" y="7"/>
                    </a:cubicBezTo>
                    <a:cubicBezTo>
                      <a:pt x="90" y="54"/>
                      <a:pt x="175" y="78"/>
                      <a:pt x="261" y="96"/>
                    </a:cubicBezTo>
                    <a:cubicBezTo>
                      <a:pt x="347" y="115"/>
                      <a:pt x="435" y="126"/>
                      <a:pt x="523" y="133"/>
                    </a:cubicBezTo>
                    <a:cubicBezTo>
                      <a:pt x="603" y="139"/>
                      <a:pt x="682" y="141"/>
                      <a:pt x="761" y="138"/>
                    </a:cubicBezTo>
                    <a:cubicBezTo>
                      <a:pt x="923" y="131"/>
                      <a:pt x="1082" y="113"/>
                      <a:pt x="1236" y="62"/>
                    </a:cubicBezTo>
                    <a:cubicBezTo>
                      <a:pt x="1277" y="48"/>
                      <a:pt x="1317" y="31"/>
                      <a:pt x="1354" y="8"/>
                    </a:cubicBezTo>
                    <a:cubicBezTo>
                      <a:pt x="1367" y="0"/>
                      <a:pt x="1370" y="1"/>
                      <a:pt x="1370" y="17"/>
                    </a:cubicBezTo>
                    <a:cubicBezTo>
                      <a:pt x="1370" y="93"/>
                      <a:pt x="1370" y="169"/>
                      <a:pt x="1370" y="245"/>
                    </a:cubicBezTo>
                    <a:cubicBezTo>
                      <a:pt x="1370" y="256"/>
                      <a:pt x="1366" y="264"/>
                      <a:pt x="1357" y="270"/>
                    </a:cubicBezTo>
                    <a:cubicBezTo>
                      <a:pt x="1316" y="304"/>
                      <a:pt x="1269" y="324"/>
                      <a:pt x="1220" y="341"/>
                    </a:cubicBezTo>
                    <a:cubicBezTo>
                      <a:pt x="1113" y="377"/>
                      <a:pt x="1002" y="396"/>
                      <a:pt x="890" y="406"/>
                    </a:cubicBezTo>
                    <a:cubicBezTo>
                      <a:pt x="797" y="415"/>
                      <a:pt x="704" y="418"/>
                      <a:pt x="610" y="415"/>
                    </a:cubicBezTo>
                    <a:cubicBezTo>
                      <a:pt x="458" y="409"/>
                      <a:pt x="307" y="392"/>
                      <a:pt x="160" y="344"/>
                    </a:cubicBezTo>
                    <a:cubicBezTo>
                      <a:pt x="111" y="328"/>
                      <a:pt x="64" y="308"/>
                      <a:pt x="21" y="277"/>
                    </a:cubicBezTo>
                    <a:cubicBezTo>
                      <a:pt x="7" y="267"/>
                      <a:pt x="0" y="255"/>
                      <a:pt x="1" y="237"/>
                    </a:cubicBezTo>
                    <a:cubicBezTo>
                      <a:pt x="3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23"/>
              <p:cNvSpPr>
                <a:spLocks/>
              </p:cNvSpPr>
              <p:nvPr/>
            </p:nvSpPr>
            <p:spPr bwMode="auto">
              <a:xfrm>
                <a:off x="4843" y="2255"/>
                <a:ext cx="184" cy="56"/>
              </a:xfrm>
              <a:custGeom>
                <a:avLst/>
                <a:gdLst>
                  <a:gd name="T0" fmla="*/ 1 w 1370"/>
                  <a:gd name="T1" fmla="*/ 131 h 419"/>
                  <a:gd name="T2" fmla="*/ 1 w 1370"/>
                  <a:gd name="T3" fmla="*/ 14 h 419"/>
                  <a:gd name="T4" fmla="*/ 14 w 1370"/>
                  <a:gd name="T5" fmla="*/ 7 h 419"/>
                  <a:gd name="T6" fmla="*/ 307 w 1370"/>
                  <a:gd name="T7" fmla="*/ 107 h 419"/>
                  <a:gd name="T8" fmla="*/ 615 w 1370"/>
                  <a:gd name="T9" fmla="*/ 138 h 419"/>
                  <a:gd name="T10" fmla="*/ 1137 w 1370"/>
                  <a:gd name="T11" fmla="*/ 91 h 419"/>
                  <a:gd name="T12" fmla="*/ 1357 w 1370"/>
                  <a:gd name="T13" fmla="*/ 6 h 419"/>
                  <a:gd name="T14" fmla="*/ 1370 w 1370"/>
                  <a:gd name="T15" fmla="*/ 14 h 419"/>
                  <a:gd name="T16" fmla="*/ 1370 w 1370"/>
                  <a:gd name="T17" fmla="*/ 248 h 419"/>
                  <a:gd name="T18" fmla="*/ 1355 w 1370"/>
                  <a:gd name="T19" fmla="*/ 272 h 419"/>
                  <a:gd name="T20" fmla="*/ 1238 w 1370"/>
                  <a:gd name="T21" fmla="*/ 334 h 419"/>
                  <a:gd name="T22" fmla="*/ 943 w 1370"/>
                  <a:gd name="T23" fmla="*/ 401 h 419"/>
                  <a:gd name="T24" fmla="*/ 637 w 1370"/>
                  <a:gd name="T25" fmla="*/ 416 h 419"/>
                  <a:gd name="T26" fmla="*/ 167 w 1370"/>
                  <a:gd name="T27" fmla="*/ 347 h 419"/>
                  <a:gd name="T28" fmla="*/ 21 w 1370"/>
                  <a:gd name="T29" fmla="*/ 277 h 419"/>
                  <a:gd name="T30" fmla="*/ 1 w 1370"/>
                  <a:gd name="T31" fmla="*/ 238 h 419"/>
                  <a:gd name="T32" fmla="*/ 1 w 1370"/>
                  <a:gd name="T33" fmla="*/ 131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0" h="419">
                    <a:moveTo>
                      <a:pt x="1" y="131"/>
                    </a:moveTo>
                    <a:cubicBezTo>
                      <a:pt x="1" y="92"/>
                      <a:pt x="2" y="53"/>
                      <a:pt x="1" y="14"/>
                    </a:cubicBezTo>
                    <a:cubicBezTo>
                      <a:pt x="1" y="3"/>
                      <a:pt x="4" y="1"/>
                      <a:pt x="14" y="7"/>
                    </a:cubicBezTo>
                    <a:cubicBezTo>
                      <a:pt x="104" y="62"/>
                      <a:pt x="205" y="88"/>
                      <a:pt x="307" y="107"/>
                    </a:cubicBezTo>
                    <a:cubicBezTo>
                      <a:pt x="409" y="127"/>
                      <a:pt x="512" y="135"/>
                      <a:pt x="615" y="138"/>
                    </a:cubicBezTo>
                    <a:cubicBezTo>
                      <a:pt x="791" y="143"/>
                      <a:pt x="966" y="133"/>
                      <a:pt x="1137" y="91"/>
                    </a:cubicBezTo>
                    <a:cubicBezTo>
                      <a:pt x="1214" y="73"/>
                      <a:pt x="1289" y="49"/>
                      <a:pt x="1357" y="6"/>
                    </a:cubicBezTo>
                    <a:cubicBezTo>
                      <a:pt x="1367" y="0"/>
                      <a:pt x="1370" y="4"/>
                      <a:pt x="1370" y="14"/>
                    </a:cubicBezTo>
                    <a:cubicBezTo>
                      <a:pt x="1370" y="92"/>
                      <a:pt x="1370" y="170"/>
                      <a:pt x="1370" y="248"/>
                    </a:cubicBezTo>
                    <a:cubicBezTo>
                      <a:pt x="1370" y="260"/>
                      <a:pt x="1363" y="266"/>
                      <a:pt x="1355" y="272"/>
                    </a:cubicBezTo>
                    <a:cubicBezTo>
                      <a:pt x="1320" y="301"/>
                      <a:pt x="1280" y="319"/>
                      <a:pt x="1238" y="334"/>
                    </a:cubicBezTo>
                    <a:cubicBezTo>
                      <a:pt x="1143" y="370"/>
                      <a:pt x="1044" y="389"/>
                      <a:pt x="943" y="401"/>
                    </a:cubicBezTo>
                    <a:cubicBezTo>
                      <a:pt x="841" y="413"/>
                      <a:pt x="739" y="419"/>
                      <a:pt x="637" y="416"/>
                    </a:cubicBezTo>
                    <a:cubicBezTo>
                      <a:pt x="477" y="411"/>
                      <a:pt x="320" y="395"/>
                      <a:pt x="167" y="347"/>
                    </a:cubicBezTo>
                    <a:cubicBezTo>
                      <a:pt x="115" y="330"/>
                      <a:pt x="65" y="310"/>
                      <a:pt x="21" y="277"/>
                    </a:cubicBezTo>
                    <a:cubicBezTo>
                      <a:pt x="7" y="267"/>
                      <a:pt x="0" y="256"/>
                      <a:pt x="1" y="238"/>
                    </a:cubicBezTo>
                    <a:cubicBezTo>
                      <a:pt x="2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28" name="Рисунок 27"/>
            <p:cNvPicPr>
              <a:picLocks noChangeAspect="1"/>
            </p:cNvPicPr>
            <p:nvPr userDrawn="1"/>
          </p:nvPicPr>
          <p:blipFill>
            <a:blip r:embed="rId6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964" y="255927"/>
              <a:ext cx="132047" cy="120941"/>
            </a:xfrm>
            <a:prstGeom prst="rect">
              <a:avLst/>
            </a:prstGeom>
          </p:spPr>
        </p:pic>
        <p:sp>
          <p:nvSpPr>
            <p:cNvPr id="29" name="Freeform 413"/>
            <p:cNvSpPr>
              <a:spLocks noEditPoints="1"/>
            </p:cNvSpPr>
            <p:nvPr userDrawn="1"/>
          </p:nvSpPr>
          <p:spPr bwMode="auto">
            <a:xfrm>
              <a:off x="467432" y="411832"/>
              <a:ext cx="136834" cy="109909"/>
            </a:xfrm>
            <a:custGeom>
              <a:avLst/>
              <a:gdLst/>
              <a:ahLst/>
              <a:cxnLst>
                <a:cxn ang="0">
                  <a:pos x="235" y="365"/>
                </a:cxn>
                <a:cxn ang="0">
                  <a:pos x="246" y="344"/>
                </a:cxn>
                <a:cxn ang="0">
                  <a:pos x="226" y="329"/>
                </a:cxn>
                <a:cxn ang="0">
                  <a:pos x="217" y="320"/>
                </a:cxn>
                <a:cxn ang="0">
                  <a:pos x="206" y="328"/>
                </a:cxn>
                <a:cxn ang="0">
                  <a:pos x="142" y="348"/>
                </a:cxn>
                <a:cxn ang="0">
                  <a:pos x="31" y="237"/>
                </a:cxn>
                <a:cxn ang="0">
                  <a:pos x="106" y="133"/>
                </a:cxn>
                <a:cxn ang="0">
                  <a:pos x="106" y="132"/>
                </a:cxn>
                <a:cxn ang="0">
                  <a:pos x="144" y="127"/>
                </a:cxn>
                <a:cxn ang="0">
                  <a:pos x="201" y="141"/>
                </a:cxn>
                <a:cxn ang="0">
                  <a:pos x="132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6" y="104"/>
                </a:cxn>
                <a:cxn ang="0">
                  <a:pos x="49" y="130"/>
                </a:cxn>
                <a:cxn ang="0">
                  <a:pos x="49" y="129"/>
                </a:cxn>
                <a:cxn ang="0">
                  <a:pos x="0" y="237"/>
                </a:cxn>
                <a:cxn ang="0">
                  <a:pos x="142" y="380"/>
                </a:cxn>
                <a:cxn ang="0">
                  <a:pos x="214" y="360"/>
                </a:cxn>
                <a:cxn ang="0">
                  <a:pos x="231" y="371"/>
                </a:cxn>
                <a:cxn ang="0">
                  <a:pos x="235" y="365"/>
                </a:cxn>
                <a:cxn ang="0">
                  <a:pos x="453" y="183"/>
                </a:cxn>
                <a:cxn ang="0">
                  <a:pos x="454" y="175"/>
                </a:cxn>
                <a:cxn ang="0">
                  <a:pos x="348" y="70"/>
                </a:cxn>
                <a:cxn ang="0">
                  <a:pos x="327" y="72"/>
                </a:cxn>
                <a:cxn ang="0">
                  <a:pos x="212" y="0"/>
                </a:cxn>
                <a:cxn ang="0">
                  <a:pos x="90" y="89"/>
                </a:cxn>
                <a:cxn ang="0">
                  <a:pos x="125" y="86"/>
                </a:cxn>
                <a:cxn ang="0">
                  <a:pos x="212" y="32"/>
                </a:cxn>
                <a:cxn ang="0">
                  <a:pos x="302" y="96"/>
                </a:cxn>
                <a:cxn ang="0">
                  <a:pos x="308" y="112"/>
                </a:cxn>
                <a:cxn ang="0">
                  <a:pos x="323" y="106"/>
                </a:cxn>
                <a:cxn ang="0">
                  <a:pos x="348" y="101"/>
                </a:cxn>
                <a:cxn ang="0">
                  <a:pos x="422" y="175"/>
                </a:cxn>
                <a:cxn ang="0">
                  <a:pos x="420" y="192"/>
                </a:cxn>
                <a:cxn ang="0">
                  <a:pos x="416" y="209"/>
                </a:cxn>
                <a:cxn ang="0">
                  <a:pos x="434" y="211"/>
                </a:cxn>
                <a:cxn ang="0">
                  <a:pos x="492" y="275"/>
                </a:cxn>
                <a:cxn ang="0">
                  <a:pos x="428" y="338"/>
                </a:cxn>
                <a:cxn ang="0">
                  <a:pos x="394" y="329"/>
                </a:cxn>
                <a:cxn ang="0">
                  <a:pos x="384" y="322"/>
                </a:cxn>
                <a:cxn ang="0">
                  <a:pos x="375" y="330"/>
                </a:cxn>
                <a:cxn ang="0">
                  <a:pos x="358" y="343"/>
                </a:cxn>
                <a:cxn ang="0">
                  <a:pos x="352" y="359"/>
                </a:cxn>
                <a:cxn ang="0">
                  <a:pos x="342" y="384"/>
                </a:cxn>
                <a:cxn ang="0">
                  <a:pos x="387" y="361"/>
                </a:cxn>
                <a:cxn ang="0">
                  <a:pos x="428" y="370"/>
                </a:cxn>
                <a:cxn ang="0">
                  <a:pos x="523" y="275"/>
                </a:cxn>
                <a:cxn ang="0">
                  <a:pos x="453" y="183"/>
                </a:cxn>
                <a:cxn ang="0">
                  <a:pos x="383" y="292"/>
                </a:cxn>
                <a:cxn ang="0">
                  <a:pos x="313" y="171"/>
                </a:cxn>
                <a:cxn ang="0">
                  <a:pos x="244" y="292"/>
                </a:cxn>
                <a:cxn ang="0">
                  <a:pos x="282" y="292"/>
                </a:cxn>
                <a:cxn ang="0">
                  <a:pos x="220" y="420"/>
                </a:cxn>
                <a:cxn ang="0">
                  <a:pos x="297" y="420"/>
                </a:cxn>
                <a:cxn ang="0">
                  <a:pos x="343" y="292"/>
                </a:cxn>
                <a:cxn ang="0">
                  <a:pos x="383" y="292"/>
                </a:cxn>
              </a:cxnLst>
              <a:rect l="0" t="0" r="r" b="b"/>
              <a:pathLst>
                <a:path w="523" h="420">
                  <a:moveTo>
                    <a:pt x="235" y="365"/>
                  </a:moveTo>
                  <a:cubicBezTo>
                    <a:pt x="239" y="358"/>
                    <a:pt x="243" y="351"/>
                    <a:pt x="246" y="344"/>
                  </a:cubicBezTo>
                  <a:cubicBezTo>
                    <a:pt x="239" y="340"/>
                    <a:pt x="232" y="335"/>
                    <a:pt x="226" y="329"/>
                  </a:cubicBezTo>
                  <a:cubicBezTo>
                    <a:pt x="217" y="320"/>
                    <a:pt x="217" y="320"/>
                    <a:pt x="217" y="320"/>
                  </a:cubicBezTo>
                  <a:cubicBezTo>
                    <a:pt x="206" y="328"/>
                    <a:pt x="206" y="328"/>
                    <a:pt x="206" y="328"/>
                  </a:cubicBezTo>
                  <a:cubicBezTo>
                    <a:pt x="187" y="341"/>
                    <a:pt x="165" y="348"/>
                    <a:pt x="142" y="348"/>
                  </a:cubicBezTo>
                  <a:cubicBezTo>
                    <a:pt x="81" y="348"/>
                    <a:pt x="31" y="299"/>
                    <a:pt x="31" y="237"/>
                  </a:cubicBezTo>
                  <a:cubicBezTo>
                    <a:pt x="31" y="190"/>
                    <a:pt x="61" y="148"/>
                    <a:pt x="106" y="133"/>
                  </a:cubicBezTo>
                  <a:cubicBezTo>
                    <a:pt x="106" y="132"/>
                    <a:pt x="106" y="132"/>
                    <a:pt x="106" y="132"/>
                  </a:cubicBezTo>
                  <a:cubicBezTo>
                    <a:pt x="117" y="129"/>
                    <a:pt x="129" y="127"/>
                    <a:pt x="144" y="127"/>
                  </a:cubicBezTo>
                  <a:cubicBezTo>
                    <a:pt x="167" y="127"/>
                    <a:pt x="187" y="132"/>
                    <a:pt x="201" y="141"/>
                  </a:cubicBezTo>
                  <a:cubicBezTo>
                    <a:pt x="208" y="131"/>
                    <a:pt x="195" y="103"/>
                    <a:pt x="132" y="103"/>
                  </a:cubicBezTo>
                  <a:cubicBezTo>
                    <a:pt x="127" y="103"/>
                    <a:pt x="123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8" y="103"/>
                    <a:pt x="117" y="104"/>
                    <a:pt x="116" y="104"/>
                  </a:cubicBezTo>
                  <a:cubicBezTo>
                    <a:pt x="77" y="107"/>
                    <a:pt x="49" y="130"/>
                    <a:pt x="49" y="130"/>
                  </a:cubicBezTo>
                  <a:cubicBezTo>
                    <a:pt x="49" y="129"/>
                    <a:pt x="49" y="129"/>
                    <a:pt x="49" y="129"/>
                  </a:cubicBezTo>
                  <a:cubicBezTo>
                    <a:pt x="18" y="156"/>
                    <a:pt x="0" y="195"/>
                    <a:pt x="0" y="237"/>
                  </a:cubicBezTo>
                  <a:cubicBezTo>
                    <a:pt x="0" y="316"/>
                    <a:pt x="63" y="380"/>
                    <a:pt x="142" y="380"/>
                  </a:cubicBezTo>
                  <a:cubicBezTo>
                    <a:pt x="168" y="380"/>
                    <a:pt x="192" y="373"/>
                    <a:pt x="214" y="360"/>
                  </a:cubicBezTo>
                  <a:cubicBezTo>
                    <a:pt x="220" y="364"/>
                    <a:pt x="225" y="368"/>
                    <a:pt x="231" y="371"/>
                  </a:cubicBezTo>
                  <a:lnTo>
                    <a:pt x="235" y="365"/>
                  </a:lnTo>
                  <a:close/>
                  <a:moveTo>
                    <a:pt x="453" y="183"/>
                  </a:moveTo>
                  <a:cubicBezTo>
                    <a:pt x="454" y="180"/>
                    <a:pt x="454" y="178"/>
                    <a:pt x="454" y="175"/>
                  </a:cubicBezTo>
                  <a:cubicBezTo>
                    <a:pt x="454" y="117"/>
                    <a:pt x="407" y="70"/>
                    <a:pt x="348" y="70"/>
                  </a:cubicBezTo>
                  <a:cubicBezTo>
                    <a:pt x="341" y="70"/>
                    <a:pt x="334" y="71"/>
                    <a:pt x="327" y="72"/>
                  </a:cubicBezTo>
                  <a:cubicBezTo>
                    <a:pt x="305" y="29"/>
                    <a:pt x="261" y="0"/>
                    <a:pt x="212" y="0"/>
                  </a:cubicBezTo>
                  <a:cubicBezTo>
                    <a:pt x="155" y="0"/>
                    <a:pt x="106" y="37"/>
                    <a:pt x="90" y="89"/>
                  </a:cubicBezTo>
                  <a:cubicBezTo>
                    <a:pt x="103" y="86"/>
                    <a:pt x="116" y="85"/>
                    <a:pt x="125" y="86"/>
                  </a:cubicBezTo>
                  <a:cubicBezTo>
                    <a:pt x="141" y="53"/>
                    <a:pt x="174" y="32"/>
                    <a:pt x="212" y="32"/>
                  </a:cubicBezTo>
                  <a:cubicBezTo>
                    <a:pt x="253" y="32"/>
                    <a:pt x="289" y="58"/>
                    <a:pt x="302" y="96"/>
                  </a:cubicBezTo>
                  <a:cubicBezTo>
                    <a:pt x="308" y="112"/>
                    <a:pt x="308" y="112"/>
                    <a:pt x="308" y="112"/>
                  </a:cubicBezTo>
                  <a:cubicBezTo>
                    <a:pt x="323" y="106"/>
                    <a:pt x="323" y="106"/>
                    <a:pt x="323" y="106"/>
                  </a:cubicBezTo>
                  <a:cubicBezTo>
                    <a:pt x="331" y="103"/>
                    <a:pt x="340" y="101"/>
                    <a:pt x="348" y="101"/>
                  </a:cubicBezTo>
                  <a:cubicBezTo>
                    <a:pt x="389" y="101"/>
                    <a:pt x="422" y="135"/>
                    <a:pt x="422" y="175"/>
                  </a:cubicBezTo>
                  <a:cubicBezTo>
                    <a:pt x="422" y="181"/>
                    <a:pt x="421" y="186"/>
                    <a:pt x="420" y="192"/>
                  </a:cubicBezTo>
                  <a:cubicBezTo>
                    <a:pt x="416" y="209"/>
                    <a:pt x="416" y="209"/>
                    <a:pt x="416" y="209"/>
                  </a:cubicBezTo>
                  <a:cubicBezTo>
                    <a:pt x="434" y="211"/>
                    <a:pt x="434" y="211"/>
                    <a:pt x="434" y="211"/>
                  </a:cubicBezTo>
                  <a:cubicBezTo>
                    <a:pt x="467" y="214"/>
                    <a:pt x="492" y="242"/>
                    <a:pt x="492" y="275"/>
                  </a:cubicBezTo>
                  <a:cubicBezTo>
                    <a:pt x="492" y="310"/>
                    <a:pt x="463" y="338"/>
                    <a:pt x="428" y="338"/>
                  </a:cubicBezTo>
                  <a:cubicBezTo>
                    <a:pt x="416" y="338"/>
                    <a:pt x="404" y="335"/>
                    <a:pt x="394" y="329"/>
                  </a:cubicBezTo>
                  <a:cubicBezTo>
                    <a:pt x="384" y="322"/>
                    <a:pt x="384" y="322"/>
                    <a:pt x="384" y="322"/>
                  </a:cubicBezTo>
                  <a:cubicBezTo>
                    <a:pt x="375" y="330"/>
                    <a:pt x="375" y="330"/>
                    <a:pt x="375" y="330"/>
                  </a:cubicBezTo>
                  <a:cubicBezTo>
                    <a:pt x="370" y="335"/>
                    <a:pt x="364" y="339"/>
                    <a:pt x="358" y="343"/>
                  </a:cubicBezTo>
                  <a:cubicBezTo>
                    <a:pt x="356" y="348"/>
                    <a:pt x="354" y="354"/>
                    <a:pt x="352" y="359"/>
                  </a:cubicBezTo>
                  <a:cubicBezTo>
                    <a:pt x="349" y="367"/>
                    <a:pt x="346" y="376"/>
                    <a:pt x="342" y="384"/>
                  </a:cubicBezTo>
                  <a:cubicBezTo>
                    <a:pt x="358" y="379"/>
                    <a:pt x="374" y="371"/>
                    <a:pt x="387" y="361"/>
                  </a:cubicBezTo>
                  <a:cubicBezTo>
                    <a:pt x="400" y="367"/>
                    <a:pt x="414" y="370"/>
                    <a:pt x="428" y="370"/>
                  </a:cubicBezTo>
                  <a:cubicBezTo>
                    <a:pt x="481" y="370"/>
                    <a:pt x="523" y="327"/>
                    <a:pt x="523" y="275"/>
                  </a:cubicBezTo>
                  <a:cubicBezTo>
                    <a:pt x="523" y="231"/>
                    <a:pt x="494" y="194"/>
                    <a:pt x="453" y="183"/>
                  </a:cubicBezTo>
                  <a:close/>
                  <a:moveTo>
                    <a:pt x="383" y="292"/>
                  </a:moveTo>
                  <a:cubicBezTo>
                    <a:pt x="313" y="171"/>
                    <a:pt x="313" y="171"/>
                    <a:pt x="313" y="171"/>
                  </a:cubicBezTo>
                  <a:cubicBezTo>
                    <a:pt x="244" y="292"/>
                    <a:pt x="244" y="292"/>
                    <a:pt x="244" y="292"/>
                  </a:cubicBezTo>
                  <a:cubicBezTo>
                    <a:pt x="282" y="292"/>
                    <a:pt x="282" y="292"/>
                    <a:pt x="282" y="292"/>
                  </a:cubicBezTo>
                  <a:cubicBezTo>
                    <a:pt x="274" y="341"/>
                    <a:pt x="252" y="385"/>
                    <a:pt x="220" y="420"/>
                  </a:cubicBezTo>
                  <a:cubicBezTo>
                    <a:pt x="297" y="420"/>
                    <a:pt x="297" y="420"/>
                    <a:pt x="297" y="420"/>
                  </a:cubicBezTo>
                  <a:cubicBezTo>
                    <a:pt x="321" y="382"/>
                    <a:pt x="338" y="338"/>
                    <a:pt x="343" y="292"/>
                  </a:cubicBezTo>
                  <a:lnTo>
                    <a:pt x="383" y="292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</p:grpSp>
      <p:sp>
        <p:nvSpPr>
          <p:cNvPr id="64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11790055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5692672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066147C5-186D-4E4C-9242-8148410B3D18}"/>
              </a:ext>
            </a:extLst>
          </p:cNvPr>
          <p:cNvSpPr/>
          <p:nvPr userDrawn="1"/>
        </p:nvSpPr>
        <p:spPr>
          <a:xfrm>
            <a:off x="0" y="-18878"/>
            <a:ext cx="12192000" cy="6876879"/>
          </a:xfrm>
          <a:prstGeom prst="rect">
            <a:avLst/>
          </a:prstGeom>
          <a:gradFill flip="none" rotWithShape="1">
            <a:gsLst>
              <a:gs pos="18000">
                <a:schemeClr val="accent6">
                  <a:lumMod val="67000"/>
                </a:schemeClr>
              </a:gs>
              <a:gs pos="100000">
                <a:schemeClr val="accent6"/>
              </a:gs>
            </a:gsLst>
            <a:lin ang="162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5FCFC23A-FBBD-1442-BC6B-7AACBBDF17DB}"/>
              </a:ext>
            </a:extLst>
          </p:cNvPr>
          <p:cNvGrpSpPr/>
          <p:nvPr userDrawn="1"/>
        </p:nvGrpSpPr>
        <p:grpSpPr>
          <a:xfrm>
            <a:off x="0" y="-18879"/>
            <a:ext cx="12192000" cy="675904"/>
            <a:chOff x="0" y="4267200"/>
            <a:chExt cx="12192000" cy="675904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A96D3F2C-5F04-B84F-B9D5-D61433C77E05}"/>
                </a:ext>
              </a:extLst>
            </p:cNvPr>
            <p:cNvSpPr/>
            <p:nvPr userDrawn="1"/>
          </p:nvSpPr>
          <p:spPr>
            <a:xfrm>
              <a:off x="122213" y="4435305"/>
              <a:ext cx="11951853" cy="4294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dist="88900" dir="5400000" sx="97000" sy="97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xmlns="" id="{4BCEF6D8-1372-DA4D-AAD1-0712D4C4C8D4}"/>
                </a:ext>
              </a:extLst>
            </p:cNvPr>
            <p:cNvSpPr/>
            <p:nvPr userDrawn="1"/>
          </p:nvSpPr>
          <p:spPr>
            <a:xfrm>
              <a:off x="0" y="4267200"/>
              <a:ext cx="12192000" cy="675904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3E5CDD5-3156-47A9-A019-94E8642F4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7" y="162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09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F3E5CDD5-3156-47A9-A019-94E8642F4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62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"/>
          <p:cNvSpPr>
            <a:spLocks noGrp="1"/>
          </p:cNvSpPr>
          <p:nvPr>
            <p:ph type="title" hasCustomPrompt="1"/>
          </p:nvPr>
        </p:nvSpPr>
        <p:spPr>
          <a:xfrm>
            <a:off x="1602515" y="177110"/>
            <a:ext cx="9905376" cy="30780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000" kern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45780014-60AD-4D4C-B6BB-A0DF121B2FEB}"/>
              </a:ext>
            </a:extLst>
          </p:cNvPr>
          <p:cNvSpPr>
            <a:spLocks/>
          </p:cNvSpPr>
          <p:nvPr userDrawn="1"/>
        </p:nvSpPr>
        <p:spPr bwMode="auto">
          <a:xfrm>
            <a:off x="11662261" y="161564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102572" tIns="102572" rIns="102572" bIns="102572" rtlCol="0" anchor="ctr"/>
          <a:lstStyle/>
          <a:p>
            <a:pPr marL="0" marR="0" lvl="0" indent="0" algn="ctr" defTabSz="121866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>
              <a:ln>
                <a:noFill/>
              </a:ln>
              <a:solidFill>
                <a:srgbClr val="787E7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Oval 5">
            <a:extLst>
              <a:ext uri="{FF2B5EF4-FFF2-40B4-BE49-F238E27FC236}">
                <a16:creationId xmlns:a16="http://schemas.microsoft.com/office/drawing/2014/main" xmlns="" id="{3DF6420D-E176-5C42-ABBA-A6D11E2EA40A}"/>
              </a:ext>
            </a:extLst>
          </p:cNvPr>
          <p:cNvSpPr/>
          <p:nvPr userDrawn="1"/>
        </p:nvSpPr>
        <p:spPr>
          <a:xfrm>
            <a:off x="1050131" y="97274"/>
            <a:ext cx="449004" cy="439023"/>
          </a:xfrm>
          <a:prstGeom prst="ellipse">
            <a:avLst/>
          </a:prstGeom>
          <a:solidFill>
            <a:schemeClr val="accent6"/>
          </a:solidFill>
          <a:ln w="12700" cap="flat" cmpd="sng" algn="ctr">
            <a:noFill/>
            <a:prstDash val="solid"/>
          </a:ln>
          <a:effectLst/>
        </p:spPr>
        <p:txBody>
          <a:bodyPr lIns="96747" tIns="48373" rIns="96747" bIns="48373" rtlCol="0" anchor="ctr"/>
          <a:lstStyle/>
          <a:p>
            <a:pPr algn="ctr" defTabSz="967502">
              <a:defRPr/>
            </a:pPr>
            <a:endParaRPr lang="en-US" sz="1481" kern="0" dirty="0" err="1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32" name="Рисунок 3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052" y="69057"/>
            <a:ext cx="543387" cy="497681"/>
          </a:xfrm>
          <a:prstGeom prst="rect">
            <a:avLst/>
          </a:prstGeom>
        </p:spPr>
      </p:pic>
      <p:grpSp>
        <p:nvGrpSpPr>
          <p:cNvPr id="18" name="Группа 17"/>
          <p:cNvGrpSpPr/>
          <p:nvPr userDrawn="1"/>
        </p:nvGrpSpPr>
        <p:grpSpPr>
          <a:xfrm>
            <a:off x="146651" y="90377"/>
            <a:ext cx="802256" cy="446347"/>
            <a:chOff x="146650" y="90376"/>
            <a:chExt cx="802256" cy="446347"/>
          </a:xfrm>
        </p:grpSpPr>
        <p:grpSp>
          <p:nvGrpSpPr>
            <p:cNvPr id="19" name="Группа 18"/>
            <p:cNvGrpSpPr/>
            <p:nvPr userDrawn="1"/>
          </p:nvGrpSpPr>
          <p:grpSpPr>
            <a:xfrm>
              <a:off x="146650" y="90376"/>
              <a:ext cx="802256" cy="446347"/>
              <a:chOff x="3215754" y="3239215"/>
              <a:chExt cx="5277696" cy="2936328"/>
            </a:xfrm>
            <a:solidFill>
              <a:schemeClr val="accent6"/>
            </a:solidFill>
          </p:grpSpPr>
          <p:sp>
            <p:nvSpPr>
              <p:cNvPr id="63" name="Round Diagonal Corner Rectangle 73"/>
              <p:cNvSpPr/>
              <p:nvPr/>
            </p:nvSpPr>
            <p:spPr>
              <a:xfrm rot="16200000" flipV="1">
                <a:off x="4045695" y="2409275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64" name="Round Diagonal Corner Rectangle 73"/>
              <p:cNvSpPr/>
              <p:nvPr/>
            </p:nvSpPr>
            <p:spPr>
              <a:xfrm rot="16200000" flipV="1">
                <a:off x="6763017" y="2409276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65" name="Round Diagonal Corner Rectangle 73"/>
              <p:cNvSpPr/>
              <p:nvPr/>
            </p:nvSpPr>
            <p:spPr>
              <a:xfrm rot="16200000" flipV="1">
                <a:off x="4045695" y="3427192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4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66" name="Round Diagonal Corner Rectangle 73"/>
              <p:cNvSpPr/>
              <p:nvPr/>
            </p:nvSpPr>
            <p:spPr>
              <a:xfrm rot="16200000" flipV="1">
                <a:off x="6763017" y="3427193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67" name="Round Diagonal Corner Rectangle 73"/>
              <p:cNvSpPr/>
              <p:nvPr/>
            </p:nvSpPr>
            <p:spPr>
              <a:xfrm rot="16200000" flipV="1">
                <a:off x="5404355" y="3086448"/>
                <a:ext cx="900494" cy="527769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</p:grpSp>
        <p:grpSp>
          <p:nvGrpSpPr>
            <p:cNvPr id="20" name="Group 2"/>
            <p:cNvGrpSpPr/>
            <p:nvPr userDrawn="1"/>
          </p:nvGrpSpPr>
          <p:grpSpPr>
            <a:xfrm>
              <a:off x="298733" y="103728"/>
              <a:ext cx="90401" cy="105401"/>
              <a:chOff x="6670675" y="3513137"/>
              <a:chExt cx="1071561" cy="1249363"/>
            </a:xfrm>
            <a:solidFill>
              <a:schemeClr val="accent6">
                <a:lumMod val="60000"/>
                <a:lumOff val="40000"/>
              </a:schemeClr>
            </a:solidFill>
          </p:grpSpPr>
          <p:grpSp>
            <p:nvGrpSpPr>
              <p:cNvPr id="58" name="Group 115"/>
              <p:cNvGrpSpPr/>
              <p:nvPr/>
            </p:nvGrpSpPr>
            <p:grpSpPr>
              <a:xfrm>
                <a:off x="6670675" y="3513137"/>
                <a:ext cx="700087" cy="1249363"/>
                <a:chOff x="-2524125" y="-798513"/>
                <a:chExt cx="700087" cy="1249363"/>
              </a:xfrm>
              <a:grpFill/>
            </p:grpSpPr>
            <p:sp>
              <p:nvSpPr>
                <p:cNvPr id="60" name="Oval 273"/>
                <p:cNvSpPr>
                  <a:spLocks noChangeArrowheads="1"/>
                </p:cNvSpPr>
                <p:nvPr/>
              </p:nvSpPr>
              <p:spPr bwMode="auto">
                <a:xfrm>
                  <a:off x="-2268538" y="-798513"/>
                  <a:ext cx="200025" cy="23812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61" name="Freeform 274"/>
                <p:cNvSpPr>
                  <a:spLocks noEditPoints="1"/>
                </p:cNvSpPr>
                <p:nvPr/>
              </p:nvSpPr>
              <p:spPr bwMode="auto">
                <a:xfrm>
                  <a:off x="-2524125" y="-536575"/>
                  <a:ext cx="700087" cy="987425"/>
                </a:xfrm>
                <a:custGeom>
                  <a:avLst/>
                  <a:gdLst/>
                  <a:ahLst/>
                  <a:cxnLst>
                    <a:cxn ang="0">
                      <a:pos x="123" y="27"/>
                    </a:cxn>
                    <a:cxn ang="0">
                      <a:pos x="122" y="26"/>
                    </a:cxn>
                    <a:cxn ang="0">
                      <a:pos x="116" y="22"/>
                    </a:cxn>
                    <a:cxn ang="0">
                      <a:pos x="91" y="3"/>
                    </a:cxn>
                    <a:cxn ang="0">
                      <a:pos x="85" y="1"/>
                    </a:cxn>
                    <a:cxn ang="0">
                      <a:pos x="77" y="1"/>
                    </a:cxn>
                    <a:cxn ang="0">
                      <a:pos x="75" y="11"/>
                    </a:cxn>
                    <a:cxn ang="0">
                      <a:pos x="68" y="43"/>
                    </a:cxn>
                    <a:cxn ang="0">
                      <a:pos x="68" y="7"/>
                    </a:cxn>
                    <a:cxn ang="0">
                      <a:pos x="59" y="0"/>
                    </a:cxn>
                    <a:cxn ang="0">
                      <a:pos x="59" y="9"/>
                    </a:cxn>
                    <a:cxn ang="0">
                      <a:pos x="46" y="18"/>
                    </a:cxn>
                    <a:cxn ang="0">
                      <a:pos x="41" y="7"/>
                    </a:cxn>
                    <a:cxn ang="0">
                      <a:pos x="48" y="0"/>
                    </a:cxn>
                    <a:cxn ang="0">
                      <a:pos x="39" y="1"/>
                    </a:cxn>
                    <a:cxn ang="0">
                      <a:pos x="3" y="36"/>
                    </a:cxn>
                    <a:cxn ang="0">
                      <a:pos x="3" y="36"/>
                    </a:cxn>
                    <a:cxn ang="0">
                      <a:pos x="1" y="49"/>
                    </a:cxn>
                    <a:cxn ang="0">
                      <a:pos x="1" y="49"/>
                    </a:cxn>
                    <a:cxn ang="0">
                      <a:pos x="2" y="51"/>
                    </a:cxn>
                    <a:cxn ang="0">
                      <a:pos x="6" y="58"/>
                    </a:cxn>
                    <a:cxn ang="0">
                      <a:pos x="20" y="86"/>
                    </a:cxn>
                    <a:cxn ang="0">
                      <a:pos x="33" y="91"/>
                    </a:cxn>
                    <a:cxn ang="0">
                      <a:pos x="35" y="92"/>
                    </a:cxn>
                    <a:cxn ang="0">
                      <a:pos x="61" y="174"/>
                    </a:cxn>
                    <a:cxn ang="0">
                      <a:pos x="57" y="112"/>
                    </a:cxn>
                    <a:cxn ang="0">
                      <a:pos x="91" y="34"/>
                    </a:cxn>
                    <a:cxn ang="0">
                      <a:pos x="95" y="32"/>
                    </a:cxn>
                    <a:cxn ang="0">
                      <a:pos x="77" y="46"/>
                    </a:cxn>
                    <a:cxn ang="0">
                      <a:pos x="91" y="34"/>
                    </a:cxn>
                    <a:cxn ang="0">
                      <a:pos x="31" y="56"/>
                    </a:cxn>
                    <a:cxn ang="0">
                      <a:pos x="24" y="44"/>
                    </a:cxn>
                    <a:cxn ang="0">
                      <a:pos x="34" y="61"/>
                    </a:cxn>
                  </a:cxnLst>
                  <a:rect l="0" t="0" r="r" b="b"/>
                  <a:pathLst>
                    <a:path w="123" h="174">
                      <a:moveTo>
                        <a:pt x="122" y="42"/>
                      </a:moveTo>
                      <a:cubicBezTo>
                        <a:pt x="122" y="35"/>
                        <a:pt x="123" y="24"/>
                        <a:pt x="123" y="27"/>
                      </a:cubicBezTo>
                      <a:cubicBezTo>
                        <a:pt x="123" y="26"/>
                        <a:pt x="123" y="26"/>
                        <a:pt x="123" y="26"/>
                      </a:cubicBezTo>
                      <a:cubicBezTo>
                        <a:pt x="122" y="26"/>
                        <a:pt x="122" y="26"/>
                        <a:pt x="122" y="26"/>
                      </a:cubicBezTo>
                      <a:cubicBezTo>
                        <a:pt x="120" y="25"/>
                        <a:pt x="120" y="25"/>
                        <a:pt x="120" y="25"/>
                      </a:cubicBezTo>
                      <a:cubicBezTo>
                        <a:pt x="116" y="22"/>
                        <a:pt x="116" y="22"/>
                        <a:pt x="116" y="22"/>
                      </a:cubicBezTo>
                      <a:cubicBezTo>
                        <a:pt x="108" y="15"/>
                        <a:pt x="108" y="15"/>
                        <a:pt x="108" y="15"/>
                      </a:cubicBezTo>
                      <a:cubicBezTo>
                        <a:pt x="91" y="3"/>
                        <a:pt x="91" y="3"/>
                        <a:pt x="91" y="3"/>
                      </a:cubicBezTo>
                      <a:cubicBezTo>
                        <a:pt x="90" y="2"/>
                        <a:pt x="88" y="1"/>
                        <a:pt x="86" y="1"/>
                      </a:cubicBezTo>
                      <a:cubicBezTo>
                        <a:pt x="85" y="1"/>
                        <a:pt x="85" y="1"/>
                        <a:pt x="85" y="1"/>
                      </a:cubicBezTo>
                      <a:cubicBezTo>
                        <a:pt x="83" y="1"/>
                        <a:pt x="80" y="1"/>
                        <a:pt x="77" y="0"/>
                      </a:cubicBez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84" y="7"/>
                        <a:pt x="84" y="7"/>
                        <a:pt x="84" y="7"/>
                      </a:cubicBezTo>
                      <a:cubicBezTo>
                        <a:pt x="75" y="11"/>
                        <a:pt x="75" y="11"/>
                        <a:pt x="75" y="11"/>
                      </a:cubicBezTo>
                      <a:cubicBezTo>
                        <a:pt x="80" y="18"/>
                        <a:pt x="80" y="18"/>
                        <a:pt x="80" y="18"/>
                      </a:cubicBezTo>
                      <a:cubicBezTo>
                        <a:pt x="68" y="43"/>
                        <a:pt x="68" y="43"/>
                        <a:pt x="68" y="43"/>
                      </a:cubicBezTo>
                      <a:cubicBezTo>
                        <a:pt x="67" y="9"/>
                        <a:pt x="67" y="9"/>
                        <a:pt x="67" y="9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7" y="7"/>
                        <a:pt x="57" y="7"/>
                        <a:pt x="57" y="7"/>
                      </a:cubicBezTo>
                      <a:cubicBezTo>
                        <a:pt x="59" y="9"/>
                        <a:pt x="59" y="9"/>
                        <a:pt x="59" y="9"/>
                      </a:cubicBezTo>
                      <a:cubicBezTo>
                        <a:pt x="57" y="43"/>
                        <a:pt x="57" y="43"/>
                        <a:pt x="57" y="43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50" y="11"/>
                        <a:pt x="50" y="11"/>
                        <a:pt x="50" y="11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8" y="1"/>
                        <a:pt x="48" y="1"/>
                        <a:pt x="48" y="1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5" y="1"/>
                        <a:pt x="43" y="1"/>
                        <a:pt x="40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6" y="1"/>
                        <a:pt x="34" y="3"/>
                        <a:pt x="32" y="5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0" y="61"/>
                        <a:pt x="2" y="43"/>
                        <a:pt x="1" y="48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2" y="49"/>
                        <a:pt x="2" y="49"/>
                        <a:pt x="2" y="49"/>
                      </a:cubicBezTo>
                      <a:cubicBezTo>
                        <a:pt x="2" y="51"/>
                        <a:pt x="2" y="51"/>
                        <a:pt x="2" y="51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6" y="58"/>
                        <a:pt x="6" y="58"/>
                        <a:pt x="6" y="58"/>
                      </a:cubicBezTo>
                      <a:cubicBezTo>
                        <a:pt x="11" y="67"/>
                        <a:pt x="11" y="67"/>
                        <a:pt x="11" y="67"/>
                      </a:cubicBezTo>
                      <a:cubicBezTo>
                        <a:pt x="20" y="86"/>
                        <a:pt x="20" y="86"/>
                        <a:pt x="20" y="86"/>
                      </a:cubicBezTo>
                      <a:cubicBezTo>
                        <a:pt x="25" y="84"/>
                        <a:pt x="29" y="82"/>
                        <a:pt x="33" y="79"/>
                      </a:cubicBezTo>
                      <a:cubicBezTo>
                        <a:pt x="33" y="83"/>
                        <a:pt x="33" y="87"/>
                        <a:pt x="33" y="91"/>
                      </a:cubicBezTo>
                      <a:cubicBezTo>
                        <a:pt x="33" y="92"/>
                        <a:pt x="33" y="92"/>
                        <a:pt x="33" y="92"/>
                      </a:cubicBezTo>
                      <a:cubicBezTo>
                        <a:pt x="35" y="92"/>
                        <a:pt x="35" y="92"/>
                        <a:pt x="35" y="92"/>
                      </a:cubicBezTo>
                      <a:cubicBezTo>
                        <a:pt x="38" y="174"/>
                        <a:pt x="38" y="174"/>
                        <a:pt x="38" y="174"/>
                      </a:cubicBezTo>
                      <a:cubicBezTo>
                        <a:pt x="61" y="174"/>
                        <a:pt x="61" y="174"/>
                        <a:pt x="61" y="174"/>
                      </a:cubicBezTo>
                      <a:cubicBezTo>
                        <a:pt x="62" y="163"/>
                        <a:pt x="62" y="150"/>
                        <a:pt x="62" y="137"/>
                      </a:cubicBezTo>
                      <a:cubicBezTo>
                        <a:pt x="59" y="129"/>
                        <a:pt x="57" y="121"/>
                        <a:pt x="57" y="112"/>
                      </a:cubicBezTo>
                      <a:cubicBezTo>
                        <a:pt x="57" y="75"/>
                        <a:pt x="86" y="45"/>
                        <a:pt x="122" y="42"/>
                      </a:cubicBezTo>
                      <a:close/>
                      <a:moveTo>
                        <a:pt x="91" y="34"/>
                      </a:moveTo>
                      <a:cubicBezTo>
                        <a:pt x="91" y="32"/>
                        <a:pt x="91" y="30"/>
                        <a:pt x="90" y="28"/>
                      </a:cubicBezTo>
                      <a:cubicBezTo>
                        <a:pt x="95" y="32"/>
                        <a:pt x="95" y="32"/>
                        <a:pt x="95" y="32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ubicBezTo>
                        <a:pt x="77" y="46"/>
                        <a:pt x="77" y="46"/>
                        <a:pt x="77" y="46"/>
                      </a:cubicBezTo>
                      <a:cubicBezTo>
                        <a:pt x="75" y="43"/>
                        <a:pt x="75" y="43"/>
                        <a:pt x="75" y="43"/>
                      </a:cubicBezTo>
                      <a:lnTo>
                        <a:pt x="91" y="34"/>
                      </a:lnTo>
                      <a:close/>
                      <a:moveTo>
                        <a:pt x="34" y="61"/>
                      </a:moveTo>
                      <a:cubicBezTo>
                        <a:pt x="31" y="56"/>
                        <a:pt x="31" y="56"/>
                        <a:pt x="31" y="56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4" y="44"/>
                        <a:pt x="24" y="44"/>
                        <a:pt x="24" y="44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cubicBezTo>
                        <a:pt x="34" y="41"/>
                        <a:pt x="34" y="51"/>
                        <a:pt x="34" y="6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62" name="Freeform 275"/>
                <p:cNvSpPr>
                  <a:spLocks/>
                </p:cNvSpPr>
                <p:nvPr/>
              </p:nvSpPr>
              <p:spPr bwMode="auto">
                <a:xfrm>
                  <a:off x="-2154238" y="287337"/>
                  <a:ext cx="141287" cy="1635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" y="29"/>
                    </a:cxn>
                    <a:cxn ang="0">
                      <a:pos x="25" y="29"/>
                    </a:cxn>
                    <a:cxn ang="0">
                      <a:pos x="25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5" h="29">
                      <a:moveTo>
                        <a:pt x="0" y="0"/>
                      </a:move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25" y="29"/>
                        <a:pt x="25" y="29"/>
                        <a:pt x="25" y="29"/>
                      </a:cubicBezTo>
                      <a:cubicBezTo>
                        <a:pt x="25" y="28"/>
                        <a:pt x="25" y="27"/>
                        <a:pt x="25" y="26"/>
                      </a:cubicBezTo>
                      <a:cubicBezTo>
                        <a:pt x="15" y="19"/>
                        <a:pt x="6" y="10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</p:grpSp>
          <p:sp>
            <p:nvSpPr>
              <p:cNvPr id="59" name="Freeform 209"/>
              <p:cNvSpPr>
                <a:spLocks noEditPoints="1"/>
              </p:cNvSpPr>
              <p:nvPr/>
            </p:nvSpPr>
            <p:spPr bwMode="auto">
              <a:xfrm>
                <a:off x="7032625" y="4046538"/>
                <a:ext cx="709611" cy="709611"/>
              </a:xfrm>
              <a:custGeom>
                <a:avLst/>
                <a:gdLst/>
                <a:ahLst/>
                <a:cxnLst>
                  <a:cxn ang="0">
                    <a:pos x="114" y="40"/>
                  </a:cxn>
                  <a:cxn ang="0">
                    <a:pos x="109" y="41"/>
                  </a:cxn>
                  <a:cxn ang="0">
                    <a:pos x="103" y="34"/>
                  </a:cxn>
                  <a:cxn ang="0">
                    <a:pos x="109" y="25"/>
                  </a:cxn>
                  <a:cxn ang="0">
                    <a:pos x="96" y="16"/>
                  </a:cxn>
                  <a:cxn ang="0">
                    <a:pos x="88" y="19"/>
                  </a:cxn>
                  <a:cxn ang="0">
                    <a:pos x="87" y="10"/>
                  </a:cxn>
                  <a:cxn ang="0">
                    <a:pos x="74" y="2"/>
                  </a:cxn>
                  <a:cxn ang="0">
                    <a:pos x="70" y="3"/>
                  </a:cxn>
                  <a:cxn ang="0">
                    <a:pos x="59" y="10"/>
                  </a:cxn>
                  <a:cxn ang="0">
                    <a:pos x="55" y="0"/>
                  </a:cxn>
                  <a:cxn ang="0">
                    <a:pos x="47" y="2"/>
                  </a:cxn>
                  <a:cxn ang="0">
                    <a:pos x="45" y="2"/>
                  </a:cxn>
                  <a:cxn ang="0">
                    <a:pos x="40" y="6"/>
                  </a:cxn>
                  <a:cxn ang="0">
                    <a:pos x="34" y="16"/>
                  </a:cxn>
                  <a:cxn ang="0">
                    <a:pos x="26" y="11"/>
                  </a:cxn>
                  <a:cxn ang="0">
                    <a:pos x="16" y="19"/>
                  </a:cxn>
                  <a:cxn ang="0">
                    <a:pos x="21" y="29"/>
                  </a:cxn>
                  <a:cxn ang="0">
                    <a:pos x="14" y="34"/>
                  </a:cxn>
                  <a:cxn ang="0">
                    <a:pos x="6" y="34"/>
                  </a:cxn>
                  <a:cxn ang="0">
                    <a:pos x="2" y="46"/>
                  </a:cxn>
                  <a:cxn ang="0">
                    <a:pos x="10" y="52"/>
                  </a:cxn>
                  <a:cxn ang="0">
                    <a:pos x="3" y="61"/>
                  </a:cxn>
                  <a:cxn ang="0">
                    <a:pos x="2" y="77"/>
                  </a:cxn>
                  <a:cxn ang="0">
                    <a:pos x="13" y="78"/>
                  </a:cxn>
                  <a:cxn ang="0">
                    <a:pos x="11" y="89"/>
                  </a:cxn>
                  <a:cxn ang="0">
                    <a:pos x="19" y="103"/>
                  </a:cxn>
                  <a:cxn ang="0">
                    <a:pos x="29" y="99"/>
                  </a:cxn>
                  <a:cxn ang="0">
                    <a:pos x="33" y="110"/>
                  </a:cxn>
                  <a:cxn ang="0">
                    <a:pos x="46" y="118"/>
                  </a:cxn>
                  <a:cxn ang="0">
                    <a:pos x="52" y="109"/>
                  </a:cxn>
                  <a:cxn ang="0">
                    <a:pos x="61" y="117"/>
                  </a:cxn>
                  <a:cxn ang="0">
                    <a:pos x="77" y="117"/>
                  </a:cxn>
                  <a:cxn ang="0">
                    <a:pos x="78" y="106"/>
                  </a:cxn>
                  <a:cxn ang="0">
                    <a:pos x="90" y="108"/>
                  </a:cxn>
                  <a:cxn ang="0">
                    <a:pos x="103" y="101"/>
                  </a:cxn>
                  <a:cxn ang="0">
                    <a:pos x="99" y="91"/>
                  </a:cxn>
                  <a:cxn ang="0">
                    <a:pos x="110" y="87"/>
                  </a:cxn>
                  <a:cxn ang="0">
                    <a:pos x="118" y="73"/>
                  </a:cxn>
                  <a:cxn ang="0">
                    <a:pos x="109" y="67"/>
                  </a:cxn>
                  <a:cxn ang="0">
                    <a:pos x="117" y="58"/>
                  </a:cxn>
                  <a:cxn ang="0">
                    <a:pos x="117" y="44"/>
                  </a:cxn>
                  <a:cxn ang="0">
                    <a:pos x="23" y="67"/>
                  </a:cxn>
                  <a:cxn ang="0">
                    <a:pos x="24" y="47"/>
                  </a:cxn>
                  <a:cxn ang="0">
                    <a:pos x="50" y="23"/>
                  </a:cxn>
                  <a:cxn ang="0">
                    <a:pos x="51" y="39"/>
                  </a:cxn>
                  <a:cxn ang="0">
                    <a:pos x="47" y="41"/>
                  </a:cxn>
                  <a:cxn ang="0">
                    <a:pos x="37" y="60"/>
                  </a:cxn>
                  <a:cxn ang="0">
                    <a:pos x="66" y="97"/>
                  </a:cxn>
                  <a:cxn ang="0">
                    <a:pos x="48" y="79"/>
                  </a:cxn>
                  <a:cxn ang="0">
                    <a:pos x="68" y="81"/>
                  </a:cxn>
                  <a:cxn ang="0">
                    <a:pos x="66" y="97"/>
                  </a:cxn>
                  <a:cxn ang="0">
                    <a:pos x="82" y="64"/>
                  </a:cxn>
                  <a:cxn ang="0">
                    <a:pos x="74" y="42"/>
                  </a:cxn>
                  <a:cxn ang="0">
                    <a:pos x="74" y="25"/>
                  </a:cxn>
                  <a:cxn ang="0">
                    <a:pos x="89" y="36"/>
                  </a:cxn>
                  <a:cxn ang="0">
                    <a:pos x="97" y="53"/>
                  </a:cxn>
                </a:cxnLst>
                <a:rect l="0" t="0" r="r" b="b"/>
                <a:pathLst>
                  <a:path w="119" h="119">
                    <a:moveTo>
                      <a:pt x="117" y="42"/>
                    </a:moveTo>
                    <a:cubicBezTo>
                      <a:pt x="117" y="41"/>
                      <a:pt x="115" y="40"/>
                      <a:pt x="114" y="40"/>
                    </a:cubicBezTo>
                    <a:cubicBezTo>
                      <a:pt x="114" y="40"/>
                      <a:pt x="113" y="40"/>
                      <a:pt x="113" y="40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6" y="41"/>
                      <a:pt x="106" y="41"/>
                      <a:pt x="106" y="41"/>
                    </a:cubicBezTo>
                    <a:cubicBezTo>
                      <a:pt x="105" y="39"/>
                      <a:pt x="104" y="37"/>
                      <a:pt x="103" y="34"/>
                    </a:cubicBezTo>
                    <a:cubicBezTo>
                      <a:pt x="108" y="30"/>
                      <a:pt x="108" y="30"/>
                      <a:pt x="108" y="30"/>
                    </a:cubicBezTo>
                    <a:cubicBezTo>
                      <a:pt x="110" y="29"/>
                      <a:pt x="110" y="27"/>
                      <a:pt x="109" y="25"/>
                    </a:cubicBezTo>
                    <a:cubicBezTo>
                      <a:pt x="101" y="16"/>
                      <a:pt x="101" y="16"/>
                      <a:pt x="101" y="16"/>
                    </a:cubicBezTo>
                    <a:cubicBezTo>
                      <a:pt x="100" y="15"/>
                      <a:pt x="98" y="15"/>
                      <a:pt x="96" y="16"/>
                    </a:cubicBezTo>
                    <a:cubicBezTo>
                      <a:pt x="91" y="21"/>
                      <a:pt x="91" y="21"/>
                      <a:pt x="91" y="21"/>
                    </a:cubicBezTo>
                    <a:cubicBezTo>
                      <a:pt x="90" y="20"/>
                      <a:pt x="89" y="19"/>
                      <a:pt x="88" y="19"/>
                    </a:cubicBezTo>
                    <a:cubicBezTo>
                      <a:pt x="87" y="18"/>
                      <a:pt x="86" y="17"/>
                      <a:pt x="84" y="16"/>
                    </a:cubicBezTo>
                    <a:cubicBezTo>
                      <a:pt x="87" y="10"/>
                      <a:pt x="87" y="10"/>
                      <a:pt x="87" y="10"/>
                    </a:cubicBezTo>
                    <a:cubicBezTo>
                      <a:pt x="87" y="8"/>
                      <a:pt x="87" y="6"/>
                      <a:pt x="85" y="6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2" y="1"/>
                      <a:pt x="70" y="2"/>
                      <a:pt x="70" y="3"/>
                    </a:cubicBezTo>
                    <a:cubicBezTo>
                      <a:pt x="67" y="10"/>
                      <a:pt x="67" y="10"/>
                      <a:pt x="67" y="10"/>
                    </a:cubicBezTo>
                    <a:cubicBezTo>
                      <a:pt x="65" y="10"/>
                      <a:pt x="62" y="10"/>
                      <a:pt x="59" y="10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58" y="1"/>
                      <a:pt x="56" y="0"/>
                      <a:pt x="55" y="0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1" y="3"/>
                      <a:pt x="40" y="4"/>
                      <a:pt x="40" y="6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9" y="14"/>
                      <a:pt x="37" y="15"/>
                      <a:pt x="34" y="16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10"/>
                      <a:pt x="27" y="10"/>
                      <a:pt x="26" y="11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5" y="20"/>
                      <a:pt x="15" y="22"/>
                      <a:pt x="16" y="23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19" y="31"/>
                      <a:pt x="18" y="33"/>
                      <a:pt x="16" y="35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8" y="32"/>
                      <a:pt x="6" y="33"/>
                      <a:pt x="6" y="3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1" y="47"/>
                      <a:pt x="2" y="49"/>
                      <a:pt x="3" y="50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0" y="55"/>
                      <a:pt x="10" y="57"/>
                      <a:pt x="10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0" y="63"/>
                      <a:pt x="0" y="65"/>
                    </a:cubicBezTo>
                    <a:cubicBezTo>
                      <a:pt x="2" y="77"/>
                      <a:pt x="2" y="77"/>
                      <a:pt x="2" y="77"/>
                    </a:cubicBezTo>
                    <a:cubicBezTo>
                      <a:pt x="3" y="78"/>
                      <a:pt x="4" y="80"/>
                      <a:pt x="6" y="79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4" y="80"/>
                      <a:pt x="15" y="83"/>
                      <a:pt x="17" y="85"/>
                    </a:cubicBezTo>
                    <a:cubicBezTo>
                      <a:pt x="11" y="89"/>
                      <a:pt x="11" y="89"/>
                      <a:pt x="11" y="89"/>
                    </a:cubicBezTo>
                    <a:cubicBezTo>
                      <a:pt x="10" y="91"/>
                      <a:pt x="10" y="92"/>
                      <a:pt x="11" y="94"/>
                    </a:cubicBezTo>
                    <a:cubicBezTo>
                      <a:pt x="19" y="103"/>
                      <a:pt x="19" y="103"/>
                      <a:pt x="19" y="103"/>
                    </a:cubicBezTo>
                    <a:cubicBezTo>
                      <a:pt x="20" y="104"/>
                      <a:pt x="22" y="105"/>
                      <a:pt x="23" y="103"/>
                    </a:cubicBezTo>
                    <a:cubicBezTo>
                      <a:pt x="29" y="99"/>
                      <a:pt x="29" y="99"/>
                      <a:pt x="29" y="99"/>
                    </a:cubicBezTo>
                    <a:cubicBezTo>
                      <a:pt x="31" y="100"/>
                      <a:pt x="33" y="102"/>
                      <a:pt x="35" y="103"/>
                    </a:cubicBezTo>
                    <a:cubicBezTo>
                      <a:pt x="33" y="110"/>
                      <a:pt x="33" y="110"/>
                      <a:pt x="33" y="110"/>
                    </a:cubicBezTo>
                    <a:cubicBezTo>
                      <a:pt x="32" y="111"/>
                      <a:pt x="33" y="113"/>
                      <a:pt x="34" y="114"/>
                    </a:cubicBezTo>
                    <a:cubicBezTo>
                      <a:pt x="46" y="118"/>
                      <a:pt x="46" y="118"/>
                      <a:pt x="46" y="118"/>
                    </a:cubicBezTo>
                    <a:cubicBezTo>
                      <a:pt x="48" y="118"/>
                      <a:pt x="49" y="118"/>
                      <a:pt x="50" y="116"/>
                    </a:cubicBezTo>
                    <a:cubicBezTo>
                      <a:pt x="52" y="109"/>
                      <a:pt x="52" y="109"/>
                      <a:pt x="52" y="109"/>
                    </a:cubicBezTo>
                    <a:cubicBezTo>
                      <a:pt x="55" y="109"/>
                      <a:pt x="57" y="110"/>
                      <a:pt x="60" y="110"/>
                    </a:cubicBezTo>
                    <a:cubicBezTo>
                      <a:pt x="61" y="117"/>
                      <a:pt x="61" y="117"/>
                      <a:pt x="61" y="117"/>
                    </a:cubicBezTo>
                    <a:cubicBezTo>
                      <a:pt x="62" y="118"/>
                      <a:pt x="63" y="119"/>
                      <a:pt x="65" y="119"/>
                    </a:cubicBezTo>
                    <a:cubicBezTo>
                      <a:pt x="77" y="117"/>
                      <a:pt x="77" y="117"/>
                      <a:pt x="77" y="117"/>
                    </a:cubicBezTo>
                    <a:cubicBezTo>
                      <a:pt x="79" y="117"/>
                      <a:pt x="80" y="115"/>
                      <a:pt x="79" y="113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80" y="105"/>
                      <a:pt x="83" y="104"/>
                      <a:pt x="85" y="103"/>
                    </a:cubicBezTo>
                    <a:cubicBezTo>
                      <a:pt x="90" y="108"/>
                      <a:pt x="90" y="108"/>
                      <a:pt x="90" y="108"/>
                    </a:cubicBezTo>
                    <a:cubicBezTo>
                      <a:pt x="91" y="109"/>
                      <a:pt x="93" y="110"/>
                      <a:pt x="94" y="108"/>
                    </a:cubicBezTo>
                    <a:cubicBezTo>
                      <a:pt x="103" y="101"/>
                      <a:pt x="103" y="101"/>
                      <a:pt x="103" y="101"/>
                    </a:cubicBezTo>
                    <a:cubicBezTo>
                      <a:pt x="104" y="100"/>
                      <a:pt x="105" y="98"/>
                      <a:pt x="104" y="96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0" y="89"/>
                      <a:pt x="102" y="87"/>
                      <a:pt x="103" y="84"/>
                    </a:cubicBezTo>
                    <a:cubicBezTo>
                      <a:pt x="110" y="87"/>
                      <a:pt x="110" y="87"/>
                      <a:pt x="110" y="87"/>
                    </a:cubicBezTo>
                    <a:cubicBezTo>
                      <a:pt x="111" y="87"/>
                      <a:pt x="113" y="86"/>
                      <a:pt x="114" y="85"/>
                    </a:cubicBezTo>
                    <a:cubicBezTo>
                      <a:pt x="118" y="73"/>
                      <a:pt x="118" y="73"/>
                      <a:pt x="118" y="73"/>
                    </a:cubicBezTo>
                    <a:cubicBezTo>
                      <a:pt x="118" y="72"/>
                      <a:pt x="118" y="70"/>
                      <a:pt x="116" y="69"/>
                    </a:cubicBezTo>
                    <a:cubicBezTo>
                      <a:pt x="109" y="67"/>
                      <a:pt x="109" y="67"/>
                      <a:pt x="109" y="67"/>
                    </a:cubicBezTo>
                    <a:cubicBezTo>
                      <a:pt x="110" y="64"/>
                      <a:pt x="110" y="62"/>
                      <a:pt x="110" y="59"/>
                    </a:cubicBezTo>
                    <a:cubicBezTo>
                      <a:pt x="117" y="58"/>
                      <a:pt x="117" y="58"/>
                      <a:pt x="117" y="58"/>
                    </a:cubicBezTo>
                    <a:cubicBezTo>
                      <a:pt x="118" y="58"/>
                      <a:pt x="119" y="56"/>
                      <a:pt x="119" y="54"/>
                    </a:cubicBezTo>
                    <a:cubicBezTo>
                      <a:pt x="117" y="44"/>
                      <a:pt x="117" y="44"/>
                      <a:pt x="117" y="44"/>
                    </a:cubicBezTo>
                    <a:lnTo>
                      <a:pt x="117" y="42"/>
                    </a:lnTo>
                    <a:close/>
                    <a:moveTo>
                      <a:pt x="23" y="67"/>
                    </a:moveTo>
                    <a:cubicBezTo>
                      <a:pt x="23" y="66"/>
                      <a:pt x="23" y="66"/>
                      <a:pt x="23" y="66"/>
                    </a:cubicBezTo>
                    <a:cubicBezTo>
                      <a:pt x="22" y="60"/>
                      <a:pt x="22" y="53"/>
                      <a:pt x="24" y="47"/>
                    </a:cubicBezTo>
                    <a:cubicBezTo>
                      <a:pt x="28" y="37"/>
                      <a:pt x="36" y="28"/>
                      <a:pt x="47" y="24"/>
                    </a:cubicBezTo>
                    <a:cubicBezTo>
                      <a:pt x="48" y="24"/>
                      <a:pt x="49" y="24"/>
                      <a:pt x="50" y="23"/>
                    </a:cubicBezTo>
                    <a:cubicBezTo>
                      <a:pt x="51" y="23"/>
                      <a:pt x="52" y="23"/>
                      <a:pt x="52" y="23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49" y="39"/>
                      <a:pt x="48" y="40"/>
                      <a:pt x="47" y="41"/>
                    </a:cubicBezTo>
                    <a:cubicBezTo>
                      <a:pt x="42" y="44"/>
                      <a:pt x="39" y="50"/>
                      <a:pt x="38" y="56"/>
                    </a:cubicBezTo>
                    <a:cubicBezTo>
                      <a:pt x="37" y="57"/>
                      <a:pt x="37" y="59"/>
                      <a:pt x="37" y="60"/>
                    </a:cubicBezTo>
                    <a:lnTo>
                      <a:pt x="23" y="67"/>
                    </a:lnTo>
                    <a:close/>
                    <a:moveTo>
                      <a:pt x="66" y="97"/>
                    </a:moveTo>
                    <a:cubicBezTo>
                      <a:pt x="54" y="99"/>
                      <a:pt x="41" y="95"/>
                      <a:pt x="33" y="86"/>
                    </a:cubicBezTo>
                    <a:cubicBezTo>
                      <a:pt x="48" y="79"/>
                      <a:pt x="48" y="79"/>
                      <a:pt x="48" y="79"/>
                    </a:cubicBezTo>
                    <a:cubicBezTo>
                      <a:pt x="52" y="82"/>
                      <a:pt x="58" y="83"/>
                      <a:pt x="64" y="82"/>
                    </a:cubicBezTo>
                    <a:cubicBezTo>
                      <a:pt x="65" y="82"/>
                      <a:pt x="67" y="81"/>
                      <a:pt x="68" y="81"/>
                    </a:cubicBezTo>
                    <a:cubicBezTo>
                      <a:pt x="82" y="90"/>
                      <a:pt x="82" y="90"/>
                      <a:pt x="82" y="90"/>
                    </a:cubicBezTo>
                    <a:cubicBezTo>
                      <a:pt x="77" y="93"/>
                      <a:pt x="72" y="96"/>
                      <a:pt x="66" y="97"/>
                    </a:cubicBezTo>
                    <a:close/>
                    <a:moveTo>
                      <a:pt x="95" y="73"/>
                    </a:moveTo>
                    <a:cubicBezTo>
                      <a:pt x="82" y="64"/>
                      <a:pt x="82" y="64"/>
                      <a:pt x="82" y="64"/>
                    </a:cubicBezTo>
                    <a:cubicBezTo>
                      <a:pt x="82" y="62"/>
                      <a:pt x="83" y="59"/>
                      <a:pt x="82" y="56"/>
                    </a:cubicBezTo>
                    <a:cubicBezTo>
                      <a:pt x="81" y="50"/>
                      <a:pt x="78" y="45"/>
                      <a:pt x="74" y="42"/>
                    </a:cubicBezTo>
                    <a:cubicBezTo>
                      <a:pt x="73" y="42"/>
                      <a:pt x="73" y="41"/>
                      <a:pt x="72" y="41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80" y="27"/>
                      <a:pt x="85" y="31"/>
                      <a:pt x="89" y="36"/>
                    </a:cubicBezTo>
                    <a:cubicBezTo>
                      <a:pt x="91" y="38"/>
                      <a:pt x="93" y="41"/>
                      <a:pt x="94" y="44"/>
                    </a:cubicBezTo>
                    <a:cubicBezTo>
                      <a:pt x="95" y="47"/>
                      <a:pt x="96" y="50"/>
                      <a:pt x="97" y="53"/>
                    </a:cubicBezTo>
                    <a:cubicBezTo>
                      <a:pt x="98" y="60"/>
                      <a:pt x="97" y="67"/>
                      <a:pt x="95" y="7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</p:grpSp>
        <p:grpSp>
          <p:nvGrpSpPr>
            <p:cNvPr id="21" name="Group 4"/>
            <p:cNvGrpSpPr>
              <a:grpSpLocks noChangeAspect="1"/>
            </p:cNvGrpSpPr>
            <p:nvPr userDrawn="1"/>
          </p:nvGrpSpPr>
          <p:grpSpPr bwMode="auto">
            <a:xfrm>
              <a:off x="713661" y="113741"/>
              <a:ext cx="69318" cy="90152"/>
              <a:chOff x="3655" y="1900"/>
              <a:chExt cx="366" cy="476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42" name="Freeform 5"/>
              <p:cNvSpPr>
                <a:spLocks noEditPoints="1"/>
              </p:cNvSpPr>
              <p:nvPr/>
            </p:nvSpPr>
            <p:spPr bwMode="auto">
              <a:xfrm>
                <a:off x="3953" y="1971"/>
                <a:ext cx="68" cy="132"/>
              </a:xfrm>
              <a:custGeom>
                <a:avLst/>
                <a:gdLst>
                  <a:gd name="T0" fmla="*/ 31 w 38"/>
                  <a:gd name="T1" fmla="*/ 74 h 74"/>
                  <a:gd name="T2" fmla="*/ 27 w 38"/>
                  <a:gd name="T3" fmla="*/ 73 h 74"/>
                  <a:gd name="T4" fmla="*/ 18 w 38"/>
                  <a:gd name="T5" fmla="*/ 52 h 74"/>
                  <a:gd name="T6" fmla="*/ 17 w 38"/>
                  <a:gd name="T7" fmla="*/ 49 h 74"/>
                  <a:gd name="T8" fmla="*/ 2 w 38"/>
                  <a:gd name="T9" fmla="*/ 10 h 74"/>
                  <a:gd name="T10" fmla="*/ 4 w 38"/>
                  <a:gd name="T11" fmla="*/ 2 h 74"/>
                  <a:gd name="T12" fmla="*/ 12 w 38"/>
                  <a:gd name="T13" fmla="*/ 4 h 74"/>
                  <a:gd name="T14" fmla="*/ 29 w 38"/>
                  <a:gd name="T15" fmla="*/ 46 h 74"/>
                  <a:gd name="T16" fmla="*/ 29 w 38"/>
                  <a:gd name="T17" fmla="*/ 48 h 74"/>
                  <a:gd name="T18" fmla="*/ 30 w 38"/>
                  <a:gd name="T19" fmla="*/ 49 h 74"/>
                  <a:gd name="T20" fmla="*/ 34 w 38"/>
                  <a:gd name="T21" fmla="*/ 63 h 74"/>
                  <a:gd name="T22" fmla="*/ 36 w 38"/>
                  <a:gd name="T23" fmla="*/ 72 h 74"/>
                  <a:gd name="T24" fmla="*/ 31 w 38"/>
                  <a:gd name="T25" fmla="*/ 74 h 74"/>
                  <a:gd name="T26" fmla="*/ 31 w 38"/>
                  <a:gd name="T27" fmla="*/ 74 h 74"/>
                  <a:gd name="T28" fmla="*/ 31 w 38"/>
                  <a:gd name="T2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74">
                    <a:moveTo>
                      <a:pt x="31" y="74"/>
                    </a:moveTo>
                    <a:cubicBezTo>
                      <a:pt x="29" y="74"/>
                      <a:pt x="28" y="74"/>
                      <a:pt x="27" y="73"/>
                    </a:cubicBezTo>
                    <a:cubicBezTo>
                      <a:pt x="23" y="70"/>
                      <a:pt x="19" y="60"/>
                      <a:pt x="18" y="52"/>
                    </a:cubicBezTo>
                    <a:cubicBezTo>
                      <a:pt x="17" y="52"/>
                      <a:pt x="17" y="51"/>
                      <a:pt x="17" y="49"/>
                    </a:cubicBezTo>
                    <a:cubicBezTo>
                      <a:pt x="15" y="43"/>
                      <a:pt x="11" y="26"/>
                      <a:pt x="2" y="10"/>
                    </a:cubicBezTo>
                    <a:cubicBezTo>
                      <a:pt x="0" y="7"/>
                      <a:pt x="1" y="3"/>
                      <a:pt x="4" y="2"/>
                    </a:cubicBezTo>
                    <a:cubicBezTo>
                      <a:pt x="7" y="0"/>
                      <a:pt x="11" y="1"/>
                      <a:pt x="12" y="4"/>
                    </a:cubicBezTo>
                    <a:cubicBezTo>
                      <a:pt x="23" y="21"/>
                      <a:pt x="27" y="39"/>
                      <a:pt x="29" y="46"/>
                    </a:cubicBezTo>
                    <a:cubicBezTo>
                      <a:pt x="29" y="47"/>
                      <a:pt x="29" y="48"/>
                      <a:pt x="29" y="48"/>
                    </a:cubicBezTo>
                    <a:cubicBezTo>
                      <a:pt x="29" y="48"/>
                      <a:pt x="30" y="49"/>
                      <a:pt x="30" y="49"/>
                    </a:cubicBezTo>
                    <a:cubicBezTo>
                      <a:pt x="31" y="55"/>
                      <a:pt x="33" y="62"/>
                      <a:pt x="34" y="63"/>
                    </a:cubicBezTo>
                    <a:cubicBezTo>
                      <a:pt x="37" y="65"/>
                      <a:pt x="38" y="69"/>
                      <a:pt x="36" y="72"/>
                    </a:cubicBezTo>
                    <a:cubicBezTo>
                      <a:pt x="34" y="73"/>
                      <a:pt x="32" y="74"/>
                      <a:pt x="31" y="74"/>
                    </a:cubicBezTo>
                    <a:close/>
                    <a:moveTo>
                      <a:pt x="31" y="74"/>
                    </a:moveTo>
                    <a:cubicBezTo>
                      <a:pt x="31" y="74"/>
                      <a:pt x="31" y="74"/>
                      <a:pt x="31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3" name="Freeform 6"/>
              <p:cNvSpPr>
                <a:spLocks noEditPoints="1"/>
              </p:cNvSpPr>
              <p:nvPr/>
            </p:nvSpPr>
            <p:spPr bwMode="auto">
              <a:xfrm>
                <a:off x="3810" y="1900"/>
                <a:ext cx="143" cy="62"/>
              </a:xfrm>
              <a:custGeom>
                <a:avLst/>
                <a:gdLst>
                  <a:gd name="T0" fmla="*/ 74 w 80"/>
                  <a:gd name="T1" fmla="*/ 35 h 35"/>
                  <a:gd name="T2" fmla="*/ 69 w 80"/>
                  <a:gd name="T3" fmla="*/ 34 h 35"/>
                  <a:gd name="T4" fmla="*/ 25 w 80"/>
                  <a:gd name="T5" fmla="*/ 12 h 35"/>
                  <a:gd name="T6" fmla="*/ 8 w 80"/>
                  <a:gd name="T7" fmla="*/ 14 h 35"/>
                  <a:gd name="T8" fmla="*/ 1 w 80"/>
                  <a:gd name="T9" fmla="*/ 9 h 35"/>
                  <a:gd name="T10" fmla="*/ 6 w 80"/>
                  <a:gd name="T11" fmla="*/ 2 h 35"/>
                  <a:gd name="T12" fmla="*/ 26 w 80"/>
                  <a:gd name="T13" fmla="*/ 0 h 35"/>
                  <a:gd name="T14" fmla="*/ 26 w 80"/>
                  <a:gd name="T15" fmla="*/ 0 h 35"/>
                  <a:gd name="T16" fmla="*/ 78 w 80"/>
                  <a:gd name="T17" fmla="*/ 25 h 35"/>
                  <a:gd name="T18" fmla="*/ 78 w 80"/>
                  <a:gd name="T19" fmla="*/ 34 h 35"/>
                  <a:gd name="T20" fmla="*/ 74 w 80"/>
                  <a:gd name="T21" fmla="*/ 35 h 35"/>
                  <a:gd name="T22" fmla="*/ 74 w 80"/>
                  <a:gd name="T23" fmla="*/ 35 h 35"/>
                  <a:gd name="T24" fmla="*/ 74 w 80"/>
                  <a:gd name="T2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35">
                    <a:moveTo>
                      <a:pt x="74" y="35"/>
                    </a:moveTo>
                    <a:cubicBezTo>
                      <a:pt x="72" y="35"/>
                      <a:pt x="70" y="35"/>
                      <a:pt x="69" y="34"/>
                    </a:cubicBezTo>
                    <a:cubicBezTo>
                      <a:pt x="57" y="21"/>
                      <a:pt x="42" y="14"/>
                      <a:pt x="25" y="12"/>
                    </a:cubicBezTo>
                    <a:cubicBezTo>
                      <a:pt x="19" y="12"/>
                      <a:pt x="14" y="13"/>
                      <a:pt x="8" y="14"/>
                    </a:cubicBezTo>
                    <a:cubicBezTo>
                      <a:pt x="5" y="14"/>
                      <a:pt x="2" y="12"/>
                      <a:pt x="1" y="9"/>
                    </a:cubicBezTo>
                    <a:cubicBezTo>
                      <a:pt x="0" y="5"/>
                      <a:pt x="3" y="2"/>
                      <a:pt x="6" y="2"/>
                    </a:cubicBezTo>
                    <a:cubicBezTo>
                      <a:pt x="12" y="0"/>
                      <a:pt x="19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46" y="2"/>
                      <a:pt x="64" y="10"/>
                      <a:pt x="78" y="25"/>
                    </a:cubicBezTo>
                    <a:cubicBezTo>
                      <a:pt x="80" y="27"/>
                      <a:pt x="80" y="31"/>
                      <a:pt x="78" y="34"/>
                    </a:cubicBezTo>
                    <a:cubicBezTo>
                      <a:pt x="77" y="35"/>
                      <a:pt x="75" y="35"/>
                      <a:pt x="74" y="35"/>
                    </a:cubicBezTo>
                    <a:close/>
                    <a:moveTo>
                      <a:pt x="74" y="35"/>
                    </a:moveTo>
                    <a:cubicBezTo>
                      <a:pt x="74" y="35"/>
                      <a:pt x="74" y="35"/>
                      <a:pt x="74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4" name="Freeform 7"/>
              <p:cNvSpPr>
                <a:spLocks noEditPoints="1"/>
              </p:cNvSpPr>
              <p:nvPr/>
            </p:nvSpPr>
            <p:spPr bwMode="auto">
              <a:xfrm>
                <a:off x="3657" y="1927"/>
                <a:ext cx="120" cy="119"/>
              </a:xfrm>
              <a:custGeom>
                <a:avLst/>
                <a:gdLst>
                  <a:gd name="T0" fmla="*/ 6 w 67"/>
                  <a:gd name="T1" fmla="*/ 67 h 67"/>
                  <a:gd name="T2" fmla="*/ 5 w 67"/>
                  <a:gd name="T3" fmla="*/ 67 h 67"/>
                  <a:gd name="T4" fmla="*/ 0 w 67"/>
                  <a:gd name="T5" fmla="*/ 62 h 67"/>
                  <a:gd name="T6" fmla="*/ 3 w 67"/>
                  <a:gd name="T7" fmla="*/ 56 h 67"/>
                  <a:gd name="T8" fmla="*/ 4 w 67"/>
                  <a:gd name="T9" fmla="*/ 55 h 67"/>
                  <a:gd name="T10" fmla="*/ 14 w 67"/>
                  <a:gd name="T11" fmla="*/ 46 h 67"/>
                  <a:gd name="T12" fmla="*/ 15 w 67"/>
                  <a:gd name="T13" fmla="*/ 44 h 67"/>
                  <a:gd name="T14" fmla="*/ 24 w 67"/>
                  <a:gd name="T15" fmla="*/ 33 h 67"/>
                  <a:gd name="T16" fmla="*/ 56 w 67"/>
                  <a:gd name="T17" fmla="*/ 2 h 67"/>
                  <a:gd name="T18" fmla="*/ 65 w 67"/>
                  <a:gd name="T19" fmla="*/ 3 h 67"/>
                  <a:gd name="T20" fmla="*/ 63 w 67"/>
                  <a:gd name="T21" fmla="*/ 12 h 67"/>
                  <a:gd name="T22" fmla="*/ 33 w 67"/>
                  <a:gd name="T23" fmla="*/ 41 h 67"/>
                  <a:gd name="T24" fmla="*/ 25 w 67"/>
                  <a:gd name="T25" fmla="*/ 51 h 67"/>
                  <a:gd name="T26" fmla="*/ 24 w 67"/>
                  <a:gd name="T27" fmla="*/ 53 h 67"/>
                  <a:gd name="T28" fmla="*/ 14 w 67"/>
                  <a:gd name="T29" fmla="*/ 63 h 67"/>
                  <a:gd name="T30" fmla="*/ 6 w 67"/>
                  <a:gd name="T31" fmla="*/ 67 h 67"/>
                  <a:gd name="T32" fmla="*/ 6 w 67"/>
                  <a:gd name="T33" fmla="*/ 67 h 67"/>
                  <a:gd name="T34" fmla="*/ 6 w 67"/>
                  <a:gd name="T3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7" h="67">
                    <a:moveTo>
                      <a:pt x="6" y="67"/>
                    </a:moveTo>
                    <a:cubicBezTo>
                      <a:pt x="6" y="67"/>
                      <a:pt x="6" y="67"/>
                      <a:pt x="5" y="67"/>
                    </a:cubicBezTo>
                    <a:cubicBezTo>
                      <a:pt x="3" y="66"/>
                      <a:pt x="1" y="64"/>
                      <a:pt x="0" y="62"/>
                    </a:cubicBezTo>
                    <a:cubicBezTo>
                      <a:pt x="0" y="59"/>
                      <a:pt x="1" y="57"/>
                      <a:pt x="3" y="56"/>
                    </a:cubicBezTo>
                    <a:cubicBezTo>
                      <a:pt x="3" y="55"/>
                      <a:pt x="4" y="55"/>
                      <a:pt x="4" y="55"/>
                    </a:cubicBezTo>
                    <a:cubicBezTo>
                      <a:pt x="6" y="54"/>
                      <a:pt x="10" y="51"/>
                      <a:pt x="14" y="46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8" y="41"/>
                      <a:pt x="20" y="37"/>
                      <a:pt x="24" y="33"/>
                    </a:cubicBezTo>
                    <a:cubicBezTo>
                      <a:pt x="34" y="20"/>
                      <a:pt x="45" y="10"/>
                      <a:pt x="56" y="2"/>
                    </a:cubicBezTo>
                    <a:cubicBezTo>
                      <a:pt x="59" y="0"/>
                      <a:pt x="63" y="1"/>
                      <a:pt x="65" y="3"/>
                    </a:cubicBezTo>
                    <a:cubicBezTo>
                      <a:pt x="67" y="6"/>
                      <a:pt x="66" y="10"/>
                      <a:pt x="63" y="12"/>
                    </a:cubicBezTo>
                    <a:cubicBezTo>
                      <a:pt x="53" y="19"/>
                      <a:pt x="43" y="29"/>
                      <a:pt x="33" y="41"/>
                    </a:cubicBezTo>
                    <a:cubicBezTo>
                      <a:pt x="30" y="45"/>
                      <a:pt x="27" y="48"/>
                      <a:pt x="25" y="51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0" y="58"/>
                      <a:pt x="17" y="61"/>
                      <a:pt x="14" y="63"/>
                    </a:cubicBezTo>
                    <a:cubicBezTo>
                      <a:pt x="10" y="66"/>
                      <a:pt x="8" y="67"/>
                      <a:pt x="6" y="67"/>
                    </a:cubicBezTo>
                    <a:close/>
                    <a:moveTo>
                      <a:pt x="6" y="67"/>
                    </a:moveTo>
                    <a:cubicBezTo>
                      <a:pt x="6" y="67"/>
                      <a:pt x="6" y="67"/>
                      <a:pt x="6" y="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5" name="Freeform 8"/>
              <p:cNvSpPr>
                <a:spLocks noEditPoints="1"/>
              </p:cNvSpPr>
              <p:nvPr/>
            </p:nvSpPr>
            <p:spPr bwMode="auto">
              <a:xfrm>
                <a:off x="3655" y="2114"/>
                <a:ext cx="81" cy="44"/>
              </a:xfrm>
              <a:custGeom>
                <a:avLst/>
                <a:gdLst>
                  <a:gd name="T0" fmla="*/ 7 w 45"/>
                  <a:gd name="T1" fmla="*/ 25 h 25"/>
                  <a:gd name="T2" fmla="*/ 1 w 45"/>
                  <a:gd name="T3" fmla="*/ 21 h 25"/>
                  <a:gd name="T4" fmla="*/ 6 w 45"/>
                  <a:gd name="T5" fmla="*/ 13 h 25"/>
                  <a:gd name="T6" fmla="*/ 35 w 45"/>
                  <a:gd name="T7" fmla="*/ 1 h 25"/>
                  <a:gd name="T8" fmla="*/ 44 w 45"/>
                  <a:gd name="T9" fmla="*/ 4 h 25"/>
                  <a:gd name="T10" fmla="*/ 41 w 45"/>
                  <a:gd name="T11" fmla="*/ 12 h 25"/>
                  <a:gd name="T12" fmla="*/ 9 w 45"/>
                  <a:gd name="T13" fmla="*/ 25 h 25"/>
                  <a:gd name="T14" fmla="*/ 7 w 45"/>
                  <a:gd name="T15" fmla="*/ 25 h 25"/>
                  <a:gd name="T16" fmla="*/ 7 w 45"/>
                  <a:gd name="T17" fmla="*/ 25 h 25"/>
                  <a:gd name="T18" fmla="*/ 7 w 45"/>
                  <a:gd name="T1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5" h="25">
                    <a:moveTo>
                      <a:pt x="7" y="25"/>
                    </a:moveTo>
                    <a:cubicBezTo>
                      <a:pt x="4" y="25"/>
                      <a:pt x="2" y="24"/>
                      <a:pt x="1" y="21"/>
                    </a:cubicBezTo>
                    <a:cubicBezTo>
                      <a:pt x="0" y="17"/>
                      <a:pt x="2" y="14"/>
                      <a:pt x="6" y="13"/>
                    </a:cubicBezTo>
                    <a:cubicBezTo>
                      <a:pt x="17" y="10"/>
                      <a:pt x="28" y="5"/>
                      <a:pt x="35" y="1"/>
                    </a:cubicBezTo>
                    <a:cubicBezTo>
                      <a:pt x="38" y="0"/>
                      <a:pt x="42" y="1"/>
                      <a:pt x="44" y="4"/>
                    </a:cubicBezTo>
                    <a:cubicBezTo>
                      <a:pt x="45" y="7"/>
                      <a:pt x="44" y="11"/>
                      <a:pt x="41" y="12"/>
                    </a:cubicBezTo>
                    <a:cubicBezTo>
                      <a:pt x="33" y="16"/>
                      <a:pt x="21" y="22"/>
                      <a:pt x="9" y="25"/>
                    </a:cubicBezTo>
                    <a:cubicBezTo>
                      <a:pt x="8" y="25"/>
                      <a:pt x="8" y="25"/>
                      <a:pt x="7" y="25"/>
                    </a:cubicBezTo>
                    <a:close/>
                    <a:moveTo>
                      <a:pt x="7" y="25"/>
                    </a:moveTo>
                    <a:cubicBezTo>
                      <a:pt x="7" y="25"/>
                      <a:pt x="7" y="25"/>
                      <a:pt x="7" y="2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6" name="Freeform 9"/>
              <p:cNvSpPr>
                <a:spLocks noEditPoints="1"/>
              </p:cNvSpPr>
              <p:nvPr/>
            </p:nvSpPr>
            <p:spPr bwMode="auto">
              <a:xfrm>
                <a:off x="3738" y="1989"/>
                <a:ext cx="211" cy="132"/>
              </a:xfrm>
              <a:custGeom>
                <a:avLst/>
                <a:gdLst>
                  <a:gd name="T0" fmla="*/ 7 w 118"/>
                  <a:gd name="T1" fmla="*/ 74 h 74"/>
                  <a:gd name="T2" fmla="*/ 2 w 118"/>
                  <a:gd name="T3" fmla="*/ 71 h 74"/>
                  <a:gd name="T4" fmla="*/ 3 w 118"/>
                  <a:gd name="T5" fmla="*/ 63 h 74"/>
                  <a:gd name="T6" fmla="*/ 45 w 118"/>
                  <a:gd name="T7" fmla="*/ 27 h 74"/>
                  <a:gd name="T8" fmla="*/ 94 w 118"/>
                  <a:gd name="T9" fmla="*/ 5 h 74"/>
                  <a:gd name="T10" fmla="*/ 117 w 118"/>
                  <a:gd name="T11" fmla="*/ 27 h 74"/>
                  <a:gd name="T12" fmla="*/ 113 w 118"/>
                  <a:gd name="T13" fmla="*/ 34 h 74"/>
                  <a:gd name="T14" fmla="*/ 105 w 118"/>
                  <a:gd name="T15" fmla="*/ 30 h 74"/>
                  <a:gd name="T16" fmla="*/ 90 w 118"/>
                  <a:gd name="T17" fmla="*/ 17 h 74"/>
                  <a:gd name="T18" fmla="*/ 54 w 118"/>
                  <a:gd name="T19" fmla="*/ 35 h 74"/>
                  <a:gd name="T20" fmla="*/ 10 w 118"/>
                  <a:gd name="T21" fmla="*/ 73 h 74"/>
                  <a:gd name="T22" fmla="*/ 7 w 118"/>
                  <a:gd name="T23" fmla="*/ 74 h 74"/>
                  <a:gd name="T24" fmla="*/ 7 w 118"/>
                  <a:gd name="T25" fmla="*/ 74 h 74"/>
                  <a:gd name="T26" fmla="*/ 7 w 118"/>
                  <a:gd name="T27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8" h="74">
                    <a:moveTo>
                      <a:pt x="7" y="74"/>
                    </a:moveTo>
                    <a:cubicBezTo>
                      <a:pt x="5" y="74"/>
                      <a:pt x="3" y="73"/>
                      <a:pt x="2" y="71"/>
                    </a:cubicBezTo>
                    <a:cubicBezTo>
                      <a:pt x="0" y="69"/>
                      <a:pt x="0" y="65"/>
                      <a:pt x="3" y="63"/>
                    </a:cubicBezTo>
                    <a:cubicBezTo>
                      <a:pt x="25" y="48"/>
                      <a:pt x="45" y="27"/>
                      <a:pt x="45" y="27"/>
                    </a:cubicBezTo>
                    <a:cubicBezTo>
                      <a:pt x="61" y="8"/>
                      <a:pt x="79" y="0"/>
                      <a:pt x="94" y="5"/>
                    </a:cubicBezTo>
                    <a:cubicBezTo>
                      <a:pt x="109" y="9"/>
                      <a:pt x="115" y="19"/>
                      <a:pt x="117" y="27"/>
                    </a:cubicBezTo>
                    <a:cubicBezTo>
                      <a:pt x="118" y="30"/>
                      <a:pt x="116" y="33"/>
                      <a:pt x="113" y="34"/>
                    </a:cubicBezTo>
                    <a:cubicBezTo>
                      <a:pt x="110" y="35"/>
                      <a:pt x="106" y="34"/>
                      <a:pt x="105" y="30"/>
                    </a:cubicBezTo>
                    <a:cubicBezTo>
                      <a:pt x="103" y="24"/>
                      <a:pt x="98" y="19"/>
                      <a:pt x="90" y="17"/>
                    </a:cubicBezTo>
                    <a:cubicBezTo>
                      <a:pt x="79" y="13"/>
                      <a:pt x="64" y="24"/>
                      <a:pt x="54" y="35"/>
                    </a:cubicBezTo>
                    <a:cubicBezTo>
                      <a:pt x="52" y="38"/>
                      <a:pt x="32" y="58"/>
                      <a:pt x="10" y="73"/>
                    </a:cubicBezTo>
                    <a:cubicBezTo>
                      <a:pt x="9" y="74"/>
                      <a:pt x="8" y="74"/>
                      <a:pt x="7" y="74"/>
                    </a:cubicBezTo>
                    <a:close/>
                    <a:moveTo>
                      <a:pt x="7" y="74"/>
                    </a:moveTo>
                    <a:cubicBezTo>
                      <a:pt x="7" y="74"/>
                      <a:pt x="7" y="74"/>
                      <a:pt x="7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7" name="Freeform 10"/>
              <p:cNvSpPr>
                <a:spLocks noEditPoints="1"/>
              </p:cNvSpPr>
              <p:nvPr/>
            </p:nvSpPr>
            <p:spPr bwMode="auto">
              <a:xfrm>
                <a:off x="3677" y="2071"/>
                <a:ext cx="269" cy="203"/>
              </a:xfrm>
              <a:custGeom>
                <a:avLst/>
                <a:gdLst>
                  <a:gd name="T0" fmla="*/ 7 w 150"/>
                  <a:gd name="T1" fmla="*/ 114 h 114"/>
                  <a:gd name="T2" fmla="*/ 1 w 150"/>
                  <a:gd name="T3" fmla="*/ 110 h 114"/>
                  <a:gd name="T4" fmla="*/ 4 w 150"/>
                  <a:gd name="T5" fmla="*/ 102 h 114"/>
                  <a:gd name="T6" fmla="*/ 82 w 150"/>
                  <a:gd name="T7" fmla="*/ 58 h 114"/>
                  <a:gd name="T8" fmla="*/ 138 w 150"/>
                  <a:gd name="T9" fmla="*/ 5 h 114"/>
                  <a:gd name="T10" fmla="*/ 146 w 150"/>
                  <a:gd name="T11" fmla="*/ 1 h 114"/>
                  <a:gd name="T12" fmla="*/ 149 w 150"/>
                  <a:gd name="T13" fmla="*/ 9 h 114"/>
                  <a:gd name="T14" fmla="*/ 89 w 150"/>
                  <a:gd name="T15" fmla="*/ 69 h 114"/>
                  <a:gd name="T16" fmla="*/ 9 w 150"/>
                  <a:gd name="T17" fmla="*/ 113 h 114"/>
                  <a:gd name="T18" fmla="*/ 7 w 150"/>
                  <a:gd name="T19" fmla="*/ 114 h 114"/>
                  <a:gd name="T20" fmla="*/ 7 w 150"/>
                  <a:gd name="T21" fmla="*/ 114 h 114"/>
                  <a:gd name="T22" fmla="*/ 7 w 150"/>
                  <a:gd name="T23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0" h="114">
                    <a:moveTo>
                      <a:pt x="7" y="114"/>
                    </a:moveTo>
                    <a:cubicBezTo>
                      <a:pt x="4" y="114"/>
                      <a:pt x="2" y="113"/>
                      <a:pt x="1" y="110"/>
                    </a:cubicBezTo>
                    <a:cubicBezTo>
                      <a:pt x="0" y="107"/>
                      <a:pt x="1" y="103"/>
                      <a:pt x="4" y="102"/>
                    </a:cubicBezTo>
                    <a:cubicBezTo>
                      <a:pt x="31" y="91"/>
                      <a:pt x="68" y="68"/>
                      <a:pt x="82" y="58"/>
                    </a:cubicBezTo>
                    <a:cubicBezTo>
                      <a:pt x="112" y="39"/>
                      <a:pt x="131" y="20"/>
                      <a:pt x="138" y="5"/>
                    </a:cubicBezTo>
                    <a:cubicBezTo>
                      <a:pt x="139" y="2"/>
                      <a:pt x="143" y="0"/>
                      <a:pt x="146" y="1"/>
                    </a:cubicBezTo>
                    <a:cubicBezTo>
                      <a:pt x="149" y="3"/>
                      <a:pt x="150" y="6"/>
                      <a:pt x="149" y="9"/>
                    </a:cubicBezTo>
                    <a:cubicBezTo>
                      <a:pt x="140" y="33"/>
                      <a:pt x="111" y="54"/>
                      <a:pt x="89" y="69"/>
                    </a:cubicBezTo>
                    <a:cubicBezTo>
                      <a:pt x="74" y="78"/>
                      <a:pt x="36" y="102"/>
                      <a:pt x="9" y="113"/>
                    </a:cubicBezTo>
                    <a:cubicBezTo>
                      <a:pt x="8" y="114"/>
                      <a:pt x="8" y="114"/>
                      <a:pt x="7" y="114"/>
                    </a:cubicBezTo>
                    <a:close/>
                    <a:moveTo>
                      <a:pt x="7" y="114"/>
                    </a:moveTo>
                    <a:cubicBezTo>
                      <a:pt x="7" y="114"/>
                      <a:pt x="7" y="114"/>
                      <a:pt x="7" y="1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8" name="Freeform 11"/>
              <p:cNvSpPr>
                <a:spLocks noEditPoints="1"/>
              </p:cNvSpPr>
              <p:nvPr/>
            </p:nvSpPr>
            <p:spPr bwMode="auto">
              <a:xfrm>
                <a:off x="3766" y="1946"/>
                <a:ext cx="112" cy="73"/>
              </a:xfrm>
              <a:custGeom>
                <a:avLst/>
                <a:gdLst>
                  <a:gd name="T0" fmla="*/ 15 w 62"/>
                  <a:gd name="T1" fmla="*/ 35 h 41"/>
                  <a:gd name="T2" fmla="*/ 33 w 62"/>
                  <a:gd name="T3" fmla="*/ 21 h 41"/>
                  <a:gd name="T4" fmla="*/ 56 w 62"/>
                  <a:gd name="T5" fmla="*/ 13 h 41"/>
                  <a:gd name="T6" fmla="*/ 62 w 62"/>
                  <a:gd name="T7" fmla="*/ 7 h 41"/>
                  <a:gd name="T8" fmla="*/ 56 w 62"/>
                  <a:gd name="T9" fmla="*/ 0 h 41"/>
                  <a:gd name="T10" fmla="*/ 6 w 62"/>
                  <a:gd name="T11" fmla="*/ 26 h 41"/>
                  <a:gd name="T12" fmla="*/ 15 w 62"/>
                  <a:gd name="T13" fmla="*/ 35 h 41"/>
                  <a:gd name="T14" fmla="*/ 15 w 62"/>
                  <a:gd name="T15" fmla="*/ 35 h 41"/>
                  <a:gd name="T16" fmla="*/ 15 w 62"/>
                  <a:gd name="T17" fmla="*/ 3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41">
                    <a:moveTo>
                      <a:pt x="15" y="35"/>
                    </a:moveTo>
                    <a:cubicBezTo>
                      <a:pt x="20" y="30"/>
                      <a:pt x="26" y="25"/>
                      <a:pt x="33" y="21"/>
                    </a:cubicBezTo>
                    <a:cubicBezTo>
                      <a:pt x="40" y="17"/>
                      <a:pt x="48" y="14"/>
                      <a:pt x="56" y="13"/>
                    </a:cubicBezTo>
                    <a:cubicBezTo>
                      <a:pt x="59" y="13"/>
                      <a:pt x="62" y="10"/>
                      <a:pt x="62" y="7"/>
                    </a:cubicBezTo>
                    <a:cubicBezTo>
                      <a:pt x="62" y="4"/>
                      <a:pt x="59" y="0"/>
                      <a:pt x="56" y="0"/>
                    </a:cubicBezTo>
                    <a:cubicBezTo>
                      <a:pt x="36" y="3"/>
                      <a:pt x="20" y="13"/>
                      <a:pt x="6" y="26"/>
                    </a:cubicBezTo>
                    <a:cubicBezTo>
                      <a:pt x="0" y="32"/>
                      <a:pt x="9" y="41"/>
                      <a:pt x="15" y="35"/>
                    </a:cubicBezTo>
                    <a:close/>
                    <a:moveTo>
                      <a:pt x="15" y="35"/>
                    </a:moveTo>
                    <a:cubicBezTo>
                      <a:pt x="15" y="35"/>
                      <a:pt x="15" y="35"/>
                      <a:pt x="15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9" name="Freeform 12"/>
              <p:cNvSpPr>
                <a:spLocks noEditPoints="1"/>
              </p:cNvSpPr>
              <p:nvPr/>
            </p:nvSpPr>
            <p:spPr bwMode="auto">
              <a:xfrm>
                <a:off x="3661" y="2023"/>
                <a:ext cx="105" cy="78"/>
              </a:xfrm>
              <a:custGeom>
                <a:avLst/>
                <a:gdLst>
                  <a:gd name="T0" fmla="*/ 8 w 59"/>
                  <a:gd name="T1" fmla="*/ 43 h 44"/>
                  <a:gd name="T2" fmla="*/ 32 w 59"/>
                  <a:gd name="T3" fmla="*/ 32 h 44"/>
                  <a:gd name="T4" fmla="*/ 54 w 59"/>
                  <a:gd name="T5" fmla="*/ 14 h 44"/>
                  <a:gd name="T6" fmla="*/ 45 w 59"/>
                  <a:gd name="T7" fmla="*/ 6 h 44"/>
                  <a:gd name="T8" fmla="*/ 26 w 59"/>
                  <a:gd name="T9" fmla="*/ 21 h 44"/>
                  <a:gd name="T10" fmla="*/ 5 w 59"/>
                  <a:gd name="T11" fmla="*/ 31 h 44"/>
                  <a:gd name="T12" fmla="*/ 1 w 59"/>
                  <a:gd name="T13" fmla="*/ 39 h 44"/>
                  <a:gd name="T14" fmla="*/ 8 w 59"/>
                  <a:gd name="T15" fmla="*/ 43 h 44"/>
                  <a:gd name="T16" fmla="*/ 8 w 59"/>
                  <a:gd name="T17" fmla="*/ 43 h 44"/>
                  <a:gd name="T18" fmla="*/ 8 w 59"/>
                  <a:gd name="T1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44">
                    <a:moveTo>
                      <a:pt x="8" y="43"/>
                    </a:moveTo>
                    <a:cubicBezTo>
                      <a:pt x="17" y="41"/>
                      <a:pt x="24" y="36"/>
                      <a:pt x="32" y="32"/>
                    </a:cubicBezTo>
                    <a:cubicBezTo>
                      <a:pt x="40" y="28"/>
                      <a:pt x="47" y="21"/>
                      <a:pt x="54" y="14"/>
                    </a:cubicBezTo>
                    <a:cubicBezTo>
                      <a:pt x="59" y="9"/>
                      <a:pt x="50" y="0"/>
                      <a:pt x="45" y="6"/>
                    </a:cubicBezTo>
                    <a:cubicBezTo>
                      <a:pt x="39" y="12"/>
                      <a:pt x="33" y="17"/>
                      <a:pt x="26" y="21"/>
                    </a:cubicBezTo>
                    <a:cubicBezTo>
                      <a:pt x="19" y="25"/>
                      <a:pt x="12" y="29"/>
                      <a:pt x="5" y="31"/>
                    </a:cubicBezTo>
                    <a:cubicBezTo>
                      <a:pt x="2" y="32"/>
                      <a:pt x="0" y="36"/>
                      <a:pt x="1" y="39"/>
                    </a:cubicBezTo>
                    <a:cubicBezTo>
                      <a:pt x="1" y="42"/>
                      <a:pt x="5" y="44"/>
                      <a:pt x="8" y="43"/>
                    </a:cubicBezTo>
                    <a:close/>
                    <a:moveTo>
                      <a:pt x="8" y="43"/>
                    </a:moveTo>
                    <a:cubicBezTo>
                      <a:pt x="8" y="43"/>
                      <a:pt x="8" y="43"/>
                      <a:pt x="8" y="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0" name="Freeform 13"/>
              <p:cNvSpPr>
                <a:spLocks noEditPoints="1"/>
              </p:cNvSpPr>
              <p:nvPr/>
            </p:nvSpPr>
            <p:spPr bwMode="auto">
              <a:xfrm>
                <a:off x="3824" y="2046"/>
                <a:ext cx="75" cy="78"/>
              </a:xfrm>
              <a:custGeom>
                <a:avLst/>
                <a:gdLst>
                  <a:gd name="T0" fmla="*/ 7 w 42"/>
                  <a:gd name="T1" fmla="*/ 44 h 44"/>
                  <a:gd name="T2" fmla="*/ 3 w 42"/>
                  <a:gd name="T3" fmla="*/ 42 h 44"/>
                  <a:gd name="T4" fmla="*/ 3 w 42"/>
                  <a:gd name="T5" fmla="*/ 33 h 44"/>
                  <a:gd name="T6" fmla="*/ 30 w 42"/>
                  <a:gd name="T7" fmla="*/ 4 h 44"/>
                  <a:gd name="T8" fmla="*/ 39 w 42"/>
                  <a:gd name="T9" fmla="*/ 2 h 44"/>
                  <a:gd name="T10" fmla="*/ 40 w 42"/>
                  <a:gd name="T11" fmla="*/ 11 h 44"/>
                  <a:gd name="T12" fmla="*/ 11 w 42"/>
                  <a:gd name="T13" fmla="*/ 43 h 44"/>
                  <a:gd name="T14" fmla="*/ 7 w 42"/>
                  <a:gd name="T15" fmla="*/ 44 h 44"/>
                  <a:gd name="T16" fmla="*/ 7 w 42"/>
                  <a:gd name="T17" fmla="*/ 44 h 44"/>
                  <a:gd name="T18" fmla="*/ 7 w 42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" h="44">
                    <a:moveTo>
                      <a:pt x="7" y="44"/>
                    </a:moveTo>
                    <a:cubicBezTo>
                      <a:pt x="6" y="44"/>
                      <a:pt x="4" y="44"/>
                      <a:pt x="3" y="42"/>
                    </a:cubicBezTo>
                    <a:cubicBezTo>
                      <a:pt x="0" y="40"/>
                      <a:pt x="1" y="36"/>
                      <a:pt x="3" y="33"/>
                    </a:cubicBezTo>
                    <a:cubicBezTo>
                      <a:pt x="14" y="24"/>
                      <a:pt x="23" y="14"/>
                      <a:pt x="30" y="4"/>
                    </a:cubicBezTo>
                    <a:cubicBezTo>
                      <a:pt x="32" y="1"/>
                      <a:pt x="36" y="0"/>
                      <a:pt x="39" y="2"/>
                    </a:cubicBezTo>
                    <a:cubicBezTo>
                      <a:pt x="42" y="4"/>
                      <a:pt x="42" y="8"/>
                      <a:pt x="40" y="11"/>
                    </a:cubicBezTo>
                    <a:cubicBezTo>
                      <a:pt x="33" y="22"/>
                      <a:pt x="23" y="33"/>
                      <a:pt x="11" y="43"/>
                    </a:cubicBezTo>
                    <a:cubicBezTo>
                      <a:pt x="10" y="44"/>
                      <a:pt x="9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1" name="Freeform 14"/>
              <p:cNvSpPr>
                <a:spLocks noEditPoints="1"/>
              </p:cNvSpPr>
              <p:nvPr/>
            </p:nvSpPr>
            <p:spPr bwMode="auto">
              <a:xfrm>
                <a:off x="3662" y="2139"/>
                <a:ext cx="139" cy="78"/>
              </a:xfrm>
              <a:custGeom>
                <a:avLst/>
                <a:gdLst>
                  <a:gd name="T0" fmla="*/ 7 w 77"/>
                  <a:gd name="T1" fmla="*/ 44 h 44"/>
                  <a:gd name="T2" fmla="*/ 1 w 77"/>
                  <a:gd name="T3" fmla="*/ 40 h 44"/>
                  <a:gd name="T4" fmla="*/ 5 w 77"/>
                  <a:gd name="T5" fmla="*/ 32 h 44"/>
                  <a:gd name="T6" fmla="*/ 5 w 77"/>
                  <a:gd name="T7" fmla="*/ 32 h 44"/>
                  <a:gd name="T8" fmla="*/ 47 w 77"/>
                  <a:gd name="T9" fmla="*/ 13 h 44"/>
                  <a:gd name="T10" fmla="*/ 67 w 77"/>
                  <a:gd name="T11" fmla="*/ 1 h 44"/>
                  <a:gd name="T12" fmla="*/ 75 w 77"/>
                  <a:gd name="T13" fmla="*/ 3 h 44"/>
                  <a:gd name="T14" fmla="*/ 74 w 77"/>
                  <a:gd name="T15" fmla="*/ 12 h 44"/>
                  <a:gd name="T16" fmla="*/ 53 w 77"/>
                  <a:gd name="T17" fmla="*/ 24 h 44"/>
                  <a:gd name="T18" fmla="*/ 9 w 77"/>
                  <a:gd name="T19" fmla="*/ 44 h 44"/>
                  <a:gd name="T20" fmla="*/ 9 w 77"/>
                  <a:gd name="T21" fmla="*/ 44 h 44"/>
                  <a:gd name="T22" fmla="*/ 7 w 77"/>
                  <a:gd name="T23" fmla="*/ 44 h 44"/>
                  <a:gd name="T24" fmla="*/ 7 w 77"/>
                  <a:gd name="T25" fmla="*/ 44 h 44"/>
                  <a:gd name="T26" fmla="*/ 7 w 77"/>
                  <a:gd name="T2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7" h="44">
                    <a:moveTo>
                      <a:pt x="7" y="44"/>
                    </a:moveTo>
                    <a:cubicBezTo>
                      <a:pt x="4" y="44"/>
                      <a:pt x="2" y="43"/>
                      <a:pt x="1" y="40"/>
                    </a:cubicBezTo>
                    <a:cubicBezTo>
                      <a:pt x="0" y="37"/>
                      <a:pt x="2" y="33"/>
                      <a:pt x="5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11" y="30"/>
                      <a:pt x="28" y="24"/>
                      <a:pt x="47" y="13"/>
                    </a:cubicBezTo>
                    <a:cubicBezTo>
                      <a:pt x="54" y="9"/>
                      <a:pt x="61" y="5"/>
                      <a:pt x="67" y="1"/>
                    </a:cubicBezTo>
                    <a:cubicBezTo>
                      <a:pt x="70" y="0"/>
                      <a:pt x="73" y="0"/>
                      <a:pt x="75" y="3"/>
                    </a:cubicBezTo>
                    <a:cubicBezTo>
                      <a:pt x="77" y="6"/>
                      <a:pt x="76" y="10"/>
                      <a:pt x="74" y="12"/>
                    </a:cubicBezTo>
                    <a:cubicBezTo>
                      <a:pt x="67" y="16"/>
                      <a:pt x="60" y="20"/>
                      <a:pt x="53" y="24"/>
                    </a:cubicBezTo>
                    <a:cubicBezTo>
                      <a:pt x="33" y="35"/>
                      <a:pt x="16" y="41"/>
                      <a:pt x="9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8" y="44"/>
                      <a:pt x="8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2" name="Freeform 15"/>
              <p:cNvSpPr>
                <a:spLocks noEditPoints="1"/>
              </p:cNvSpPr>
              <p:nvPr/>
            </p:nvSpPr>
            <p:spPr bwMode="auto">
              <a:xfrm>
                <a:off x="3801" y="2215"/>
                <a:ext cx="190" cy="89"/>
              </a:xfrm>
              <a:custGeom>
                <a:avLst/>
                <a:gdLst>
                  <a:gd name="T0" fmla="*/ 99 w 106"/>
                  <a:gd name="T1" fmla="*/ 50 h 50"/>
                  <a:gd name="T2" fmla="*/ 97 w 106"/>
                  <a:gd name="T3" fmla="*/ 49 h 50"/>
                  <a:gd name="T4" fmla="*/ 64 w 106"/>
                  <a:gd name="T5" fmla="*/ 30 h 50"/>
                  <a:gd name="T6" fmla="*/ 36 w 106"/>
                  <a:gd name="T7" fmla="*/ 14 h 50"/>
                  <a:gd name="T8" fmla="*/ 10 w 106"/>
                  <a:gd name="T9" fmla="*/ 29 h 50"/>
                  <a:gd name="T10" fmla="*/ 1 w 106"/>
                  <a:gd name="T11" fmla="*/ 27 h 50"/>
                  <a:gd name="T12" fmla="*/ 3 w 106"/>
                  <a:gd name="T13" fmla="*/ 18 h 50"/>
                  <a:gd name="T14" fmla="*/ 34 w 106"/>
                  <a:gd name="T15" fmla="*/ 2 h 50"/>
                  <a:gd name="T16" fmla="*/ 71 w 106"/>
                  <a:gd name="T17" fmla="*/ 20 h 50"/>
                  <a:gd name="T18" fmla="*/ 101 w 106"/>
                  <a:gd name="T19" fmla="*/ 37 h 50"/>
                  <a:gd name="T20" fmla="*/ 105 w 106"/>
                  <a:gd name="T21" fmla="*/ 45 h 50"/>
                  <a:gd name="T22" fmla="*/ 99 w 106"/>
                  <a:gd name="T23" fmla="*/ 50 h 50"/>
                  <a:gd name="T24" fmla="*/ 99 w 106"/>
                  <a:gd name="T25" fmla="*/ 50 h 50"/>
                  <a:gd name="T26" fmla="*/ 99 w 106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6" h="50">
                    <a:moveTo>
                      <a:pt x="99" y="50"/>
                    </a:moveTo>
                    <a:cubicBezTo>
                      <a:pt x="98" y="50"/>
                      <a:pt x="97" y="49"/>
                      <a:pt x="97" y="49"/>
                    </a:cubicBezTo>
                    <a:cubicBezTo>
                      <a:pt x="86" y="46"/>
                      <a:pt x="75" y="38"/>
                      <a:pt x="64" y="30"/>
                    </a:cubicBezTo>
                    <a:cubicBezTo>
                      <a:pt x="54" y="23"/>
                      <a:pt x="41" y="13"/>
                      <a:pt x="36" y="14"/>
                    </a:cubicBezTo>
                    <a:cubicBezTo>
                      <a:pt x="31" y="15"/>
                      <a:pt x="15" y="25"/>
                      <a:pt x="10" y="29"/>
                    </a:cubicBezTo>
                    <a:cubicBezTo>
                      <a:pt x="7" y="30"/>
                      <a:pt x="3" y="30"/>
                      <a:pt x="1" y="27"/>
                    </a:cubicBezTo>
                    <a:cubicBezTo>
                      <a:pt x="0" y="24"/>
                      <a:pt x="0" y="20"/>
                      <a:pt x="3" y="18"/>
                    </a:cubicBezTo>
                    <a:cubicBezTo>
                      <a:pt x="20" y="8"/>
                      <a:pt x="28" y="3"/>
                      <a:pt x="34" y="2"/>
                    </a:cubicBezTo>
                    <a:cubicBezTo>
                      <a:pt x="44" y="0"/>
                      <a:pt x="57" y="9"/>
                      <a:pt x="71" y="20"/>
                    </a:cubicBezTo>
                    <a:cubicBezTo>
                      <a:pt x="82" y="27"/>
                      <a:pt x="92" y="35"/>
                      <a:pt x="101" y="37"/>
                    </a:cubicBezTo>
                    <a:cubicBezTo>
                      <a:pt x="104" y="39"/>
                      <a:pt x="106" y="42"/>
                      <a:pt x="105" y="45"/>
                    </a:cubicBezTo>
                    <a:cubicBezTo>
                      <a:pt x="104" y="48"/>
                      <a:pt x="101" y="50"/>
                      <a:pt x="99" y="50"/>
                    </a:cubicBezTo>
                    <a:close/>
                    <a:moveTo>
                      <a:pt x="99" y="50"/>
                    </a:moveTo>
                    <a:cubicBezTo>
                      <a:pt x="99" y="50"/>
                      <a:pt x="99" y="50"/>
                      <a:pt x="99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3" name="Freeform 16"/>
              <p:cNvSpPr>
                <a:spLocks noEditPoints="1"/>
              </p:cNvSpPr>
              <p:nvPr/>
            </p:nvSpPr>
            <p:spPr bwMode="auto">
              <a:xfrm>
                <a:off x="3702" y="2260"/>
                <a:ext cx="100" cy="66"/>
              </a:xfrm>
              <a:custGeom>
                <a:avLst/>
                <a:gdLst>
                  <a:gd name="T0" fmla="*/ 7 w 56"/>
                  <a:gd name="T1" fmla="*/ 37 h 37"/>
                  <a:gd name="T2" fmla="*/ 1 w 56"/>
                  <a:gd name="T3" fmla="*/ 33 h 37"/>
                  <a:gd name="T4" fmla="*/ 5 w 56"/>
                  <a:gd name="T5" fmla="*/ 25 h 37"/>
                  <a:gd name="T6" fmla="*/ 45 w 56"/>
                  <a:gd name="T7" fmla="*/ 2 h 37"/>
                  <a:gd name="T8" fmla="*/ 54 w 56"/>
                  <a:gd name="T9" fmla="*/ 4 h 37"/>
                  <a:gd name="T10" fmla="*/ 52 w 56"/>
                  <a:gd name="T11" fmla="*/ 12 h 37"/>
                  <a:gd name="T12" fmla="*/ 9 w 56"/>
                  <a:gd name="T13" fmla="*/ 37 h 37"/>
                  <a:gd name="T14" fmla="*/ 7 w 56"/>
                  <a:gd name="T15" fmla="*/ 37 h 37"/>
                  <a:gd name="T16" fmla="*/ 7 w 56"/>
                  <a:gd name="T17" fmla="*/ 37 h 37"/>
                  <a:gd name="T18" fmla="*/ 7 w 56"/>
                  <a:gd name="T1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37">
                    <a:moveTo>
                      <a:pt x="7" y="37"/>
                    </a:moveTo>
                    <a:cubicBezTo>
                      <a:pt x="4" y="37"/>
                      <a:pt x="2" y="35"/>
                      <a:pt x="1" y="33"/>
                    </a:cubicBezTo>
                    <a:cubicBezTo>
                      <a:pt x="0" y="29"/>
                      <a:pt x="2" y="26"/>
                      <a:pt x="5" y="25"/>
                    </a:cubicBezTo>
                    <a:cubicBezTo>
                      <a:pt x="13" y="23"/>
                      <a:pt x="31" y="11"/>
                      <a:pt x="45" y="2"/>
                    </a:cubicBezTo>
                    <a:cubicBezTo>
                      <a:pt x="48" y="0"/>
                      <a:pt x="52" y="1"/>
                      <a:pt x="54" y="4"/>
                    </a:cubicBezTo>
                    <a:cubicBezTo>
                      <a:pt x="56" y="6"/>
                      <a:pt x="55" y="10"/>
                      <a:pt x="52" y="12"/>
                    </a:cubicBezTo>
                    <a:cubicBezTo>
                      <a:pt x="32" y="25"/>
                      <a:pt x="17" y="35"/>
                      <a:pt x="9" y="37"/>
                    </a:cubicBezTo>
                    <a:cubicBezTo>
                      <a:pt x="8" y="37"/>
                      <a:pt x="7" y="37"/>
                      <a:pt x="7" y="37"/>
                    </a:cubicBezTo>
                    <a:close/>
                    <a:moveTo>
                      <a:pt x="7" y="37"/>
                    </a:moveTo>
                    <a:cubicBezTo>
                      <a:pt x="7" y="37"/>
                      <a:pt x="7" y="37"/>
                      <a:pt x="7" y="3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4" name="Freeform 17"/>
              <p:cNvSpPr>
                <a:spLocks noEditPoints="1"/>
              </p:cNvSpPr>
              <p:nvPr/>
            </p:nvSpPr>
            <p:spPr bwMode="auto">
              <a:xfrm>
                <a:off x="3906" y="2319"/>
                <a:ext cx="56" cy="39"/>
              </a:xfrm>
              <a:custGeom>
                <a:avLst/>
                <a:gdLst>
                  <a:gd name="T0" fmla="*/ 24 w 31"/>
                  <a:gd name="T1" fmla="*/ 22 h 22"/>
                  <a:gd name="T2" fmla="*/ 22 w 31"/>
                  <a:gd name="T3" fmla="*/ 21 h 22"/>
                  <a:gd name="T4" fmla="*/ 4 w 31"/>
                  <a:gd name="T5" fmla="*/ 12 h 22"/>
                  <a:gd name="T6" fmla="*/ 2 w 31"/>
                  <a:gd name="T7" fmla="*/ 4 h 22"/>
                  <a:gd name="T8" fmla="*/ 11 w 31"/>
                  <a:gd name="T9" fmla="*/ 1 h 22"/>
                  <a:gd name="T10" fmla="*/ 26 w 31"/>
                  <a:gd name="T11" fmla="*/ 10 h 22"/>
                  <a:gd name="T12" fmla="*/ 30 w 31"/>
                  <a:gd name="T13" fmla="*/ 18 h 22"/>
                  <a:gd name="T14" fmla="*/ 24 w 31"/>
                  <a:gd name="T15" fmla="*/ 22 h 22"/>
                  <a:gd name="T16" fmla="*/ 24 w 31"/>
                  <a:gd name="T17" fmla="*/ 22 h 22"/>
                  <a:gd name="T18" fmla="*/ 24 w 31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22">
                    <a:moveTo>
                      <a:pt x="24" y="22"/>
                    </a:moveTo>
                    <a:cubicBezTo>
                      <a:pt x="23" y="22"/>
                      <a:pt x="23" y="22"/>
                      <a:pt x="22" y="21"/>
                    </a:cubicBezTo>
                    <a:cubicBezTo>
                      <a:pt x="17" y="20"/>
                      <a:pt x="10" y="16"/>
                      <a:pt x="4" y="12"/>
                    </a:cubicBezTo>
                    <a:cubicBezTo>
                      <a:pt x="1" y="10"/>
                      <a:pt x="0" y="6"/>
                      <a:pt x="2" y="4"/>
                    </a:cubicBezTo>
                    <a:cubicBezTo>
                      <a:pt x="4" y="1"/>
                      <a:pt x="8" y="0"/>
                      <a:pt x="11" y="1"/>
                    </a:cubicBezTo>
                    <a:cubicBezTo>
                      <a:pt x="16" y="5"/>
                      <a:pt x="22" y="8"/>
                      <a:pt x="26" y="10"/>
                    </a:cubicBezTo>
                    <a:cubicBezTo>
                      <a:pt x="29" y="11"/>
                      <a:pt x="31" y="15"/>
                      <a:pt x="30" y="18"/>
                    </a:cubicBezTo>
                    <a:cubicBezTo>
                      <a:pt x="29" y="20"/>
                      <a:pt x="27" y="22"/>
                      <a:pt x="24" y="22"/>
                    </a:cubicBezTo>
                    <a:close/>
                    <a:moveTo>
                      <a:pt x="24" y="22"/>
                    </a:moveTo>
                    <a:cubicBezTo>
                      <a:pt x="24" y="22"/>
                      <a:pt x="24" y="22"/>
                      <a:pt x="24" y="2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5" name="Freeform 18"/>
              <p:cNvSpPr>
                <a:spLocks noEditPoints="1"/>
              </p:cNvSpPr>
              <p:nvPr/>
            </p:nvSpPr>
            <p:spPr bwMode="auto">
              <a:xfrm>
                <a:off x="3741" y="2287"/>
                <a:ext cx="165" cy="89"/>
              </a:xfrm>
              <a:custGeom>
                <a:avLst/>
                <a:gdLst>
                  <a:gd name="T0" fmla="*/ 7 w 92"/>
                  <a:gd name="T1" fmla="*/ 50 h 50"/>
                  <a:gd name="T2" fmla="*/ 2 w 92"/>
                  <a:gd name="T3" fmla="*/ 47 h 50"/>
                  <a:gd name="T4" fmla="*/ 4 w 92"/>
                  <a:gd name="T5" fmla="*/ 39 h 50"/>
                  <a:gd name="T6" fmla="*/ 12 w 92"/>
                  <a:gd name="T7" fmla="*/ 33 h 50"/>
                  <a:gd name="T8" fmla="*/ 63 w 92"/>
                  <a:gd name="T9" fmla="*/ 1 h 50"/>
                  <a:gd name="T10" fmla="*/ 88 w 92"/>
                  <a:gd name="T11" fmla="*/ 10 h 50"/>
                  <a:gd name="T12" fmla="*/ 90 w 92"/>
                  <a:gd name="T13" fmla="*/ 19 h 50"/>
                  <a:gd name="T14" fmla="*/ 81 w 92"/>
                  <a:gd name="T15" fmla="*/ 21 h 50"/>
                  <a:gd name="T16" fmla="*/ 65 w 92"/>
                  <a:gd name="T17" fmla="*/ 13 h 50"/>
                  <a:gd name="T18" fmla="*/ 19 w 92"/>
                  <a:gd name="T19" fmla="*/ 43 h 50"/>
                  <a:gd name="T20" fmla="*/ 11 w 92"/>
                  <a:gd name="T21" fmla="*/ 49 h 50"/>
                  <a:gd name="T22" fmla="*/ 7 w 92"/>
                  <a:gd name="T23" fmla="*/ 50 h 50"/>
                  <a:gd name="T24" fmla="*/ 7 w 92"/>
                  <a:gd name="T25" fmla="*/ 50 h 50"/>
                  <a:gd name="T26" fmla="*/ 7 w 92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50">
                    <a:moveTo>
                      <a:pt x="7" y="50"/>
                    </a:moveTo>
                    <a:cubicBezTo>
                      <a:pt x="5" y="50"/>
                      <a:pt x="3" y="49"/>
                      <a:pt x="2" y="47"/>
                    </a:cubicBezTo>
                    <a:cubicBezTo>
                      <a:pt x="0" y="45"/>
                      <a:pt x="1" y="41"/>
                      <a:pt x="4" y="39"/>
                    </a:cubicBezTo>
                    <a:cubicBezTo>
                      <a:pt x="6" y="37"/>
                      <a:pt x="9" y="35"/>
                      <a:pt x="12" y="33"/>
                    </a:cubicBezTo>
                    <a:cubicBezTo>
                      <a:pt x="39" y="13"/>
                      <a:pt x="55" y="2"/>
                      <a:pt x="63" y="1"/>
                    </a:cubicBezTo>
                    <a:cubicBezTo>
                      <a:pt x="68" y="0"/>
                      <a:pt x="75" y="3"/>
                      <a:pt x="88" y="10"/>
                    </a:cubicBezTo>
                    <a:cubicBezTo>
                      <a:pt x="91" y="12"/>
                      <a:pt x="92" y="16"/>
                      <a:pt x="90" y="19"/>
                    </a:cubicBezTo>
                    <a:cubicBezTo>
                      <a:pt x="88" y="22"/>
                      <a:pt x="84" y="23"/>
                      <a:pt x="81" y="21"/>
                    </a:cubicBezTo>
                    <a:cubicBezTo>
                      <a:pt x="69" y="14"/>
                      <a:pt x="66" y="13"/>
                      <a:pt x="65" y="13"/>
                    </a:cubicBezTo>
                    <a:cubicBezTo>
                      <a:pt x="58" y="14"/>
                      <a:pt x="30" y="35"/>
                      <a:pt x="19" y="43"/>
                    </a:cubicBezTo>
                    <a:cubicBezTo>
                      <a:pt x="16" y="45"/>
                      <a:pt x="13" y="48"/>
                      <a:pt x="11" y="49"/>
                    </a:cubicBezTo>
                    <a:cubicBezTo>
                      <a:pt x="10" y="50"/>
                      <a:pt x="9" y="50"/>
                      <a:pt x="7" y="50"/>
                    </a:cubicBezTo>
                    <a:close/>
                    <a:moveTo>
                      <a:pt x="7" y="50"/>
                    </a:moveTo>
                    <a:cubicBezTo>
                      <a:pt x="7" y="50"/>
                      <a:pt x="7" y="50"/>
                      <a:pt x="7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6" name="Freeform 20"/>
              <p:cNvSpPr>
                <a:spLocks noEditPoints="1"/>
              </p:cNvSpPr>
              <p:nvPr/>
            </p:nvSpPr>
            <p:spPr bwMode="auto">
              <a:xfrm>
                <a:off x="3949" y="2108"/>
                <a:ext cx="72" cy="77"/>
              </a:xfrm>
              <a:custGeom>
                <a:avLst/>
                <a:gdLst>
                  <a:gd name="T0" fmla="*/ 1 w 40"/>
                  <a:gd name="T1" fmla="*/ 11 h 43"/>
                  <a:gd name="T2" fmla="*/ 30 w 40"/>
                  <a:gd name="T3" fmla="*/ 41 h 43"/>
                  <a:gd name="T4" fmla="*/ 38 w 40"/>
                  <a:gd name="T5" fmla="*/ 39 h 43"/>
                  <a:gd name="T6" fmla="*/ 36 w 40"/>
                  <a:gd name="T7" fmla="*/ 31 h 43"/>
                  <a:gd name="T8" fmla="*/ 21 w 40"/>
                  <a:gd name="T9" fmla="*/ 23 h 43"/>
                  <a:gd name="T10" fmla="*/ 13 w 40"/>
                  <a:gd name="T11" fmla="*/ 7 h 43"/>
                  <a:gd name="T12" fmla="*/ 1 w 40"/>
                  <a:gd name="T13" fmla="*/ 11 h 43"/>
                  <a:gd name="T14" fmla="*/ 1 w 40"/>
                  <a:gd name="T15" fmla="*/ 11 h 43"/>
                  <a:gd name="T16" fmla="*/ 1 w 40"/>
                  <a:gd name="T17" fmla="*/ 1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43">
                    <a:moveTo>
                      <a:pt x="1" y="11"/>
                    </a:moveTo>
                    <a:cubicBezTo>
                      <a:pt x="4" y="27"/>
                      <a:pt x="15" y="36"/>
                      <a:pt x="30" y="41"/>
                    </a:cubicBezTo>
                    <a:cubicBezTo>
                      <a:pt x="33" y="43"/>
                      <a:pt x="36" y="42"/>
                      <a:pt x="38" y="39"/>
                    </a:cubicBezTo>
                    <a:cubicBezTo>
                      <a:pt x="40" y="37"/>
                      <a:pt x="39" y="32"/>
                      <a:pt x="36" y="31"/>
                    </a:cubicBezTo>
                    <a:cubicBezTo>
                      <a:pt x="31" y="29"/>
                      <a:pt x="25" y="26"/>
                      <a:pt x="21" y="23"/>
                    </a:cubicBezTo>
                    <a:cubicBezTo>
                      <a:pt x="16" y="19"/>
                      <a:pt x="14" y="13"/>
                      <a:pt x="13" y="7"/>
                    </a:cubicBezTo>
                    <a:cubicBezTo>
                      <a:pt x="12" y="0"/>
                      <a:pt x="0" y="3"/>
                      <a:pt x="1" y="11"/>
                    </a:cubicBezTo>
                    <a:close/>
                    <a:moveTo>
                      <a:pt x="1" y="11"/>
                    </a:moveTo>
                    <a:cubicBezTo>
                      <a:pt x="1" y="11"/>
                      <a:pt x="1" y="11"/>
                      <a:pt x="1" y="1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7" name="Freeform 21"/>
              <p:cNvSpPr>
                <a:spLocks noEditPoints="1"/>
              </p:cNvSpPr>
              <p:nvPr/>
            </p:nvSpPr>
            <p:spPr bwMode="auto">
              <a:xfrm>
                <a:off x="3906" y="2160"/>
                <a:ext cx="99" cy="86"/>
              </a:xfrm>
              <a:custGeom>
                <a:avLst/>
                <a:gdLst>
                  <a:gd name="T0" fmla="*/ 1 w 55"/>
                  <a:gd name="T1" fmla="*/ 8 h 48"/>
                  <a:gd name="T2" fmla="*/ 44 w 55"/>
                  <a:gd name="T3" fmla="*/ 46 h 48"/>
                  <a:gd name="T4" fmla="*/ 48 w 55"/>
                  <a:gd name="T5" fmla="*/ 34 h 48"/>
                  <a:gd name="T6" fmla="*/ 35 w 55"/>
                  <a:gd name="T7" fmla="*/ 28 h 48"/>
                  <a:gd name="T8" fmla="*/ 13 w 55"/>
                  <a:gd name="T9" fmla="*/ 5 h 48"/>
                  <a:gd name="T10" fmla="*/ 6 w 55"/>
                  <a:gd name="T11" fmla="*/ 1 h 48"/>
                  <a:gd name="T12" fmla="*/ 1 w 55"/>
                  <a:gd name="T13" fmla="*/ 8 h 48"/>
                  <a:gd name="T14" fmla="*/ 1 w 55"/>
                  <a:gd name="T15" fmla="*/ 8 h 48"/>
                  <a:gd name="T16" fmla="*/ 1 w 55"/>
                  <a:gd name="T17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48">
                    <a:moveTo>
                      <a:pt x="1" y="8"/>
                    </a:moveTo>
                    <a:cubicBezTo>
                      <a:pt x="9" y="27"/>
                      <a:pt x="26" y="40"/>
                      <a:pt x="44" y="46"/>
                    </a:cubicBezTo>
                    <a:cubicBezTo>
                      <a:pt x="52" y="48"/>
                      <a:pt x="55" y="36"/>
                      <a:pt x="48" y="34"/>
                    </a:cubicBezTo>
                    <a:cubicBezTo>
                      <a:pt x="43" y="33"/>
                      <a:pt x="40" y="31"/>
                      <a:pt x="35" y="28"/>
                    </a:cubicBezTo>
                    <a:cubicBezTo>
                      <a:pt x="26" y="23"/>
                      <a:pt x="17" y="15"/>
                      <a:pt x="13" y="5"/>
                    </a:cubicBezTo>
                    <a:cubicBezTo>
                      <a:pt x="12" y="2"/>
                      <a:pt x="9" y="0"/>
                      <a:pt x="6" y="1"/>
                    </a:cubicBezTo>
                    <a:cubicBezTo>
                      <a:pt x="3" y="2"/>
                      <a:pt x="0" y="5"/>
                      <a:pt x="1" y="8"/>
                    </a:cubicBezTo>
                    <a:close/>
                    <a:moveTo>
                      <a:pt x="1" y="8"/>
                    </a:moveTo>
                    <a:cubicBezTo>
                      <a:pt x="1" y="8"/>
                      <a:pt x="1" y="8"/>
                      <a:pt x="1" y="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</p:grpSp>
        <p:grpSp>
          <p:nvGrpSpPr>
            <p:cNvPr id="22" name="Group 15"/>
            <p:cNvGrpSpPr>
              <a:grpSpLocks noChangeAspect="1"/>
            </p:cNvGrpSpPr>
            <p:nvPr userDrawn="1"/>
          </p:nvGrpSpPr>
          <p:grpSpPr bwMode="auto">
            <a:xfrm>
              <a:off x="702225" y="267251"/>
              <a:ext cx="94846" cy="95277"/>
              <a:chOff x="4843" y="2141"/>
              <a:chExt cx="220" cy="22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25" name="Freeform 16"/>
              <p:cNvSpPr>
                <a:spLocks/>
              </p:cNvSpPr>
              <p:nvPr/>
            </p:nvSpPr>
            <p:spPr bwMode="auto">
              <a:xfrm>
                <a:off x="4843" y="2298"/>
                <a:ext cx="184" cy="64"/>
              </a:xfrm>
              <a:custGeom>
                <a:avLst/>
                <a:gdLst>
                  <a:gd name="T0" fmla="*/ 584 w 1371"/>
                  <a:gd name="T1" fmla="*/ 473 h 473"/>
                  <a:gd name="T2" fmla="*/ 489 w 1371"/>
                  <a:gd name="T3" fmla="*/ 464 h 473"/>
                  <a:gd name="T4" fmla="*/ 142 w 1371"/>
                  <a:gd name="T5" fmla="*/ 375 h 473"/>
                  <a:gd name="T6" fmla="*/ 18 w 1371"/>
                  <a:gd name="T7" fmla="*/ 273 h 473"/>
                  <a:gd name="T8" fmla="*/ 0 w 1371"/>
                  <a:gd name="T9" fmla="*/ 213 h 473"/>
                  <a:gd name="T10" fmla="*/ 0 w 1371"/>
                  <a:gd name="T11" fmla="*/ 17 h 473"/>
                  <a:gd name="T12" fmla="*/ 13 w 1371"/>
                  <a:gd name="T13" fmla="*/ 8 h 473"/>
                  <a:gd name="T14" fmla="*/ 285 w 1371"/>
                  <a:gd name="T15" fmla="*/ 107 h 473"/>
                  <a:gd name="T16" fmla="*/ 769 w 1371"/>
                  <a:gd name="T17" fmla="*/ 141 h 473"/>
                  <a:gd name="T18" fmla="*/ 1176 w 1371"/>
                  <a:gd name="T19" fmla="*/ 85 h 473"/>
                  <a:gd name="T20" fmla="*/ 1352 w 1371"/>
                  <a:gd name="T21" fmla="*/ 10 h 473"/>
                  <a:gd name="T22" fmla="*/ 1365 w 1371"/>
                  <a:gd name="T23" fmla="*/ 5 h 473"/>
                  <a:gd name="T24" fmla="*/ 1369 w 1371"/>
                  <a:gd name="T25" fmla="*/ 20 h 473"/>
                  <a:gd name="T26" fmla="*/ 1369 w 1371"/>
                  <a:gd name="T27" fmla="*/ 218 h 473"/>
                  <a:gd name="T28" fmla="*/ 1333 w 1371"/>
                  <a:gd name="T29" fmla="*/ 298 h 473"/>
                  <a:gd name="T30" fmla="*/ 1178 w 1371"/>
                  <a:gd name="T31" fmla="*/ 396 h 473"/>
                  <a:gd name="T32" fmla="*/ 876 w 1371"/>
                  <a:gd name="T33" fmla="*/ 464 h 473"/>
                  <a:gd name="T34" fmla="*/ 786 w 1371"/>
                  <a:gd name="T35" fmla="*/ 473 h 473"/>
                  <a:gd name="T36" fmla="*/ 584 w 1371"/>
                  <a:gd name="T37" fmla="*/ 473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71" h="473">
                    <a:moveTo>
                      <a:pt x="584" y="473"/>
                    </a:moveTo>
                    <a:cubicBezTo>
                      <a:pt x="552" y="470"/>
                      <a:pt x="520" y="467"/>
                      <a:pt x="489" y="464"/>
                    </a:cubicBezTo>
                    <a:cubicBezTo>
                      <a:pt x="369" y="450"/>
                      <a:pt x="252" y="427"/>
                      <a:pt x="142" y="375"/>
                    </a:cubicBezTo>
                    <a:cubicBezTo>
                      <a:pt x="93" y="351"/>
                      <a:pt x="47" y="322"/>
                      <a:pt x="18" y="273"/>
                    </a:cubicBezTo>
                    <a:cubicBezTo>
                      <a:pt x="7" y="255"/>
                      <a:pt x="0" y="235"/>
                      <a:pt x="0" y="213"/>
                    </a:cubicBezTo>
                    <a:cubicBezTo>
                      <a:pt x="1" y="148"/>
                      <a:pt x="1" y="82"/>
                      <a:pt x="0" y="17"/>
                    </a:cubicBezTo>
                    <a:cubicBezTo>
                      <a:pt x="0" y="8"/>
                      <a:pt x="1" y="0"/>
                      <a:pt x="13" y="8"/>
                    </a:cubicBezTo>
                    <a:cubicBezTo>
                      <a:pt x="97" y="61"/>
                      <a:pt x="190" y="87"/>
                      <a:pt x="285" y="107"/>
                    </a:cubicBezTo>
                    <a:cubicBezTo>
                      <a:pt x="445" y="140"/>
                      <a:pt x="607" y="146"/>
                      <a:pt x="769" y="141"/>
                    </a:cubicBezTo>
                    <a:cubicBezTo>
                      <a:pt x="906" y="137"/>
                      <a:pt x="1043" y="123"/>
                      <a:pt x="1176" y="85"/>
                    </a:cubicBezTo>
                    <a:cubicBezTo>
                      <a:pt x="1238" y="67"/>
                      <a:pt x="1298" y="45"/>
                      <a:pt x="1352" y="10"/>
                    </a:cubicBezTo>
                    <a:cubicBezTo>
                      <a:pt x="1356" y="8"/>
                      <a:pt x="1360" y="3"/>
                      <a:pt x="1365" y="5"/>
                    </a:cubicBezTo>
                    <a:cubicBezTo>
                      <a:pt x="1371" y="8"/>
                      <a:pt x="1369" y="15"/>
                      <a:pt x="1369" y="20"/>
                    </a:cubicBezTo>
                    <a:cubicBezTo>
                      <a:pt x="1369" y="86"/>
                      <a:pt x="1369" y="152"/>
                      <a:pt x="1369" y="218"/>
                    </a:cubicBezTo>
                    <a:cubicBezTo>
                      <a:pt x="1368" y="249"/>
                      <a:pt x="1353" y="275"/>
                      <a:pt x="1333" y="298"/>
                    </a:cubicBezTo>
                    <a:cubicBezTo>
                      <a:pt x="1291" y="346"/>
                      <a:pt x="1236" y="373"/>
                      <a:pt x="1178" y="396"/>
                    </a:cubicBezTo>
                    <a:cubicBezTo>
                      <a:pt x="1081" y="434"/>
                      <a:pt x="979" y="453"/>
                      <a:pt x="876" y="464"/>
                    </a:cubicBezTo>
                    <a:cubicBezTo>
                      <a:pt x="846" y="467"/>
                      <a:pt x="816" y="470"/>
                      <a:pt x="786" y="473"/>
                    </a:cubicBezTo>
                    <a:cubicBezTo>
                      <a:pt x="718" y="473"/>
                      <a:pt x="651" y="473"/>
                      <a:pt x="584" y="4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17"/>
              <p:cNvSpPr>
                <a:spLocks/>
              </p:cNvSpPr>
              <p:nvPr/>
            </p:nvSpPr>
            <p:spPr bwMode="auto">
              <a:xfrm>
                <a:off x="4894" y="2141"/>
                <a:ext cx="169" cy="56"/>
              </a:xfrm>
              <a:custGeom>
                <a:avLst/>
                <a:gdLst>
                  <a:gd name="T0" fmla="*/ 1263 w 1263"/>
                  <a:gd name="T1" fmla="*/ 314 h 416"/>
                  <a:gd name="T2" fmla="*/ 1114 w 1263"/>
                  <a:gd name="T3" fmla="*/ 395 h 416"/>
                  <a:gd name="T4" fmla="*/ 1056 w 1263"/>
                  <a:gd name="T5" fmla="*/ 413 h 416"/>
                  <a:gd name="T6" fmla="*/ 1042 w 1263"/>
                  <a:gd name="T7" fmla="*/ 403 h 416"/>
                  <a:gd name="T8" fmla="*/ 943 w 1263"/>
                  <a:gd name="T9" fmla="*/ 233 h 416"/>
                  <a:gd name="T10" fmla="*/ 696 w 1263"/>
                  <a:gd name="T11" fmla="*/ 132 h 416"/>
                  <a:gd name="T12" fmla="*/ 462 w 1263"/>
                  <a:gd name="T13" fmla="*/ 99 h 416"/>
                  <a:gd name="T14" fmla="*/ 243 w 1263"/>
                  <a:gd name="T15" fmla="*/ 97 h 416"/>
                  <a:gd name="T16" fmla="*/ 15 w 1263"/>
                  <a:gd name="T17" fmla="*/ 124 h 416"/>
                  <a:gd name="T18" fmla="*/ 0 w 1263"/>
                  <a:gd name="T19" fmla="*/ 122 h 416"/>
                  <a:gd name="T20" fmla="*/ 47 w 1263"/>
                  <a:gd name="T21" fmla="*/ 96 h 416"/>
                  <a:gd name="T22" fmla="*/ 354 w 1263"/>
                  <a:gd name="T23" fmla="*/ 15 h 416"/>
                  <a:gd name="T24" fmla="*/ 648 w 1263"/>
                  <a:gd name="T25" fmla="*/ 3 h 416"/>
                  <a:gd name="T26" fmla="*/ 1057 w 1263"/>
                  <a:gd name="T27" fmla="*/ 72 h 416"/>
                  <a:gd name="T28" fmla="*/ 1213 w 1263"/>
                  <a:gd name="T29" fmla="*/ 162 h 416"/>
                  <a:gd name="T30" fmla="*/ 1263 w 1263"/>
                  <a:gd name="T31" fmla="*/ 237 h 416"/>
                  <a:gd name="T32" fmla="*/ 1263 w 1263"/>
                  <a:gd name="T33" fmla="*/ 314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63" h="416">
                    <a:moveTo>
                      <a:pt x="1263" y="314"/>
                    </a:moveTo>
                    <a:cubicBezTo>
                      <a:pt x="1221" y="355"/>
                      <a:pt x="1168" y="375"/>
                      <a:pt x="1114" y="395"/>
                    </a:cubicBezTo>
                    <a:cubicBezTo>
                      <a:pt x="1095" y="402"/>
                      <a:pt x="1075" y="407"/>
                      <a:pt x="1056" y="413"/>
                    </a:cubicBezTo>
                    <a:cubicBezTo>
                      <a:pt x="1046" y="416"/>
                      <a:pt x="1041" y="413"/>
                      <a:pt x="1042" y="403"/>
                    </a:cubicBezTo>
                    <a:cubicBezTo>
                      <a:pt x="1048" y="323"/>
                      <a:pt x="1001" y="274"/>
                      <a:pt x="943" y="233"/>
                    </a:cubicBezTo>
                    <a:cubicBezTo>
                      <a:pt x="868" y="181"/>
                      <a:pt x="783" y="153"/>
                      <a:pt x="696" y="132"/>
                    </a:cubicBezTo>
                    <a:cubicBezTo>
                      <a:pt x="619" y="114"/>
                      <a:pt x="541" y="105"/>
                      <a:pt x="462" y="99"/>
                    </a:cubicBezTo>
                    <a:cubicBezTo>
                      <a:pt x="389" y="94"/>
                      <a:pt x="316" y="95"/>
                      <a:pt x="243" y="97"/>
                    </a:cubicBezTo>
                    <a:cubicBezTo>
                      <a:pt x="166" y="100"/>
                      <a:pt x="90" y="109"/>
                      <a:pt x="15" y="124"/>
                    </a:cubicBezTo>
                    <a:cubicBezTo>
                      <a:pt x="11" y="124"/>
                      <a:pt x="7" y="126"/>
                      <a:pt x="0" y="122"/>
                    </a:cubicBezTo>
                    <a:cubicBezTo>
                      <a:pt x="17" y="113"/>
                      <a:pt x="31" y="104"/>
                      <a:pt x="47" y="96"/>
                    </a:cubicBezTo>
                    <a:cubicBezTo>
                      <a:pt x="144" y="51"/>
                      <a:pt x="248" y="29"/>
                      <a:pt x="354" y="15"/>
                    </a:cubicBezTo>
                    <a:cubicBezTo>
                      <a:pt x="452" y="2"/>
                      <a:pt x="550" y="0"/>
                      <a:pt x="648" y="3"/>
                    </a:cubicBezTo>
                    <a:cubicBezTo>
                      <a:pt x="787" y="7"/>
                      <a:pt x="925" y="23"/>
                      <a:pt x="1057" y="72"/>
                    </a:cubicBezTo>
                    <a:cubicBezTo>
                      <a:pt x="1114" y="93"/>
                      <a:pt x="1168" y="120"/>
                      <a:pt x="1213" y="162"/>
                    </a:cubicBezTo>
                    <a:cubicBezTo>
                      <a:pt x="1236" y="183"/>
                      <a:pt x="1251" y="209"/>
                      <a:pt x="1263" y="237"/>
                    </a:cubicBezTo>
                    <a:cubicBezTo>
                      <a:pt x="1263" y="262"/>
                      <a:pt x="1263" y="288"/>
                      <a:pt x="1263" y="3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18"/>
              <p:cNvSpPr>
                <a:spLocks/>
              </p:cNvSpPr>
              <p:nvPr/>
            </p:nvSpPr>
            <p:spPr bwMode="auto">
              <a:xfrm>
                <a:off x="5034" y="2192"/>
                <a:ext cx="29" cy="48"/>
              </a:xfrm>
              <a:custGeom>
                <a:avLst/>
                <a:gdLst>
                  <a:gd name="T0" fmla="*/ 221 w 221"/>
                  <a:gd name="T1" fmla="*/ 259 h 360"/>
                  <a:gd name="T2" fmla="*/ 52 w 221"/>
                  <a:gd name="T3" fmla="*/ 345 h 360"/>
                  <a:gd name="T4" fmla="*/ 13 w 221"/>
                  <a:gd name="T5" fmla="*/ 357 h 360"/>
                  <a:gd name="T6" fmla="*/ 0 w 221"/>
                  <a:gd name="T7" fmla="*/ 347 h 360"/>
                  <a:gd name="T8" fmla="*/ 0 w 221"/>
                  <a:gd name="T9" fmla="*/ 338 h 360"/>
                  <a:gd name="T10" fmla="*/ 0 w 221"/>
                  <a:gd name="T11" fmla="*/ 106 h 360"/>
                  <a:gd name="T12" fmla="*/ 19 w 221"/>
                  <a:gd name="T13" fmla="*/ 80 h 360"/>
                  <a:gd name="T14" fmla="*/ 215 w 221"/>
                  <a:gd name="T15" fmla="*/ 1 h 360"/>
                  <a:gd name="T16" fmla="*/ 221 w 221"/>
                  <a:gd name="T17" fmla="*/ 0 h 360"/>
                  <a:gd name="T18" fmla="*/ 221 w 221"/>
                  <a:gd name="T19" fmla="*/ 259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1" h="360">
                    <a:moveTo>
                      <a:pt x="221" y="259"/>
                    </a:moveTo>
                    <a:cubicBezTo>
                      <a:pt x="172" y="302"/>
                      <a:pt x="113" y="326"/>
                      <a:pt x="52" y="345"/>
                    </a:cubicBezTo>
                    <a:cubicBezTo>
                      <a:pt x="39" y="349"/>
                      <a:pt x="26" y="353"/>
                      <a:pt x="13" y="357"/>
                    </a:cubicBezTo>
                    <a:cubicBezTo>
                      <a:pt x="4" y="360"/>
                      <a:pt x="0" y="356"/>
                      <a:pt x="0" y="347"/>
                    </a:cubicBezTo>
                    <a:cubicBezTo>
                      <a:pt x="0" y="344"/>
                      <a:pt x="0" y="341"/>
                      <a:pt x="0" y="338"/>
                    </a:cubicBezTo>
                    <a:cubicBezTo>
                      <a:pt x="0" y="260"/>
                      <a:pt x="0" y="183"/>
                      <a:pt x="0" y="106"/>
                    </a:cubicBezTo>
                    <a:cubicBezTo>
                      <a:pt x="0" y="91"/>
                      <a:pt x="4" y="84"/>
                      <a:pt x="19" y="80"/>
                    </a:cubicBezTo>
                    <a:cubicBezTo>
                      <a:pt x="87" y="62"/>
                      <a:pt x="154" y="39"/>
                      <a:pt x="215" y="1"/>
                    </a:cubicBezTo>
                    <a:cubicBezTo>
                      <a:pt x="217" y="0"/>
                      <a:pt x="219" y="0"/>
                      <a:pt x="221" y="0"/>
                    </a:cubicBezTo>
                    <a:cubicBezTo>
                      <a:pt x="221" y="86"/>
                      <a:pt x="221" y="172"/>
                      <a:pt x="221" y="2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19"/>
              <p:cNvSpPr>
                <a:spLocks/>
              </p:cNvSpPr>
              <p:nvPr/>
            </p:nvSpPr>
            <p:spPr bwMode="auto">
              <a:xfrm>
                <a:off x="5034" y="2235"/>
                <a:ext cx="29" cy="49"/>
              </a:xfrm>
              <a:custGeom>
                <a:avLst/>
                <a:gdLst>
                  <a:gd name="T0" fmla="*/ 221 w 221"/>
                  <a:gd name="T1" fmla="*/ 262 h 362"/>
                  <a:gd name="T2" fmla="*/ 19 w 221"/>
                  <a:gd name="T3" fmla="*/ 357 h 362"/>
                  <a:gd name="T4" fmla="*/ 0 w 221"/>
                  <a:gd name="T5" fmla="*/ 344 h 362"/>
                  <a:gd name="T6" fmla="*/ 0 w 221"/>
                  <a:gd name="T7" fmla="*/ 111 h 362"/>
                  <a:gd name="T8" fmla="*/ 17 w 221"/>
                  <a:gd name="T9" fmla="*/ 87 h 362"/>
                  <a:gd name="T10" fmla="*/ 179 w 221"/>
                  <a:gd name="T11" fmla="*/ 23 h 362"/>
                  <a:gd name="T12" fmla="*/ 221 w 221"/>
                  <a:gd name="T13" fmla="*/ 0 h 362"/>
                  <a:gd name="T14" fmla="*/ 221 w 221"/>
                  <a:gd name="T15" fmla="*/ 2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1" h="362">
                    <a:moveTo>
                      <a:pt x="221" y="262"/>
                    </a:moveTo>
                    <a:cubicBezTo>
                      <a:pt x="162" y="311"/>
                      <a:pt x="91" y="336"/>
                      <a:pt x="19" y="357"/>
                    </a:cubicBezTo>
                    <a:cubicBezTo>
                      <a:pt x="2" y="362"/>
                      <a:pt x="0" y="361"/>
                      <a:pt x="0" y="344"/>
                    </a:cubicBezTo>
                    <a:cubicBezTo>
                      <a:pt x="0" y="266"/>
                      <a:pt x="0" y="188"/>
                      <a:pt x="0" y="111"/>
                    </a:cubicBezTo>
                    <a:cubicBezTo>
                      <a:pt x="0" y="97"/>
                      <a:pt x="5" y="91"/>
                      <a:pt x="17" y="87"/>
                    </a:cubicBezTo>
                    <a:cubicBezTo>
                      <a:pt x="72" y="68"/>
                      <a:pt x="128" y="51"/>
                      <a:pt x="179" y="23"/>
                    </a:cubicBezTo>
                    <a:cubicBezTo>
                      <a:pt x="193" y="16"/>
                      <a:pt x="207" y="8"/>
                      <a:pt x="221" y="0"/>
                    </a:cubicBezTo>
                    <a:cubicBezTo>
                      <a:pt x="221" y="87"/>
                      <a:pt x="221" y="175"/>
                      <a:pt x="221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0"/>
              <p:cNvSpPr>
                <a:spLocks/>
              </p:cNvSpPr>
              <p:nvPr/>
            </p:nvSpPr>
            <p:spPr bwMode="auto">
              <a:xfrm>
                <a:off x="5034" y="2279"/>
                <a:ext cx="29" cy="54"/>
              </a:xfrm>
              <a:custGeom>
                <a:avLst/>
                <a:gdLst>
                  <a:gd name="T0" fmla="*/ 216 w 216"/>
                  <a:gd name="T1" fmla="*/ 237 h 402"/>
                  <a:gd name="T2" fmla="*/ 39 w 216"/>
                  <a:gd name="T3" fmla="*/ 388 h 402"/>
                  <a:gd name="T4" fmla="*/ 10 w 216"/>
                  <a:gd name="T5" fmla="*/ 400 h 402"/>
                  <a:gd name="T6" fmla="*/ 4 w 216"/>
                  <a:gd name="T7" fmla="*/ 393 h 402"/>
                  <a:gd name="T8" fmla="*/ 23 w 216"/>
                  <a:gd name="T9" fmla="*/ 269 h 402"/>
                  <a:gd name="T10" fmla="*/ 23 w 216"/>
                  <a:gd name="T11" fmla="*/ 106 h 402"/>
                  <a:gd name="T12" fmla="*/ 33 w 216"/>
                  <a:gd name="T13" fmla="*/ 84 h 402"/>
                  <a:gd name="T14" fmla="*/ 211 w 216"/>
                  <a:gd name="T15" fmla="*/ 1 h 402"/>
                  <a:gd name="T16" fmla="*/ 216 w 216"/>
                  <a:gd name="T17" fmla="*/ 0 h 402"/>
                  <a:gd name="T18" fmla="*/ 216 w 216"/>
                  <a:gd name="T19" fmla="*/ 237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6" h="402">
                    <a:moveTo>
                      <a:pt x="216" y="237"/>
                    </a:moveTo>
                    <a:cubicBezTo>
                      <a:pt x="185" y="320"/>
                      <a:pt x="113" y="355"/>
                      <a:pt x="39" y="388"/>
                    </a:cubicBezTo>
                    <a:cubicBezTo>
                      <a:pt x="30" y="393"/>
                      <a:pt x="20" y="396"/>
                      <a:pt x="10" y="400"/>
                    </a:cubicBezTo>
                    <a:cubicBezTo>
                      <a:pt x="3" y="402"/>
                      <a:pt x="0" y="399"/>
                      <a:pt x="4" y="393"/>
                    </a:cubicBezTo>
                    <a:cubicBezTo>
                      <a:pt x="28" y="354"/>
                      <a:pt x="23" y="311"/>
                      <a:pt x="23" y="269"/>
                    </a:cubicBezTo>
                    <a:cubicBezTo>
                      <a:pt x="23" y="214"/>
                      <a:pt x="23" y="160"/>
                      <a:pt x="23" y="106"/>
                    </a:cubicBezTo>
                    <a:cubicBezTo>
                      <a:pt x="23" y="97"/>
                      <a:pt x="23" y="89"/>
                      <a:pt x="33" y="84"/>
                    </a:cubicBezTo>
                    <a:cubicBezTo>
                      <a:pt x="93" y="57"/>
                      <a:pt x="152" y="29"/>
                      <a:pt x="211" y="1"/>
                    </a:cubicBezTo>
                    <a:cubicBezTo>
                      <a:pt x="213" y="0"/>
                      <a:pt x="214" y="0"/>
                      <a:pt x="216" y="0"/>
                    </a:cubicBezTo>
                    <a:cubicBezTo>
                      <a:pt x="216" y="79"/>
                      <a:pt x="216" y="158"/>
                      <a:pt x="216" y="2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21"/>
              <p:cNvSpPr>
                <a:spLocks/>
              </p:cNvSpPr>
              <p:nvPr/>
            </p:nvSpPr>
            <p:spPr bwMode="auto">
              <a:xfrm>
                <a:off x="4843" y="2161"/>
                <a:ext cx="184" cy="63"/>
              </a:xfrm>
              <a:custGeom>
                <a:avLst/>
                <a:gdLst>
                  <a:gd name="T0" fmla="*/ 689 w 1377"/>
                  <a:gd name="T1" fmla="*/ 0 h 468"/>
                  <a:gd name="T2" fmla="*/ 1073 w 1377"/>
                  <a:gd name="T3" fmla="*/ 42 h 468"/>
                  <a:gd name="T4" fmla="*/ 1298 w 1377"/>
                  <a:gd name="T5" fmla="*/ 141 h 468"/>
                  <a:gd name="T6" fmla="*/ 1369 w 1377"/>
                  <a:gd name="T7" fmla="*/ 235 h 468"/>
                  <a:gd name="T8" fmla="*/ 1372 w 1377"/>
                  <a:gd name="T9" fmla="*/ 308 h 468"/>
                  <a:gd name="T10" fmla="*/ 1350 w 1377"/>
                  <a:gd name="T11" fmla="*/ 330 h 468"/>
                  <a:gd name="T12" fmla="*/ 1252 w 1377"/>
                  <a:gd name="T13" fmla="*/ 383 h 468"/>
                  <a:gd name="T14" fmla="*/ 965 w 1377"/>
                  <a:gd name="T15" fmla="*/ 450 h 468"/>
                  <a:gd name="T16" fmla="*/ 703 w 1377"/>
                  <a:gd name="T17" fmla="*/ 468 h 468"/>
                  <a:gd name="T18" fmla="*/ 472 w 1377"/>
                  <a:gd name="T19" fmla="*/ 457 h 468"/>
                  <a:gd name="T20" fmla="*/ 204 w 1377"/>
                  <a:gd name="T21" fmla="*/ 409 h 468"/>
                  <a:gd name="T22" fmla="*/ 30 w 1377"/>
                  <a:gd name="T23" fmla="*/ 333 h 468"/>
                  <a:gd name="T24" fmla="*/ 4 w 1377"/>
                  <a:gd name="T25" fmla="*/ 284 h 468"/>
                  <a:gd name="T26" fmla="*/ 75 w 1377"/>
                  <a:gd name="T27" fmla="*/ 143 h 468"/>
                  <a:gd name="T28" fmla="*/ 304 w 1377"/>
                  <a:gd name="T29" fmla="*/ 42 h 468"/>
                  <a:gd name="T30" fmla="*/ 584 w 1377"/>
                  <a:gd name="T31" fmla="*/ 3 h 468"/>
                  <a:gd name="T32" fmla="*/ 689 w 1377"/>
                  <a:gd name="T33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7" h="468">
                    <a:moveTo>
                      <a:pt x="689" y="0"/>
                    </a:moveTo>
                    <a:cubicBezTo>
                      <a:pt x="819" y="0"/>
                      <a:pt x="947" y="10"/>
                      <a:pt x="1073" y="42"/>
                    </a:cubicBezTo>
                    <a:cubicBezTo>
                      <a:pt x="1153" y="62"/>
                      <a:pt x="1231" y="90"/>
                      <a:pt x="1298" y="141"/>
                    </a:cubicBezTo>
                    <a:cubicBezTo>
                      <a:pt x="1331" y="165"/>
                      <a:pt x="1357" y="195"/>
                      <a:pt x="1369" y="235"/>
                    </a:cubicBezTo>
                    <a:cubicBezTo>
                      <a:pt x="1377" y="259"/>
                      <a:pt x="1373" y="283"/>
                      <a:pt x="1372" y="308"/>
                    </a:cubicBezTo>
                    <a:cubicBezTo>
                      <a:pt x="1371" y="318"/>
                      <a:pt x="1359" y="324"/>
                      <a:pt x="1350" y="330"/>
                    </a:cubicBezTo>
                    <a:cubicBezTo>
                      <a:pt x="1320" y="353"/>
                      <a:pt x="1287" y="369"/>
                      <a:pt x="1252" y="383"/>
                    </a:cubicBezTo>
                    <a:cubicBezTo>
                      <a:pt x="1159" y="418"/>
                      <a:pt x="1063" y="437"/>
                      <a:pt x="965" y="450"/>
                    </a:cubicBezTo>
                    <a:cubicBezTo>
                      <a:pt x="878" y="462"/>
                      <a:pt x="791" y="467"/>
                      <a:pt x="703" y="468"/>
                    </a:cubicBezTo>
                    <a:cubicBezTo>
                      <a:pt x="626" y="468"/>
                      <a:pt x="549" y="465"/>
                      <a:pt x="472" y="457"/>
                    </a:cubicBezTo>
                    <a:cubicBezTo>
                      <a:pt x="381" y="448"/>
                      <a:pt x="292" y="434"/>
                      <a:pt x="204" y="409"/>
                    </a:cubicBezTo>
                    <a:cubicBezTo>
                      <a:pt x="143" y="391"/>
                      <a:pt x="83" y="370"/>
                      <a:pt x="30" y="333"/>
                    </a:cubicBezTo>
                    <a:cubicBezTo>
                      <a:pt x="12" y="321"/>
                      <a:pt x="5" y="307"/>
                      <a:pt x="4" y="284"/>
                    </a:cubicBezTo>
                    <a:cubicBezTo>
                      <a:pt x="0" y="222"/>
                      <a:pt x="30" y="179"/>
                      <a:pt x="75" y="143"/>
                    </a:cubicBezTo>
                    <a:cubicBezTo>
                      <a:pt x="143" y="90"/>
                      <a:pt x="222" y="63"/>
                      <a:pt x="304" y="42"/>
                    </a:cubicBezTo>
                    <a:cubicBezTo>
                      <a:pt x="396" y="19"/>
                      <a:pt x="489" y="7"/>
                      <a:pt x="584" y="3"/>
                    </a:cubicBezTo>
                    <a:cubicBezTo>
                      <a:pt x="619" y="1"/>
                      <a:pt x="654" y="1"/>
                      <a:pt x="68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Freeform 22"/>
              <p:cNvSpPr>
                <a:spLocks/>
              </p:cNvSpPr>
              <p:nvPr/>
            </p:nvSpPr>
            <p:spPr bwMode="auto">
              <a:xfrm>
                <a:off x="4843" y="2211"/>
                <a:ext cx="184" cy="56"/>
              </a:xfrm>
              <a:custGeom>
                <a:avLst/>
                <a:gdLst>
                  <a:gd name="T0" fmla="*/ 1 w 1370"/>
                  <a:gd name="T1" fmla="*/ 131 h 418"/>
                  <a:gd name="T2" fmla="*/ 1 w 1370"/>
                  <a:gd name="T3" fmla="*/ 15 h 418"/>
                  <a:gd name="T4" fmla="*/ 14 w 1370"/>
                  <a:gd name="T5" fmla="*/ 7 h 418"/>
                  <a:gd name="T6" fmla="*/ 261 w 1370"/>
                  <a:gd name="T7" fmla="*/ 96 h 418"/>
                  <a:gd name="T8" fmla="*/ 523 w 1370"/>
                  <a:gd name="T9" fmla="*/ 133 h 418"/>
                  <a:gd name="T10" fmla="*/ 761 w 1370"/>
                  <a:gd name="T11" fmla="*/ 138 h 418"/>
                  <a:gd name="T12" fmla="*/ 1236 w 1370"/>
                  <a:gd name="T13" fmla="*/ 62 h 418"/>
                  <a:gd name="T14" fmla="*/ 1354 w 1370"/>
                  <a:gd name="T15" fmla="*/ 8 h 418"/>
                  <a:gd name="T16" fmla="*/ 1370 w 1370"/>
                  <a:gd name="T17" fmla="*/ 17 h 418"/>
                  <a:gd name="T18" fmla="*/ 1370 w 1370"/>
                  <a:gd name="T19" fmla="*/ 245 h 418"/>
                  <a:gd name="T20" fmla="*/ 1357 w 1370"/>
                  <a:gd name="T21" fmla="*/ 270 h 418"/>
                  <a:gd name="T22" fmla="*/ 1220 w 1370"/>
                  <a:gd name="T23" fmla="*/ 341 h 418"/>
                  <a:gd name="T24" fmla="*/ 890 w 1370"/>
                  <a:gd name="T25" fmla="*/ 406 h 418"/>
                  <a:gd name="T26" fmla="*/ 610 w 1370"/>
                  <a:gd name="T27" fmla="*/ 415 h 418"/>
                  <a:gd name="T28" fmla="*/ 160 w 1370"/>
                  <a:gd name="T29" fmla="*/ 344 h 418"/>
                  <a:gd name="T30" fmla="*/ 21 w 1370"/>
                  <a:gd name="T31" fmla="*/ 277 h 418"/>
                  <a:gd name="T32" fmla="*/ 1 w 1370"/>
                  <a:gd name="T33" fmla="*/ 237 h 418"/>
                  <a:gd name="T34" fmla="*/ 1 w 1370"/>
                  <a:gd name="T35" fmla="*/ 131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70" h="418">
                    <a:moveTo>
                      <a:pt x="1" y="131"/>
                    </a:moveTo>
                    <a:cubicBezTo>
                      <a:pt x="2" y="92"/>
                      <a:pt x="2" y="54"/>
                      <a:pt x="1" y="15"/>
                    </a:cubicBezTo>
                    <a:cubicBezTo>
                      <a:pt x="1" y="5"/>
                      <a:pt x="4" y="0"/>
                      <a:pt x="14" y="7"/>
                    </a:cubicBezTo>
                    <a:cubicBezTo>
                      <a:pt x="90" y="54"/>
                      <a:pt x="175" y="78"/>
                      <a:pt x="261" y="96"/>
                    </a:cubicBezTo>
                    <a:cubicBezTo>
                      <a:pt x="347" y="115"/>
                      <a:pt x="435" y="126"/>
                      <a:pt x="523" y="133"/>
                    </a:cubicBezTo>
                    <a:cubicBezTo>
                      <a:pt x="603" y="139"/>
                      <a:pt x="682" y="141"/>
                      <a:pt x="761" y="138"/>
                    </a:cubicBezTo>
                    <a:cubicBezTo>
                      <a:pt x="923" y="131"/>
                      <a:pt x="1082" y="113"/>
                      <a:pt x="1236" y="62"/>
                    </a:cubicBezTo>
                    <a:cubicBezTo>
                      <a:pt x="1277" y="48"/>
                      <a:pt x="1317" y="31"/>
                      <a:pt x="1354" y="8"/>
                    </a:cubicBezTo>
                    <a:cubicBezTo>
                      <a:pt x="1367" y="0"/>
                      <a:pt x="1370" y="1"/>
                      <a:pt x="1370" y="17"/>
                    </a:cubicBezTo>
                    <a:cubicBezTo>
                      <a:pt x="1370" y="93"/>
                      <a:pt x="1370" y="169"/>
                      <a:pt x="1370" y="245"/>
                    </a:cubicBezTo>
                    <a:cubicBezTo>
                      <a:pt x="1370" y="256"/>
                      <a:pt x="1366" y="264"/>
                      <a:pt x="1357" y="270"/>
                    </a:cubicBezTo>
                    <a:cubicBezTo>
                      <a:pt x="1316" y="304"/>
                      <a:pt x="1269" y="324"/>
                      <a:pt x="1220" y="341"/>
                    </a:cubicBezTo>
                    <a:cubicBezTo>
                      <a:pt x="1113" y="377"/>
                      <a:pt x="1002" y="396"/>
                      <a:pt x="890" y="406"/>
                    </a:cubicBezTo>
                    <a:cubicBezTo>
                      <a:pt x="797" y="415"/>
                      <a:pt x="704" y="418"/>
                      <a:pt x="610" y="415"/>
                    </a:cubicBezTo>
                    <a:cubicBezTo>
                      <a:pt x="458" y="409"/>
                      <a:pt x="307" y="392"/>
                      <a:pt x="160" y="344"/>
                    </a:cubicBezTo>
                    <a:cubicBezTo>
                      <a:pt x="111" y="328"/>
                      <a:pt x="64" y="308"/>
                      <a:pt x="21" y="277"/>
                    </a:cubicBezTo>
                    <a:cubicBezTo>
                      <a:pt x="7" y="267"/>
                      <a:pt x="0" y="255"/>
                      <a:pt x="1" y="237"/>
                    </a:cubicBezTo>
                    <a:cubicBezTo>
                      <a:pt x="3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Freeform 23"/>
              <p:cNvSpPr>
                <a:spLocks/>
              </p:cNvSpPr>
              <p:nvPr/>
            </p:nvSpPr>
            <p:spPr bwMode="auto">
              <a:xfrm>
                <a:off x="4843" y="2255"/>
                <a:ext cx="184" cy="56"/>
              </a:xfrm>
              <a:custGeom>
                <a:avLst/>
                <a:gdLst>
                  <a:gd name="T0" fmla="*/ 1 w 1370"/>
                  <a:gd name="T1" fmla="*/ 131 h 419"/>
                  <a:gd name="T2" fmla="*/ 1 w 1370"/>
                  <a:gd name="T3" fmla="*/ 14 h 419"/>
                  <a:gd name="T4" fmla="*/ 14 w 1370"/>
                  <a:gd name="T5" fmla="*/ 7 h 419"/>
                  <a:gd name="T6" fmla="*/ 307 w 1370"/>
                  <a:gd name="T7" fmla="*/ 107 h 419"/>
                  <a:gd name="T8" fmla="*/ 615 w 1370"/>
                  <a:gd name="T9" fmla="*/ 138 h 419"/>
                  <a:gd name="T10" fmla="*/ 1137 w 1370"/>
                  <a:gd name="T11" fmla="*/ 91 h 419"/>
                  <a:gd name="T12" fmla="*/ 1357 w 1370"/>
                  <a:gd name="T13" fmla="*/ 6 h 419"/>
                  <a:gd name="T14" fmla="*/ 1370 w 1370"/>
                  <a:gd name="T15" fmla="*/ 14 h 419"/>
                  <a:gd name="T16" fmla="*/ 1370 w 1370"/>
                  <a:gd name="T17" fmla="*/ 248 h 419"/>
                  <a:gd name="T18" fmla="*/ 1355 w 1370"/>
                  <a:gd name="T19" fmla="*/ 272 h 419"/>
                  <a:gd name="T20" fmla="*/ 1238 w 1370"/>
                  <a:gd name="T21" fmla="*/ 334 h 419"/>
                  <a:gd name="T22" fmla="*/ 943 w 1370"/>
                  <a:gd name="T23" fmla="*/ 401 h 419"/>
                  <a:gd name="T24" fmla="*/ 637 w 1370"/>
                  <a:gd name="T25" fmla="*/ 416 h 419"/>
                  <a:gd name="T26" fmla="*/ 167 w 1370"/>
                  <a:gd name="T27" fmla="*/ 347 h 419"/>
                  <a:gd name="T28" fmla="*/ 21 w 1370"/>
                  <a:gd name="T29" fmla="*/ 277 h 419"/>
                  <a:gd name="T30" fmla="*/ 1 w 1370"/>
                  <a:gd name="T31" fmla="*/ 238 h 419"/>
                  <a:gd name="T32" fmla="*/ 1 w 1370"/>
                  <a:gd name="T33" fmla="*/ 131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0" h="419">
                    <a:moveTo>
                      <a:pt x="1" y="131"/>
                    </a:moveTo>
                    <a:cubicBezTo>
                      <a:pt x="1" y="92"/>
                      <a:pt x="2" y="53"/>
                      <a:pt x="1" y="14"/>
                    </a:cubicBezTo>
                    <a:cubicBezTo>
                      <a:pt x="1" y="3"/>
                      <a:pt x="4" y="1"/>
                      <a:pt x="14" y="7"/>
                    </a:cubicBezTo>
                    <a:cubicBezTo>
                      <a:pt x="104" y="62"/>
                      <a:pt x="205" y="88"/>
                      <a:pt x="307" y="107"/>
                    </a:cubicBezTo>
                    <a:cubicBezTo>
                      <a:pt x="409" y="127"/>
                      <a:pt x="512" y="135"/>
                      <a:pt x="615" y="138"/>
                    </a:cubicBezTo>
                    <a:cubicBezTo>
                      <a:pt x="791" y="143"/>
                      <a:pt x="966" y="133"/>
                      <a:pt x="1137" y="91"/>
                    </a:cubicBezTo>
                    <a:cubicBezTo>
                      <a:pt x="1214" y="73"/>
                      <a:pt x="1289" y="49"/>
                      <a:pt x="1357" y="6"/>
                    </a:cubicBezTo>
                    <a:cubicBezTo>
                      <a:pt x="1367" y="0"/>
                      <a:pt x="1370" y="4"/>
                      <a:pt x="1370" y="14"/>
                    </a:cubicBezTo>
                    <a:cubicBezTo>
                      <a:pt x="1370" y="92"/>
                      <a:pt x="1370" y="170"/>
                      <a:pt x="1370" y="248"/>
                    </a:cubicBezTo>
                    <a:cubicBezTo>
                      <a:pt x="1370" y="260"/>
                      <a:pt x="1363" y="266"/>
                      <a:pt x="1355" y="272"/>
                    </a:cubicBezTo>
                    <a:cubicBezTo>
                      <a:pt x="1320" y="301"/>
                      <a:pt x="1280" y="319"/>
                      <a:pt x="1238" y="334"/>
                    </a:cubicBezTo>
                    <a:cubicBezTo>
                      <a:pt x="1143" y="370"/>
                      <a:pt x="1044" y="389"/>
                      <a:pt x="943" y="401"/>
                    </a:cubicBezTo>
                    <a:cubicBezTo>
                      <a:pt x="841" y="413"/>
                      <a:pt x="739" y="419"/>
                      <a:pt x="637" y="416"/>
                    </a:cubicBezTo>
                    <a:cubicBezTo>
                      <a:pt x="477" y="411"/>
                      <a:pt x="320" y="395"/>
                      <a:pt x="167" y="347"/>
                    </a:cubicBezTo>
                    <a:cubicBezTo>
                      <a:pt x="115" y="330"/>
                      <a:pt x="65" y="310"/>
                      <a:pt x="21" y="277"/>
                    </a:cubicBezTo>
                    <a:cubicBezTo>
                      <a:pt x="7" y="267"/>
                      <a:pt x="0" y="256"/>
                      <a:pt x="1" y="238"/>
                    </a:cubicBezTo>
                    <a:cubicBezTo>
                      <a:pt x="2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23" name="Рисунок 22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964" y="255927"/>
              <a:ext cx="132047" cy="120940"/>
            </a:xfrm>
            <a:prstGeom prst="rect">
              <a:avLst/>
            </a:prstGeom>
          </p:spPr>
        </p:pic>
        <p:sp>
          <p:nvSpPr>
            <p:cNvPr id="24" name="Freeform 413"/>
            <p:cNvSpPr>
              <a:spLocks noEditPoints="1"/>
            </p:cNvSpPr>
            <p:nvPr userDrawn="1"/>
          </p:nvSpPr>
          <p:spPr bwMode="auto">
            <a:xfrm>
              <a:off x="467432" y="411832"/>
              <a:ext cx="136834" cy="109909"/>
            </a:xfrm>
            <a:custGeom>
              <a:avLst/>
              <a:gdLst/>
              <a:ahLst/>
              <a:cxnLst>
                <a:cxn ang="0">
                  <a:pos x="235" y="365"/>
                </a:cxn>
                <a:cxn ang="0">
                  <a:pos x="246" y="344"/>
                </a:cxn>
                <a:cxn ang="0">
                  <a:pos x="226" y="329"/>
                </a:cxn>
                <a:cxn ang="0">
                  <a:pos x="217" y="320"/>
                </a:cxn>
                <a:cxn ang="0">
                  <a:pos x="206" y="328"/>
                </a:cxn>
                <a:cxn ang="0">
                  <a:pos x="142" y="348"/>
                </a:cxn>
                <a:cxn ang="0">
                  <a:pos x="31" y="237"/>
                </a:cxn>
                <a:cxn ang="0">
                  <a:pos x="106" y="133"/>
                </a:cxn>
                <a:cxn ang="0">
                  <a:pos x="106" y="132"/>
                </a:cxn>
                <a:cxn ang="0">
                  <a:pos x="144" y="127"/>
                </a:cxn>
                <a:cxn ang="0">
                  <a:pos x="201" y="141"/>
                </a:cxn>
                <a:cxn ang="0">
                  <a:pos x="132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6" y="104"/>
                </a:cxn>
                <a:cxn ang="0">
                  <a:pos x="49" y="130"/>
                </a:cxn>
                <a:cxn ang="0">
                  <a:pos x="49" y="129"/>
                </a:cxn>
                <a:cxn ang="0">
                  <a:pos x="0" y="237"/>
                </a:cxn>
                <a:cxn ang="0">
                  <a:pos x="142" y="380"/>
                </a:cxn>
                <a:cxn ang="0">
                  <a:pos x="214" y="360"/>
                </a:cxn>
                <a:cxn ang="0">
                  <a:pos x="231" y="371"/>
                </a:cxn>
                <a:cxn ang="0">
                  <a:pos x="235" y="365"/>
                </a:cxn>
                <a:cxn ang="0">
                  <a:pos x="453" y="183"/>
                </a:cxn>
                <a:cxn ang="0">
                  <a:pos x="454" y="175"/>
                </a:cxn>
                <a:cxn ang="0">
                  <a:pos x="348" y="70"/>
                </a:cxn>
                <a:cxn ang="0">
                  <a:pos x="327" y="72"/>
                </a:cxn>
                <a:cxn ang="0">
                  <a:pos x="212" y="0"/>
                </a:cxn>
                <a:cxn ang="0">
                  <a:pos x="90" y="89"/>
                </a:cxn>
                <a:cxn ang="0">
                  <a:pos x="125" y="86"/>
                </a:cxn>
                <a:cxn ang="0">
                  <a:pos x="212" y="32"/>
                </a:cxn>
                <a:cxn ang="0">
                  <a:pos x="302" y="96"/>
                </a:cxn>
                <a:cxn ang="0">
                  <a:pos x="308" y="112"/>
                </a:cxn>
                <a:cxn ang="0">
                  <a:pos x="323" y="106"/>
                </a:cxn>
                <a:cxn ang="0">
                  <a:pos x="348" y="101"/>
                </a:cxn>
                <a:cxn ang="0">
                  <a:pos x="422" y="175"/>
                </a:cxn>
                <a:cxn ang="0">
                  <a:pos x="420" y="192"/>
                </a:cxn>
                <a:cxn ang="0">
                  <a:pos x="416" y="209"/>
                </a:cxn>
                <a:cxn ang="0">
                  <a:pos x="434" y="211"/>
                </a:cxn>
                <a:cxn ang="0">
                  <a:pos x="492" y="275"/>
                </a:cxn>
                <a:cxn ang="0">
                  <a:pos x="428" y="338"/>
                </a:cxn>
                <a:cxn ang="0">
                  <a:pos x="394" y="329"/>
                </a:cxn>
                <a:cxn ang="0">
                  <a:pos x="384" y="322"/>
                </a:cxn>
                <a:cxn ang="0">
                  <a:pos x="375" y="330"/>
                </a:cxn>
                <a:cxn ang="0">
                  <a:pos x="358" y="343"/>
                </a:cxn>
                <a:cxn ang="0">
                  <a:pos x="352" y="359"/>
                </a:cxn>
                <a:cxn ang="0">
                  <a:pos x="342" y="384"/>
                </a:cxn>
                <a:cxn ang="0">
                  <a:pos x="387" y="361"/>
                </a:cxn>
                <a:cxn ang="0">
                  <a:pos x="428" y="370"/>
                </a:cxn>
                <a:cxn ang="0">
                  <a:pos x="523" y="275"/>
                </a:cxn>
                <a:cxn ang="0">
                  <a:pos x="453" y="183"/>
                </a:cxn>
                <a:cxn ang="0">
                  <a:pos x="383" y="292"/>
                </a:cxn>
                <a:cxn ang="0">
                  <a:pos x="313" y="171"/>
                </a:cxn>
                <a:cxn ang="0">
                  <a:pos x="244" y="292"/>
                </a:cxn>
                <a:cxn ang="0">
                  <a:pos x="282" y="292"/>
                </a:cxn>
                <a:cxn ang="0">
                  <a:pos x="220" y="420"/>
                </a:cxn>
                <a:cxn ang="0">
                  <a:pos x="297" y="420"/>
                </a:cxn>
                <a:cxn ang="0">
                  <a:pos x="343" y="292"/>
                </a:cxn>
                <a:cxn ang="0">
                  <a:pos x="383" y="292"/>
                </a:cxn>
              </a:cxnLst>
              <a:rect l="0" t="0" r="r" b="b"/>
              <a:pathLst>
                <a:path w="523" h="420">
                  <a:moveTo>
                    <a:pt x="235" y="365"/>
                  </a:moveTo>
                  <a:cubicBezTo>
                    <a:pt x="239" y="358"/>
                    <a:pt x="243" y="351"/>
                    <a:pt x="246" y="344"/>
                  </a:cubicBezTo>
                  <a:cubicBezTo>
                    <a:pt x="239" y="340"/>
                    <a:pt x="232" y="335"/>
                    <a:pt x="226" y="329"/>
                  </a:cubicBezTo>
                  <a:cubicBezTo>
                    <a:pt x="217" y="320"/>
                    <a:pt x="217" y="320"/>
                    <a:pt x="217" y="320"/>
                  </a:cubicBezTo>
                  <a:cubicBezTo>
                    <a:pt x="206" y="328"/>
                    <a:pt x="206" y="328"/>
                    <a:pt x="206" y="328"/>
                  </a:cubicBezTo>
                  <a:cubicBezTo>
                    <a:pt x="187" y="341"/>
                    <a:pt x="165" y="348"/>
                    <a:pt x="142" y="348"/>
                  </a:cubicBezTo>
                  <a:cubicBezTo>
                    <a:pt x="81" y="348"/>
                    <a:pt x="31" y="299"/>
                    <a:pt x="31" y="237"/>
                  </a:cubicBezTo>
                  <a:cubicBezTo>
                    <a:pt x="31" y="190"/>
                    <a:pt x="61" y="148"/>
                    <a:pt x="106" y="133"/>
                  </a:cubicBezTo>
                  <a:cubicBezTo>
                    <a:pt x="106" y="132"/>
                    <a:pt x="106" y="132"/>
                    <a:pt x="106" y="132"/>
                  </a:cubicBezTo>
                  <a:cubicBezTo>
                    <a:pt x="117" y="129"/>
                    <a:pt x="129" y="127"/>
                    <a:pt x="144" y="127"/>
                  </a:cubicBezTo>
                  <a:cubicBezTo>
                    <a:pt x="167" y="127"/>
                    <a:pt x="187" y="132"/>
                    <a:pt x="201" y="141"/>
                  </a:cubicBezTo>
                  <a:cubicBezTo>
                    <a:pt x="208" y="131"/>
                    <a:pt x="195" y="103"/>
                    <a:pt x="132" y="103"/>
                  </a:cubicBezTo>
                  <a:cubicBezTo>
                    <a:pt x="127" y="103"/>
                    <a:pt x="123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8" y="103"/>
                    <a:pt x="117" y="104"/>
                    <a:pt x="116" y="104"/>
                  </a:cubicBezTo>
                  <a:cubicBezTo>
                    <a:pt x="77" y="107"/>
                    <a:pt x="49" y="130"/>
                    <a:pt x="49" y="130"/>
                  </a:cubicBezTo>
                  <a:cubicBezTo>
                    <a:pt x="49" y="129"/>
                    <a:pt x="49" y="129"/>
                    <a:pt x="49" y="129"/>
                  </a:cubicBezTo>
                  <a:cubicBezTo>
                    <a:pt x="18" y="156"/>
                    <a:pt x="0" y="195"/>
                    <a:pt x="0" y="237"/>
                  </a:cubicBezTo>
                  <a:cubicBezTo>
                    <a:pt x="0" y="316"/>
                    <a:pt x="63" y="380"/>
                    <a:pt x="142" y="380"/>
                  </a:cubicBezTo>
                  <a:cubicBezTo>
                    <a:pt x="168" y="380"/>
                    <a:pt x="192" y="373"/>
                    <a:pt x="214" y="360"/>
                  </a:cubicBezTo>
                  <a:cubicBezTo>
                    <a:pt x="220" y="364"/>
                    <a:pt x="225" y="368"/>
                    <a:pt x="231" y="371"/>
                  </a:cubicBezTo>
                  <a:lnTo>
                    <a:pt x="235" y="365"/>
                  </a:lnTo>
                  <a:close/>
                  <a:moveTo>
                    <a:pt x="453" y="183"/>
                  </a:moveTo>
                  <a:cubicBezTo>
                    <a:pt x="454" y="180"/>
                    <a:pt x="454" y="178"/>
                    <a:pt x="454" y="175"/>
                  </a:cubicBezTo>
                  <a:cubicBezTo>
                    <a:pt x="454" y="117"/>
                    <a:pt x="407" y="70"/>
                    <a:pt x="348" y="70"/>
                  </a:cubicBezTo>
                  <a:cubicBezTo>
                    <a:pt x="341" y="70"/>
                    <a:pt x="334" y="71"/>
                    <a:pt x="327" y="72"/>
                  </a:cubicBezTo>
                  <a:cubicBezTo>
                    <a:pt x="305" y="29"/>
                    <a:pt x="261" y="0"/>
                    <a:pt x="212" y="0"/>
                  </a:cubicBezTo>
                  <a:cubicBezTo>
                    <a:pt x="155" y="0"/>
                    <a:pt x="106" y="37"/>
                    <a:pt x="90" y="89"/>
                  </a:cubicBezTo>
                  <a:cubicBezTo>
                    <a:pt x="103" y="86"/>
                    <a:pt x="116" y="85"/>
                    <a:pt x="125" y="86"/>
                  </a:cubicBezTo>
                  <a:cubicBezTo>
                    <a:pt x="141" y="53"/>
                    <a:pt x="174" y="32"/>
                    <a:pt x="212" y="32"/>
                  </a:cubicBezTo>
                  <a:cubicBezTo>
                    <a:pt x="253" y="32"/>
                    <a:pt x="289" y="58"/>
                    <a:pt x="302" y="96"/>
                  </a:cubicBezTo>
                  <a:cubicBezTo>
                    <a:pt x="308" y="112"/>
                    <a:pt x="308" y="112"/>
                    <a:pt x="308" y="112"/>
                  </a:cubicBezTo>
                  <a:cubicBezTo>
                    <a:pt x="323" y="106"/>
                    <a:pt x="323" y="106"/>
                    <a:pt x="323" y="106"/>
                  </a:cubicBezTo>
                  <a:cubicBezTo>
                    <a:pt x="331" y="103"/>
                    <a:pt x="340" y="101"/>
                    <a:pt x="348" y="101"/>
                  </a:cubicBezTo>
                  <a:cubicBezTo>
                    <a:pt x="389" y="101"/>
                    <a:pt x="422" y="135"/>
                    <a:pt x="422" y="175"/>
                  </a:cubicBezTo>
                  <a:cubicBezTo>
                    <a:pt x="422" y="181"/>
                    <a:pt x="421" y="186"/>
                    <a:pt x="420" y="192"/>
                  </a:cubicBezTo>
                  <a:cubicBezTo>
                    <a:pt x="416" y="209"/>
                    <a:pt x="416" y="209"/>
                    <a:pt x="416" y="209"/>
                  </a:cubicBezTo>
                  <a:cubicBezTo>
                    <a:pt x="434" y="211"/>
                    <a:pt x="434" y="211"/>
                    <a:pt x="434" y="211"/>
                  </a:cubicBezTo>
                  <a:cubicBezTo>
                    <a:pt x="467" y="214"/>
                    <a:pt x="492" y="242"/>
                    <a:pt x="492" y="275"/>
                  </a:cubicBezTo>
                  <a:cubicBezTo>
                    <a:pt x="492" y="310"/>
                    <a:pt x="463" y="338"/>
                    <a:pt x="428" y="338"/>
                  </a:cubicBezTo>
                  <a:cubicBezTo>
                    <a:pt x="416" y="338"/>
                    <a:pt x="404" y="335"/>
                    <a:pt x="394" y="329"/>
                  </a:cubicBezTo>
                  <a:cubicBezTo>
                    <a:pt x="384" y="322"/>
                    <a:pt x="384" y="322"/>
                    <a:pt x="384" y="322"/>
                  </a:cubicBezTo>
                  <a:cubicBezTo>
                    <a:pt x="375" y="330"/>
                    <a:pt x="375" y="330"/>
                    <a:pt x="375" y="330"/>
                  </a:cubicBezTo>
                  <a:cubicBezTo>
                    <a:pt x="370" y="335"/>
                    <a:pt x="364" y="339"/>
                    <a:pt x="358" y="343"/>
                  </a:cubicBezTo>
                  <a:cubicBezTo>
                    <a:pt x="356" y="348"/>
                    <a:pt x="354" y="354"/>
                    <a:pt x="352" y="359"/>
                  </a:cubicBezTo>
                  <a:cubicBezTo>
                    <a:pt x="349" y="367"/>
                    <a:pt x="346" y="376"/>
                    <a:pt x="342" y="384"/>
                  </a:cubicBezTo>
                  <a:cubicBezTo>
                    <a:pt x="358" y="379"/>
                    <a:pt x="374" y="371"/>
                    <a:pt x="387" y="361"/>
                  </a:cubicBezTo>
                  <a:cubicBezTo>
                    <a:pt x="400" y="367"/>
                    <a:pt x="414" y="370"/>
                    <a:pt x="428" y="370"/>
                  </a:cubicBezTo>
                  <a:cubicBezTo>
                    <a:pt x="481" y="370"/>
                    <a:pt x="523" y="327"/>
                    <a:pt x="523" y="275"/>
                  </a:cubicBezTo>
                  <a:cubicBezTo>
                    <a:pt x="523" y="231"/>
                    <a:pt x="494" y="194"/>
                    <a:pt x="453" y="183"/>
                  </a:cubicBezTo>
                  <a:close/>
                  <a:moveTo>
                    <a:pt x="383" y="292"/>
                  </a:moveTo>
                  <a:cubicBezTo>
                    <a:pt x="313" y="171"/>
                    <a:pt x="313" y="171"/>
                    <a:pt x="313" y="171"/>
                  </a:cubicBezTo>
                  <a:cubicBezTo>
                    <a:pt x="244" y="292"/>
                    <a:pt x="244" y="292"/>
                    <a:pt x="244" y="292"/>
                  </a:cubicBezTo>
                  <a:cubicBezTo>
                    <a:pt x="282" y="292"/>
                    <a:pt x="282" y="292"/>
                    <a:pt x="282" y="292"/>
                  </a:cubicBezTo>
                  <a:cubicBezTo>
                    <a:pt x="274" y="341"/>
                    <a:pt x="252" y="385"/>
                    <a:pt x="220" y="420"/>
                  </a:cubicBezTo>
                  <a:cubicBezTo>
                    <a:pt x="297" y="420"/>
                    <a:pt x="297" y="420"/>
                    <a:pt x="297" y="420"/>
                  </a:cubicBezTo>
                  <a:cubicBezTo>
                    <a:pt x="321" y="382"/>
                    <a:pt x="338" y="338"/>
                    <a:pt x="343" y="292"/>
                  </a:cubicBezTo>
                  <a:lnTo>
                    <a:pt x="383" y="29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</p:grpSp>
      <p:sp>
        <p:nvSpPr>
          <p:cNvPr id="68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11790055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1987377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066147C5-186D-4E4C-9242-8148410B3D18}"/>
              </a:ext>
            </a:extLst>
          </p:cNvPr>
          <p:cNvSpPr/>
          <p:nvPr userDrawn="1"/>
        </p:nvSpPr>
        <p:spPr>
          <a:xfrm>
            <a:off x="0" y="-18878"/>
            <a:ext cx="12192000" cy="6876879"/>
          </a:xfrm>
          <a:prstGeom prst="rect">
            <a:avLst/>
          </a:prstGeom>
          <a:gradFill flip="none" rotWithShape="1">
            <a:gsLst>
              <a:gs pos="18000">
                <a:schemeClr val="accent6">
                  <a:lumMod val="67000"/>
                </a:schemeClr>
              </a:gs>
              <a:gs pos="100000">
                <a:schemeClr val="accent6"/>
              </a:gs>
            </a:gsLst>
            <a:lin ang="162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5FCFC23A-FBBD-1442-BC6B-7AACBBDF17DB}"/>
              </a:ext>
            </a:extLst>
          </p:cNvPr>
          <p:cNvGrpSpPr/>
          <p:nvPr userDrawn="1"/>
        </p:nvGrpSpPr>
        <p:grpSpPr>
          <a:xfrm>
            <a:off x="0" y="-18879"/>
            <a:ext cx="12192000" cy="675904"/>
            <a:chOff x="0" y="4267200"/>
            <a:chExt cx="12192000" cy="675904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A96D3F2C-5F04-B84F-B9D5-D61433C77E05}"/>
                </a:ext>
              </a:extLst>
            </p:cNvPr>
            <p:cNvSpPr/>
            <p:nvPr userDrawn="1"/>
          </p:nvSpPr>
          <p:spPr>
            <a:xfrm>
              <a:off x="122213" y="4435305"/>
              <a:ext cx="11951853" cy="4294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dist="88900" dir="5400000" sx="97000" sy="97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xmlns="" id="{4BCEF6D8-1372-DA4D-AAD1-0712D4C4C8D4}"/>
                </a:ext>
              </a:extLst>
            </p:cNvPr>
            <p:cNvSpPr/>
            <p:nvPr userDrawn="1"/>
          </p:nvSpPr>
          <p:spPr>
            <a:xfrm>
              <a:off x="0" y="4267200"/>
              <a:ext cx="12192000" cy="675904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3E5CDD5-3156-47A9-A019-94E8642F4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7" y="162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12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F3E5CDD5-3156-47A9-A019-94E8642F4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62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"/>
          <p:cNvSpPr>
            <a:spLocks noGrp="1"/>
          </p:cNvSpPr>
          <p:nvPr>
            <p:ph type="title" hasCustomPrompt="1"/>
          </p:nvPr>
        </p:nvSpPr>
        <p:spPr>
          <a:xfrm>
            <a:off x="1602515" y="177110"/>
            <a:ext cx="9905376" cy="30780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000" kern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45780014-60AD-4D4C-B6BB-A0DF121B2FEB}"/>
              </a:ext>
            </a:extLst>
          </p:cNvPr>
          <p:cNvSpPr>
            <a:spLocks/>
          </p:cNvSpPr>
          <p:nvPr userDrawn="1"/>
        </p:nvSpPr>
        <p:spPr bwMode="auto">
          <a:xfrm>
            <a:off x="11662261" y="161564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102572" tIns="102572" rIns="102572" bIns="102572" rtlCol="0" anchor="ctr"/>
          <a:lstStyle/>
          <a:p>
            <a:pPr marL="0" marR="0" lvl="0" indent="0" algn="ctr" defTabSz="121866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>
              <a:ln>
                <a:noFill/>
              </a:ln>
              <a:solidFill>
                <a:srgbClr val="787E7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22" name="Группа 21"/>
          <p:cNvGrpSpPr/>
          <p:nvPr userDrawn="1"/>
        </p:nvGrpSpPr>
        <p:grpSpPr>
          <a:xfrm>
            <a:off x="1048633" y="97273"/>
            <a:ext cx="448340" cy="439451"/>
            <a:chOff x="8495853" y="4519415"/>
            <a:chExt cx="681227" cy="667720"/>
          </a:xfrm>
        </p:grpSpPr>
        <p:sp>
          <p:nvSpPr>
            <p:cNvPr id="23" name="Oval 100"/>
            <p:cNvSpPr/>
            <p:nvPr/>
          </p:nvSpPr>
          <p:spPr>
            <a:xfrm flipH="1">
              <a:off x="8495853" y="4519415"/>
              <a:ext cx="681227" cy="667720"/>
            </a:xfrm>
            <a:prstGeom prst="ellipse">
              <a:avLst/>
            </a:prstGeom>
            <a:solidFill>
              <a:schemeClr val="accent6"/>
            </a:solidFill>
            <a:ln w="19050" cap="rnd" cmpd="sng" algn="ctr">
              <a:solidFill>
                <a:schemeClr val="accent4"/>
              </a:solidFill>
              <a:prstDash val="solid"/>
            </a:ln>
            <a:effectLst/>
          </p:spPr>
          <p:txBody>
            <a:bodyPr lIns="40500" tIns="40500" rIns="40500" bIns="40500" rtlCol="0" anchor="ctr"/>
            <a:lstStyle/>
            <a:p>
              <a:pPr algn="ctr" defTabSz="685783">
                <a:defRPr/>
              </a:pPr>
              <a:endParaRPr lang="en-US" sz="751" kern="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24" name="Group 15"/>
            <p:cNvGrpSpPr>
              <a:grpSpLocks noChangeAspect="1"/>
            </p:cNvGrpSpPr>
            <p:nvPr/>
          </p:nvGrpSpPr>
          <p:grpSpPr bwMode="auto">
            <a:xfrm>
              <a:off x="8636192" y="4638991"/>
              <a:ext cx="383724" cy="385468"/>
              <a:chOff x="4843" y="2141"/>
              <a:chExt cx="220" cy="221"/>
            </a:xfrm>
            <a:solidFill>
              <a:schemeClr val="accent4"/>
            </a:solidFill>
          </p:grpSpPr>
          <p:sp>
            <p:nvSpPr>
              <p:cNvPr id="25" name="Freeform 16"/>
              <p:cNvSpPr>
                <a:spLocks/>
              </p:cNvSpPr>
              <p:nvPr/>
            </p:nvSpPr>
            <p:spPr bwMode="auto">
              <a:xfrm>
                <a:off x="4843" y="2298"/>
                <a:ext cx="184" cy="64"/>
              </a:xfrm>
              <a:custGeom>
                <a:avLst/>
                <a:gdLst>
                  <a:gd name="T0" fmla="*/ 584 w 1371"/>
                  <a:gd name="T1" fmla="*/ 473 h 473"/>
                  <a:gd name="T2" fmla="*/ 489 w 1371"/>
                  <a:gd name="T3" fmla="*/ 464 h 473"/>
                  <a:gd name="T4" fmla="*/ 142 w 1371"/>
                  <a:gd name="T5" fmla="*/ 375 h 473"/>
                  <a:gd name="T6" fmla="*/ 18 w 1371"/>
                  <a:gd name="T7" fmla="*/ 273 h 473"/>
                  <a:gd name="T8" fmla="*/ 0 w 1371"/>
                  <a:gd name="T9" fmla="*/ 213 h 473"/>
                  <a:gd name="T10" fmla="*/ 0 w 1371"/>
                  <a:gd name="T11" fmla="*/ 17 h 473"/>
                  <a:gd name="T12" fmla="*/ 13 w 1371"/>
                  <a:gd name="T13" fmla="*/ 8 h 473"/>
                  <a:gd name="T14" fmla="*/ 285 w 1371"/>
                  <a:gd name="T15" fmla="*/ 107 h 473"/>
                  <a:gd name="T16" fmla="*/ 769 w 1371"/>
                  <a:gd name="T17" fmla="*/ 141 h 473"/>
                  <a:gd name="T18" fmla="*/ 1176 w 1371"/>
                  <a:gd name="T19" fmla="*/ 85 h 473"/>
                  <a:gd name="T20" fmla="*/ 1352 w 1371"/>
                  <a:gd name="T21" fmla="*/ 10 h 473"/>
                  <a:gd name="T22" fmla="*/ 1365 w 1371"/>
                  <a:gd name="T23" fmla="*/ 5 h 473"/>
                  <a:gd name="T24" fmla="*/ 1369 w 1371"/>
                  <a:gd name="T25" fmla="*/ 20 h 473"/>
                  <a:gd name="T26" fmla="*/ 1369 w 1371"/>
                  <a:gd name="T27" fmla="*/ 218 h 473"/>
                  <a:gd name="T28" fmla="*/ 1333 w 1371"/>
                  <a:gd name="T29" fmla="*/ 298 h 473"/>
                  <a:gd name="T30" fmla="*/ 1178 w 1371"/>
                  <a:gd name="T31" fmla="*/ 396 h 473"/>
                  <a:gd name="T32" fmla="*/ 876 w 1371"/>
                  <a:gd name="T33" fmla="*/ 464 h 473"/>
                  <a:gd name="T34" fmla="*/ 786 w 1371"/>
                  <a:gd name="T35" fmla="*/ 473 h 473"/>
                  <a:gd name="T36" fmla="*/ 584 w 1371"/>
                  <a:gd name="T37" fmla="*/ 473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71" h="473">
                    <a:moveTo>
                      <a:pt x="584" y="473"/>
                    </a:moveTo>
                    <a:cubicBezTo>
                      <a:pt x="552" y="470"/>
                      <a:pt x="520" y="467"/>
                      <a:pt x="489" y="464"/>
                    </a:cubicBezTo>
                    <a:cubicBezTo>
                      <a:pt x="369" y="450"/>
                      <a:pt x="252" y="427"/>
                      <a:pt x="142" y="375"/>
                    </a:cubicBezTo>
                    <a:cubicBezTo>
                      <a:pt x="93" y="351"/>
                      <a:pt x="47" y="322"/>
                      <a:pt x="18" y="273"/>
                    </a:cubicBezTo>
                    <a:cubicBezTo>
                      <a:pt x="7" y="255"/>
                      <a:pt x="0" y="235"/>
                      <a:pt x="0" y="213"/>
                    </a:cubicBezTo>
                    <a:cubicBezTo>
                      <a:pt x="1" y="148"/>
                      <a:pt x="1" y="82"/>
                      <a:pt x="0" y="17"/>
                    </a:cubicBezTo>
                    <a:cubicBezTo>
                      <a:pt x="0" y="8"/>
                      <a:pt x="1" y="0"/>
                      <a:pt x="13" y="8"/>
                    </a:cubicBezTo>
                    <a:cubicBezTo>
                      <a:pt x="97" y="61"/>
                      <a:pt x="190" y="87"/>
                      <a:pt x="285" y="107"/>
                    </a:cubicBezTo>
                    <a:cubicBezTo>
                      <a:pt x="445" y="140"/>
                      <a:pt x="607" y="146"/>
                      <a:pt x="769" y="141"/>
                    </a:cubicBezTo>
                    <a:cubicBezTo>
                      <a:pt x="906" y="137"/>
                      <a:pt x="1043" y="123"/>
                      <a:pt x="1176" y="85"/>
                    </a:cubicBezTo>
                    <a:cubicBezTo>
                      <a:pt x="1238" y="67"/>
                      <a:pt x="1298" y="45"/>
                      <a:pt x="1352" y="10"/>
                    </a:cubicBezTo>
                    <a:cubicBezTo>
                      <a:pt x="1356" y="8"/>
                      <a:pt x="1360" y="3"/>
                      <a:pt x="1365" y="5"/>
                    </a:cubicBezTo>
                    <a:cubicBezTo>
                      <a:pt x="1371" y="8"/>
                      <a:pt x="1369" y="15"/>
                      <a:pt x="1369" y="20"/>
                    </a:cubicBezTo>
                    <a:cubicBezTo>
                      <a:pt x="1369" y="86"/>
                      <a:pt x="1369" y="152"/>
                      <a:pt x="1369" y="218"/>
                    </a:cubicBezTo>
                    <a:cubicBezTo>
                      <a:pt x="1368" y="249"/>
                      <a:pt x="1353" y="275"/>
                      <a:pt x="1333" y="298"/>
                    </a:cubicBezTo>
                    <a:cubicBezTo>
                      <a:pt x="1291" y="346"/>
                      <a:pt x="1236" y="373"/>
                      <a:pt x="1178" y="396"/>
                    </a:cubicBezTo>
                    <a:cubicBezTo>
                      <a:pt x="1081" y="434"/>
                      <a:pt x="979" y="453"/>
                      <a:pt x="876" y="464"/>
                    </a:cubicBezTo>
                    <a:cubicBezTo>
                      <a:pt x="846" y="467"/>
                      <a:pt x="816" y="470"/>
                      <a:pt x="786" y="473"/>
                    </a:cubicBezTo>
                    <a:cubicBezTo>
                      <a:pt x="718" y="473"/>
                      <a:pt x="651" y="473"/>
                      <a:pt x="584" y="4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17"/>
              <p:cNvSpPr>
                <a:spLocks/>
              </p:cNvSpPr>
              <p:nvPr/>
            </p:nvSpPr>
            <p:spPr bwMode="auto">
              <a:xfrm>
                <a:off x="4894" y="2141"/>
                <a:ext cx="169" cy="56"/>
              </a:xfrm>
              <a:custGeom>
                <a:avLst/>
                <a:gdLst>
                  <a:gd name="T0" fmla="*/ 1263 w 1263"/>
                  <a:gd name="T1" fmla="*/ 314 h 416"/>
                  <a:gd name="T2" fmla="*/ 1114 w 1263"/>
                  <a:gd name="T3" fmla="*/ 395 h 416"/>
                  <a:gd name="T4" fmla="*/ 1056 w 1263"/>
                  <a:gd name="T5" fmla="*/ 413 h 416"/>
                  <a:gd name="T6" fmla="*/ 1042 w 1263"/>
                  <a:gd name="T7" fmla="*/ 403 h 416"/>
                  <a:gd name="T8" fmla="*/ 943 w 1263"/>
                  <a:gd name="T9" fmla="*/ 233 h 416"/>
                  <a:gd name="T10" fmla="*/ 696 w 1263"/>
                  <a:gd name="T11" fmla="*/ 132 h 416"/>
                  <a:gd name="T12" fmla="*/ 462 w 1263"/>
                  <a:gd name="T13" fmla="*/ 99 h 416"/>
                  <a:gd name="T14" fmla="*/ 243 w 1263"/>
                  <a:gd name="T15" fmla="*/ 97 h 416"/>
                  <a:gd name="T16" fmla="*/ 15 w 1263"/>
                  <a:gd name="T17" fmla="*/ 124 h 416"/>
                  <a:gd name="T18" fmla="*/ 0 w 1263"/>
                  <a:gd name="T19" fmla="*/ 122 h 416"/>
                  <a:gd name="T20" fmla="*/ 47 w 1263"/>
                  <a:gd name="T21" fmla="*/ 96 h 416"/>
                  <a:gd name="T22" fmla="*/ 354 w 1263"/>
                  <a:gd name="T23" fmla="*/ 15 h 416"/>
                  <a:gd name="T24" fmla="*/ 648 w 1263"/>
                  <a:gd name="T25" fmla="*/ 3 h 416"/>
                  <a:gd name="T26" fmla="*/ 1057 w 1263"/>
                  <a:gd name="T27" fmla="*/ 72 h 416"/>
                  <a:gd name="T28" fmla="*/ 1213 w 1263"/>
                  <a:gd name="T29" fmla="*/ 162 h 416"/>
                  <a:gd name="T30" fmla="*/ 1263 w 1263"/>
                  <a:gd name="T31" fmla="*/ 237 h 416"/>
                  <a:gd name="T32" fmla="*/ 1263 w 1263"/>
                  <a:gd name="T33" fmla="*/ 314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63" h="416">
                    <a:moveTo>
                      <a:pt x="1263" y="314"/>
                    </a:moveTo>
                    <a:cubicBezTo>
                      <a:pt x="1221" y="355"/>
                      <a:pt x="1168" y="375"/>
                      <a:pt x="1114" y="395"/>
                    </a:cubicBezTo>
                    <a:cubicBezTo>
                      <a:pt x="1095" y="402"/>
                      <a:pt x="1075" y="407"/>
                      <a:pt x="1056" y="413"/>
                    </a:cubicBezTo>
                    <a:cubicBezTo>
                      <a:pt x="1046" y="416"/>
                      <a:pt x="1041" y="413"/>
                      <a:pt x="1042" y="403"/>
                    </a:cubicBezTo>
                    <a:cubicBezTo>
                      <a:pt x="1048" y="323"/>
                      <a:pt x="1001" y="274"/>
                      <a:pt x="943" y="233"/>
                    </a:cubicBezTo>
                    <a:cubicBezTo>
                      <a:pt x="868" y="181"/>
                      <a:pt x="783" y="153"/>
                      <a:pt x="696" y="132"/>
                    </a:cubicBezTo>
                    <a:cubicBezTo>
                      <a:pt x="619" y="114"/>
                      <a:pt x="541" y="105"/>
                      <a:pt x="462" y="99"/>
                    </a:cubicBezTo>
                    <a:cubicBezTo>
                      <a:pt x="389" y="94"/>
                      <a:pt x="316" y="95"/>
                      <a:pt x="243" y="97"/>
                    </a:cubicBezTo>
                    <a:cubicBezTo>
                      <a:pt x="166" y="100"/>
                      <a:pt x="90" y="109"/>
                      <a:pt x="15" y="124"/>
                    </a:cubicBezTo>
                    <a:cubicBezTo>
                      <a:pt x="11" y="124"/>
                      <a:pt x="7" y="126"/>
                      <a:pt x="0" y="122"/>
                    </a:cubicBezTo>
                    <a:cubicBezTo>
                      <a:pt x="17" y="113"/>
                      <a:pt x="31" y="104"/>
                      <a:pt x="47" y="96"/>
                    </a:cubicBezTo>
                    <a:cubicBezTo>
                      <a:pt x="144" y="51"/>
                      <a:pt x="248" y="29"/>
                      <a:pt x="354" y="15"/>
                    </a:cubicBezTo>
                    <a:cubicBezTo>
                      <a:pt x="452" y="2"/>
                      <a:pt x="550" y="0"/>
                      <a:pt x="648" y="3"/>
                    </a:cubicBezTo>
                    <a:cubicBezTo>
                      <a:pt x="787" y="7"/>
                      <a:pt x="925" y="23"/>
                      <a:pt x="1057" y="72"/>
                    </a:cubicBezTo>
                    <a:cubicBezTo>
                      <a:pt x="1114" y="93"/>
                      <a:pt x="1168" y="120"/>
                      <a:pt x="1213" y="162"/>
                    </a:cubicBezTo>
                    <a:cubicBezTo>
                      <a:pt x="1236" y="183"/>
                      <a:pt x="1251" y="209"/>
                      <a:pt x="1263" y="237"/>
                    </a:cubicBezTo>
                    <a:cubicBezTo>
                      <a:pt x="1263" y="262"/>
                      <a:pt x="1263" y="288"/>
                      <a:pt x="1263" y="3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18"/>
              <p:cNvSpPr>
                <a:spLocks/>
              </p:cNvSpPr>
              <p:nvPr/>
            </p:nvSpPr>
            <p:spPr bwMode="auto">
              <a:xfrm>
                <a:off x="5034" y="2192"/>
                <a:ext cx="29" cy="48"/>
              </a:xfrm>
              <a:custGeom>
                <a:avLst/>
                <a:gdLst>
                  <a:gd name="T0" fmla="*/ 221 w 221"/>
                  <a:gd name="T1" fmla="*/ 259 h 360"/>
                  <a:gd name="T2" fmla="*/ 52 w 221"/>
                  <a:gd name="T3" fmla="*/ 345 h 360"/>
                  <a:gd name="T4" fmla="*/ 13 w 221"/>
                  <a:gd name="T5" fmla="*/ 357 h 360"/>
                  <a:gd name="T6" fmla="*/ 0 w 221"/>
                  <a:gd name="T7" fmla="*/ 347 h 360"/>
                  <a:gd name="T8" fmla="*/ 0 w 221"/>
                  <a:gd name="T9" fmla="*/ 338 h 360"/>
                  <a:gd name="T10" fmla="*/ 0 w 221"/>
                  <a:gd name="T11" fmla="*/ 106 h 360"/>
                  <a:gd name="T12" fmla="*/ 19 w 221"/>
                  <a:gd name="T13" fmla="*/ 80 h 360"/>
                  <a:gd name="T14" fmla="*/ 215 w 221"/>
                  <a:gd name="T15" fmla="*/ 1 h 360"/>
                  <a:gd name="T16" fmla="*/ 221 w 221"/>
                  <a:gd name="T17" fmla="*/ 0 h 360"/>
                  <a:gd name="T18" fmla="*/ 221 w 221"/>
                  <a:gd name="T19" fmla="*/ 259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1" h="360">
                    <a:moveTo>
                      <a:pt x="221" y="259"/>
                    </a:moveTo>
                    <a:cubicBezTo>
                      <a:pt x="172" y="302"/>
                      <a:pt x="113" y="326"/>
                      <a:pt x="52" y="345"/>
                    </a:cubicBezTo>
                    <a:cubicBezTo>
                      <a:pt x="39" y="349"/>
                      <a:pt x="26" y="353"/>
                      <a:pt x="13" y="357"/>
                    </a:cubicBezTo>
                    <a:cubicBezTo>
                      <a:pt x="4" y="360"/>
                      <a:pt x="0" y="356"/>
                      <a:pt x="0" y="347"/>
                    </a:cubicBezTo>
                    <a:cubicBezTo>
                      <a:pt x="0" y="344"/>
                      <a:pt x="0" y="341"/>
                      <a:pt x="0" y="338"/>
                    </a:cubicBezTo>
                    <a:cubicBezTo>
                      <a:pt x="0" y="260"/>
                      <a:pt x="0" y="183"/>
                      <a:pt x="0" y="106"/>
                    </a:cubicBezTo>
                    <a:cubicBezTo>
                      <a:pt x="0" y="91"/>
                      <a:pt x="4" y="84"/>
                      <a:pt x="19" y="80"/>
                    </a:cubicBezTo>
                    <a:cubicBezTo>
                      <a:pt x="87" y="62"/>
                      <a:pt x="154" y="39"/>
                      <a:pt x="215" y="1"/>
                    </a:cubicBezTo>
                    <a:cubicBezTo>
                      <a:pt x="217" y="0"/>
                      <a:pt x="219" y="0"/>
                      <a:pt x="221" y="0"/>
                    </a:cubicBezTo>
                    <a:cubicBezTo>
                      <a:pt x="221" y="86"/>
                      <a:pt x="221" y="172"/>
                      <a:pt x="221" y="2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19"/>
              <p:cNvSpPr>
                <a:spLocks/>
              </p:cNvSpPr>
              <p:nvPr/>
            </p:nvSpPr>
            <p:spPr bwMode="auto">
              <a:xfrm>
                <a:off x="5034" y="2235"/>
                <a:ext cx="29" cy="49"/>
              </a:xfrm>
              <a:custGeom>
                <a:avLst/>
                <a:gdLst>
                  <a:gd name="T0" fmla="*/ 221 w 221"/>
                  <a:gd name="T1" fmla="*/ 262 h 362"/>
                  <a:gd name="T2" fmla="*/ 19 w 221"/>
                  <a:gd name="T3" fmla="*/ 357 h 362"/>
                  <a:gd name="T4" fmla="*/ 0 w 221"/>
                  <a:gd name="T5" fmla="*/ 344 h 362"/>
                  <a:gd name="T6" fmla="*/ 0 w 221"/>
                  <a:gd name="T7" fmla="*/ 111 h 362"/>
                  <a:gd name="T8" fmla="*/ 17 w 221"/>
                  <a:gd name="T9" fmla="*/ 87 h 362"/>
                  <a:gd name="T10" fmla="*/ 179 w 221"/>
                  <a:gd name="T11" fmla="*/ 23 h 362"/>
                  <a:gd name="T12" fmla="*/ 221 w 221"/>
                  <a:gd name="T13" fmla="*/ 0 h 362"/>
                  <a:gd name="T14" fmla="*/ 221 w 221"/>
                  <a:gd name="T15" fmla="*/ 2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1" h="362">
                    <a:moveTo>
                      <a:pt x="221" y="262"/>
                    </a:moveTo>
                    <a:cubicBezTo>
                      <a:pt x="162" y="311"/>
                      <a:pt x="91" y="336"/>
                      <a:pt x="19" y="357"/>
                    </a:cubicBezTo>
                    <a:cubicBezTo>
                      <a:pt x="2" y="362"/>
                      <a:pt x="0" y="361"/>
                      <a:pt x="0" y="344"/>
                    </a:cubicBezTo>
                    <a:cubicBezTo>
                      <a:pt x="0" y="266"/>
                      <a:pt x="0" y="188"/>
                      <a:pt x="0" y="111"/>
                    </a:cubicBezTo>
                    <a:cubicBezTo>
                      <a:pt x="0" y="97"/>
                      <a:pt x="5" y="91"/>
                      <a:pt x="17" y="87"/>
                    </a:cubicBezTo>
                    <a:cubicBezTo>
                      <a:pt x="72" y="68"/>
                      <a:pt x="128" y="51"/>
                      <a:pt x="179" y="23"/>
                    </a:cubicBezTo>
                    <a:cubicBezTo>
                      <a:pt x="193" y="16"/>
                      <a:pt x="207" y="8"/>
                      <a:pt x="221" y="0"/>
                    </a:cubicBezTo>
                    <a:cubicBezTo>
                      <a:pt x="221" y="87"/>
                      <a:pt x="221" y="175"/>
                      <a:pt x="221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0"/>
              <p:cNvSpPr>
                <a:spLocks/>
              </p:cNvSpPr>
              <p:nvPr/>
            </p:nvSpPr>
            <p:spPr bwMode="auto">
              <a:xfrm>
                <a:off x="5034" y="2279"/>
                <a:ext cx="29" cy="54"/>
              </a:xfrm>
              <a:custGeom>
                <a:avLst/>
                <a:gdLst>
                  <a:gd name="T0" fmla="*/ 216 w 216"/>
                  <a:gd name="T1" fmla="*/ 237 h 402"/>
                  <a:gd name="T2" fmla="*/ 39 w 216"/>
                  <a:gd name="T3" fmla="*/ 388 h 402"/>
                  <a:gd name="T4" fmla="*/ 10 w 216"/>
                  <a:gd name="T5" fmla="*/ 400 h 402"/>
                  <a:gd name="T6" fmla="*/ 4 w 216"/>
                  <a:gd name="T7" fmla="*/ 393 h 402"/>
                  <a:gd name="T8" fmla="*/ 23 w 216"/>
                  <a:gd name="T9" fmla="*/ 269 h 402"/>
                  <a:gd name="T10" fmla="*/ 23 w 216"/>
                  <a:gd name="T11" fmla="*/ 106 h 402"/>
                  <a:gd name="T12" fmla="*/ 33 w 216"/>
                  <a:gd name="T13" fmla="*/ 84 h 402"/>
                  <a:gd name="T14" fmla="*/ 211 w 216"/>
                  <a:gd name="T15" fmla="*/ 1 h 402"/>
                  <a:gd name="T16" fmla="*/ 216 w 216"/>
                  <a:gd name="T17" fmla="*/ 0 h 402"/>
                  <a:gd name="T18" fmla="*/ 216 w 216"/>
                  <a:gd name="T19" fmla="*/ 237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6" h="402">
                    <a:moveTo>
                      <a:pt x="216" y="237"/>
                    </a:moveTo>
                    <a:cubicBezTo>
                      <a:pt x="185" y="320"/>
                      <a:pt x="113" y="355"/>
                      <a:pt x="39" y="388"/>
                    </a:cubicBezTo>
                    <a:cubicBezTo>
                      <a:pt x="30" y="393"/>
                      <a:pt x="20" y="396"/>
                      <a:pt x="10" y="400"/>
                    </a:cubicBezTo>
                    <a:cubicBezTo>
                      <a:pt x="3" y="402"/>
                      <a:pt x="0" y="399"/>
                      <a:pt x="4" y="393"/>
                    </a:cubicBezTo>
                    <a:cubicBezTo>
                      <a:pt x="28" y="354"/>
                      <a:pt x="23" y="311"/>
                      <a:pt x="23" y="269"/>
                    </a:cubicBezTo>
                    <a:cubicBezTo>
                      <a:pt x="23" y="214"/>
                      <a:pt x="23" y="160"/>
                      <a:pt x="23" y="106"/>
                    </a:cubicBezTo>
                    <a:cubicBezTo>
                      <a:pt x="23" y="97"/>
                      <a:pt x="23" y="89"/>
                      <a:pt x="33" y="84"/>
                    </a:cubicBezTo>
                    <a:cubicBezTo>
                      <a:pt x="93" y="57"/>
                      <a:pt x="152" y="29"/>
                      <a:pt x="211" y="1"/>
                    </a:cubicBezTo>
                    <a:cubicBezTo>
                      <a:pt x="213" y="0"/>
                      <a:pt x="214" y="0"/>
                      <a:pt x="216" y="0"/>
                    </a:cubicBezTo>
                    <a:cubicBezTo>
                      <a:pt x="216" y="79"/>
                      <a:pt x="216" y="158"/>
                      <a:pt x="216" y="2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21"/>
              <p:cNvSpPr>
                <a:spLocks/>
              </p:cNvSpPr>
              <p:nvPr/>
            </p:nvSpPr>
            <p:spPr bwMode="auto">
              <a:xfrm>
                <a:off x="4843" y="2161"/>
                <a:ext cx="184" cy="63"/>
              </a:xfrm>
              <a:custGeom>
                <a:avLst/>
                <a:gdLst>
                  <a:gd name="T0" fmla="*/ 689 w 1377"/>
                  <a:gd name="T1" fmla="*/ 0 h 468"/>
                  <a:gd name="T2" fmla="*/ 1073 w 1377"/>
                  <a:gd name="T3" fmla="*/ 42 h 468"/>
                  <a:gd name="T4" fmla="*/ 1298 w 1377"/>
                  <a:gd name="T5" fmla="*/ 141 h 468"/>
                  <a:gd name="T6" fmla="*/ 1369 w 1377"/>
                  <a:gd name="T7" fmla="*/ 235 h 468"/>
                  <a:gd name="T8" fmla="*/ 1372 w 1377"/>
                  <a:gd name="T9" fmla="*/ 308 h 468"/>
                  <a:gd name="T10" fmla="*/ 1350 w 1377"/>
                  <a:gd name="T11" fmla="*/ 330 h 468"/>
                  <a:gd name="T12" fmla="*/ 1252 w 1377"/>
                  <a:gd name="T13" fmla="*/ 383 h 468"/>
                  <a:gd name="T14" fmla="*/ 965 w 1377"/>
                  <a:gd name="T15" fmla="*/ 450 h 468"/>
                  <a:gd name="T16" fmla="*/ 703 w 1377"/>
                  <a:gd name="T17" fmla="*/ 468 h 468"/>
                  <a:gd name="T18" fmla="*/ 472 w 1377"/>
                  <a:gd name="T19" fmla="*/ 457 h 468"/>
                  <a:gd name="T20" fmla="*/ 204 w 1377"/>
                  <a:gd name="T21" fmla="*/ 409 h 468"/>
                  <a:gd name="T22" fmla="*/ 30 w 1377"/>
                  <a:gd name="T23" fmla="*/ 333 h 468"/>
                  <a:gd name="T24" fmla="*/ 4 w 1377"/>
                  <a:gd name="T25" fmla="*/ 284 h 468"/>
                  <a:gd name="T26" fmla="*/ 75 w 1377"/>
                  <a:gd name="T27" fmla="*/ 143 h 468"/>
                  <a:gd name="T28" fmla="*/ 304 w 1377"/>
                  <a:gd name="T29" fmla="*/ 42 h 468"/>
                  <a:gd name="T30" fmla="*/ 584 w 1377"/>
                  <a:gd name="T31" fmla="*/ 3 h 468"/>
                  <a:gd name="T32" fmla="*/ 689 w 1377"/>
                  <a:gd name="T33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7" h="468">
                    <a:moveTo>
                      <a:pt x="689" y="0"/>
                    </a:moveTo>
                    <a:cubicBezTo>
                      <a:pt x="819" y="0"/>
                      <a:pt x="947" y="10"/>
                      <a:pt x="1073" y="42"/>
                    </a:cubicBezTo>
                    <a:cubicBezTo>
                      <a:pt x="1153" y="62"/>
                      <a:pt x="1231" y="90"/>
                      <a:pt x="1298" y="141"/>
                    </a:cubicBezTo>
                    <a:cubicBezTo>
                      <a:pt x="1331" y="165"/>
                      <a:pt x="1357" y="195"/>
                      <a:pt x="1369" y="235"/>
                    </a:cubicBezTo>
                    <a:cubicBezTo>
                      <a:pt x="1377" y="259"/>
                      <a:pt x="1373" y="283"/>
                      <a:pt x="1372" y="308"/>
                    </a:cubicBezTo>
                    <a:cubicBezTo>
                      <a:pt x="1371" y="318"/>
                      <a:pt x="1359" y="324"/>
                      <a:pt x="1350" y="330"/>
                    </a:cubicBezTo>
                    <a:cubicBezTo>
                      <a:pt x="1320" y="353"/>
                      <a:pt x="1287" y="369"/>
                      <a:pt x="1252" y="383"/>
                    </a:cubicBezTo>
                    <a:cubicBezTo>
                      <a:pt x="1159" y="418"/>
                      <a:pt x="1063" y="437"/>
                      <a:pt x="965" y="450"/>
                    </a:cubicBezTo>
                    <a:cubicBezTo>
                      <a:pt x="878" y="462"/>
                      <a:pt x="791" y="467"/>
                      <a:pt x="703" y="468"/>
                    </a:cubicBezTo>
                    <a:cubicBezTo>
                      <a:pt x="626" y="468"/>
                      <a:pt x="549" y="465"/>
                      <a:pt x="472" y="457"/>
                    </a:cubicBezTo>
                    <a:cubicBezTo>
                      <a:pt x="381" y="448"/>
                      <a:pt x="292" y="434"/>
                      <a:pt x="204" y="409"/>
                    </a:cubicBezTo>
                    <a:cubicBezTo>
                      <a:pt x="143" y="391"/>
                      <a:pt x="83" y="370"/>
                      <a:pt x="30" y="333"/>
                    </a:cubicBezTo>
                    <a:cubicBezTo>
                      <a:pt x="12" y="321"/>
                      <a:pt x="5" y="307"/>
                      <a:pt x="4" y="284"/>
                    </a:cubicBezTo>
                    <a:cubicBezTo>
                      <a:pt x="0" y="222"/>
                      <a:pt x="30" y="179"/>
                      <a:pt x="75" y="143"/>
                    </a:cubicBezTo>
                    <a:cubicBezTo>
                      <a:pt x="143" y="90"/>
                      <a:pt x="222" y="63"/>
                      <a:pt x="304" y="42"/>
                    </a:cubicBezTo>
                    <a:cubicBezTo>
                      <a:pt x="396" y="19"/>
                      <a:pt x="489" y="7"/>
                      <a:pt x="584" y="3"/>
                    </a:cubicBezTo>
                    <a:cubicBezTo>
                      <a:pt x="619" y="1"/>
                      <a:pt x="654" y="1"/>
                      <a:pt x="68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22"/>
              <p:cNvSpPr>
                <a:spLocks/>
              </p:cNvSpPr>
              <p:nvPr/>
            </p:nvSpPr>
            <p:spPr bwMode="auto">
              <a:xfrm>
                <a:off x="4843" y="2211"/>
                <a:ext cx="184" cy="56"/>
              </a:xfrm>
              <a:custGeom>
                <a:avLst/>
                <a:gdLst>
                  <a:gd name="T0" fmla="*/ 1 w 1370"/>
                  <a:gd name="T1" fmla="*/ 131 h 418"/>
                  <a:gd name="T2" fmla="*/ 1 w 1370"/>
                  <a:gd name="T3" fmla="*/ 15 h 418"/>
                  <a:gd name="T4" fmla="*/ 14 w 1370"/>
                  <a:gd name="T5" fmla="*/ 7 h 418"/>
                  <a:gd name="T6" fmla="*/ 261 w 1370"/>
                  <a:gd name="T7" fmla="*/ 96 h 418"/>
                  <a:gd name="T8" fmla="*/ 523 w 1370"/>
                  <a:gd name="T9" fmla="*/ 133 h 418"/>
                  <a:gd name="T10" fmla="*/ 761 w 1370"/>
                  <a:gd name="T11" fmla="*/ 138 h 418"/>
                  <a:gd name="T12" fmla="*/ 1236 w 1370"/>
                  <a:gd name="T13" fmla="*/ 62 h 418"/>
                  <a:gd name="T14" fmla="*/ 1354 w 1370"/>
                  <a:gd name="T15" fmla="*/ 8 h 418"/>
                  <a:gd name="T16" fmla="*/ 1370 w 1370"/>
                  <a:gd name="T17" fmla="*/ 17 h 418"/>
                  <a:gd name="T18" fmla="*/ 1370 w 1370"/>
                  <a:gd name="T19" fmla="*/ 245 h 418"/>
                  <a:gd name="T20" fmla="*/ 1357 w 1370"/>
                  <a:gd name="T21" fmla="*/ 270 h 418"/>
                  <a:gd name="T22" fmla="*/ 1220 w 1370"/>
                  <a:gd name="T23" fmla="*/ 341 h 418"/>
                  <a:gd name="T24" fmla="*/ 890 w 1370"/>
                  <a:gd name="T25" fmla="*/ 406 h 418"/>
                  <a:gd name="T26" fmla="*/ 610 w 1370"/>
                  <a:gd name="T27" fmla="*/ 415 h 418"/>
                  <a:gd name="T28" fmla="*/ 160 w 1370"/>
                  <a:gd name="T29" fmla="*/ 344 h 418"/>
                  <a:gd name="T30" fmla="*/ 21 w 1370"/>
                  <a:gd name="T31" fmla="*/ 277 h 418"/>
                  <a:gd name="T32" fmla="*/ 1 w 1370"/>
                  <a:gd name="T33" fmla="*/ 237 h 418"/>
                  <a:gd name="T34" fmla="*/ 1 w 1370"/>
                  <a:gd name="T35" fmla="*/ 131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70" h="418">
                    <a:moveTo>
                      <a:pt x="1" y="131"/>
                    </a:moveTo>
                    <a:cubicBezTo>
                      <a:pt x="2" y="92"/>
                      <a:pt x="2" y="54"/>
                      <a:pt x="1" y="15"/>
                    </a:cubicBezTo>
                    <a:cubicBezTo>
                      <a:pt x="1" y="5"/>
                      <a:pt x="4" y="0"/>
                      <a:pt x="14" y="7"/>
                    </a:cubicBezTo>
                    <a:cubicBezTo>
                      <a:pt x="90" y="54"/>
                      <a:pt x="175" y="78"/>
                      <a:pt x="261" y="96"/>
                    </a:cubicBezTo>
                    <a:cubicBezTo>
                      <a:pt x="347" y="115"/>
                      <a:pt x="435" y="126"/>
                      <a:pt x="523" y="133"/>
                    </a:cubicBezTo>
                    <a:cubicBezTo>
                      <a:pt x="603" y="139"/>
                      <a:pt x="682" y="141"/>
                      <a:pt x="761" y="138"/>
                    </a:cubicBezTo>
                    <a:cubicBezTo>
                      <a:pt x="923" y="131"/>
                      <a:pt x="1082" y="113"/>
                      <a:pt x="1236" y="62"/>
                    </a:cubicBezTo>
                    <a:cubicBezTo>
                      <a:pt x="1277" y="48"/>
                      <a:pt x="1317" y="31"/>
                      <a:pt x="1354" y="8"/>
                    </a:cubicBezTo>
                    <a:cubicBezTo>
                      <a:pt x="1367" y="0"/>
                      <a:pt x="1370" y="1"/>
                      <a:pt x="1370" y="17"/>
                    </a:cubicBezTo>
                    <a:cubicBezTo>
                      <a:pt x="1370" y="93"/>
                      <a:pt x="1370" y="169"/>
                      <a:pt x="1370" y="245"/>
                    </a:cubicBezTo>
                    <a:cubicBezTo>
                      <a:pt x="1370" y="256"/>
                      <a:pt x="1366" y="264"/>
                      <a:pt x="1357" y="270"/>
                    </a:cubicBezTo>
                    <a:cubicBezTo>
                      <a:pt x="1316" y="304"/>
                      <a:pt x="1269" y="324"/>
                      <a:pt x="1220" y="341"/>
                    </a:cubicBezTo>
                    <a:cubicBezTo>
                      <a:pt x="1113" y="377"/>
                      <a:pt x="1002" y="396"/>
                      <a:pt x="890" y="406"/>
                    </a:cubicBezTo>
                    <a:cubicBezTo>
                      <a:pt x="797" y="415"/>
                      <a:pt x="704" y="418"/>
                      <a:pt x="610" y="415"/>
                    </a:cubicBezTo>
                    <a:cubicBezTo>
                      <a:pt x="458" y="409"/>
                      <a:pt x="307" y="392"/>
                      <a:pt x="160" y="344"/>
                    </a:cubicBezTo>
                    <a:cubicBezTo>
                      <a:pt x="111" y="328"/>
                      <a:pt x="64" y="308"/>
                      <a:pt x="21" y="277"/>
                    </a:cubicBezTo>
                    <a:cubicBezTo>
                      <a:pt x="7" y="267"/>
                      <a:pt x="0" y="255"/>
                      <a:pt x="1" y="237"/>
                    </a:cubicBezTo>
                    <a:cubicBezTo>
                      <a:pt x="3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23"/>
              <p:cNvSpPr>
                <a:spLocks/>
              </p:cNvSpPr>
              <p:nvPr/>
            </p:nvSpPr>
            <p:spPr bwMode="auto">
              <a:xfrm>
                <a:off x="4843" y="2255"/>
                <a:ext cx="184" cy="56"/>
              </a:xfrm>
              <a:custGeom>
                <a:avLst/>
                <a:gdLst>
                  <a:gd name="T0" fmla="*/ 1 w 1370"/>
                  <a:gd name="T1" fmla="*/ 131 h 419"/>
                  <a:gd name="T2" fmla="*/ 1 w 1370"/>
                  <a:gd name="T3" fmla="*/ 14 h 419"/>
                  <a:gd name="T4" fmla="*/ 14 w 1370"/>
                  <a:gd name="T5" fmla="*/ 7 h 419"/>
                  <a:gd name="T6" fmla="*/ 307 w 1370"/>
                  <a:gd name="T7" fmla="*/ 107 h 419"/>
                  <a:gd name="T8" fmla="*/ 615 w 1370"/>
                  <a:gd name="T9" fmla="*/ 138 h 419"/>
                  <a:gd name="T10" fmla="*/ 1137 w 1370"/>
                  <a:gd name="T11" fmla="*/ 91 h 419"/>
                  <a:gd name="T12" fmla="*/ 1357 w 1370"/>
                  <a:gd name="T13" fmla="*/ 6 h 419"/>
                  <a:gd name="T14" fmla="*/ 1370 w 1370"/>
                  <a:gd name="T15" fmla="*/ 14 h 419"/>
                  <a:gd name="T16" fmla="*/ 1370 w 1370"/>
                  <a:gd name="T17" fmla="*/ 248 h 419"/>
                  <a:gd name="T18" fmla="*/ 1355 w 1370"/>
                  <a:gd name="T19" fmla="*/ 272 h 419"/>
                  <a:gd name="T20" fmla="*/ 1238 w 1370"/>
                  <a:gd name="T21" fmla="*/ 334 h 419"/>
                  <a:gd name="T22" fmla="*/ 943 w 1370"/>
                  <a:gd name="T23" fmla="*/ 401 h 419"/>
                  <a:gd name="T24" fmla="*/ 637 w 1370"/>
                  <a:gd name="T25" fmla="*/ 416 h 419"/>
                  <a:gd name="T26" fmla="*/ 167 w 1370"/>
                  <a:gd name="T27" fmla="*/ 347 h 419"/>
                  <a:gd name="T28" fmla="*/ 21 w 1370"/>
                  <a:gd name="T29" fmla="*/ 277 h 419"/>
                  <a:gd name="T30" fmla="*/ 1 w 1370"/>
                  <a:gd name="T31" fmla="*/ 238 h 419"/>
                  <a:gd name="T32" fmla="*/ 1 w 1370"/>
                  <a:gd name="T33" fmla="*/ 131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0" h="419">
                    <a:moveTo>
                      <a:pt x="1" y="131"/>
                    </a:moveTo>
                    <a:cubicBezTo>
                      <a:pt x="1" y="92"/>
                      <a:pt x="2" y="53"/>
                      <a:pt x="1" y="14"/>
                    </a:cubicBezTo>
                    <a:cubicBezTo>
                      <a:pt x="1" y="3"/>
                      <a:pt x="4" y="1"/>
                      <a:pt x="14" y="7"/>
                    </a:cubicBezTo>
                    <a:cubicBezTo>
                      <a:pt x="104" y="62"/>
                      <a:pt x="205" y="88"/>
                      <a:pt x="307" y="107"/>
                    </a:cubicBezTo>
                    <a:cubicBezTo>
                      <a:pt x="409" y="127"/>
                      <a:pt x="512" y="135"/>
                      <a:pt x="615" y="138"/>
                    </a:cubicBezTo>
                    <a:cubicBezTo>
                      <a:pt x="791" y="143"/>
                      <a:pt x="966" y="133"/>
                      <a:pt x="1137" y="91"/>
                    </a:cubicBezTo>
                    <a:cubicBezTo>
                      <a:pt x="1214" y="73"/>
                      <a:pt x="1289" y="49"/>
                      <a:pt x="1357" y="6"/>
                    </a:cubicBezTo>
                    <a:cubicBezTo>
                      <a:pt x="1367" y="0"/>
                      <a:pt x="1370" y="4"/>
                      <a:pt x="1370" y="14"/>
                    </a:cubicBezTo>
                    <a:cubicBezTo>
                      <a:pt x="1370" y="92"/>
                      <a:pt x="1370" y="170"/>
                      <a:pt x="1370" y="248"/>
                    </a:cubicBezTo>
                    <a:cubicBezTo>
                      <a:pt x="1370" y="260"/>
                      <a:pt x="1363" y="266"/>
                      <a:pt x="1355" y="272"/>
                    </a:cubicBezTo>
                    <a:cubicBezTo>
                      <a:pt x="1320" y="301"/>
                      <a:pt x="1280" y="319"/>
                      <a:pt x="1238" y="334"/>
                    </a:cubicBezTo>
                    <a:cubicBezTo>
                      <a:pt x="1143" y="370"/>
                      <a:pt x="1044" y="389"/>
                      <a:pt x="943" y="401"/>
                    </a:cubicBezTo>
                    <a:cubicBezTo>
                      <a:pt x="841" y="413"/>
                      <a:pt x="739" y="419"/>
                      <a:pt x="637" y="416"/>
                    </a:cubicBezTo>
                    <a:cubicBezTo>
                      <a:pt x="477" y="411"/>
                      <a:pt x="320" y="395"/>
                      <a:pt x="167" y="347"/>
                    </a:cubicBezTo>
                    <a:cubicBezTo>
                      <a:pt x="115" y="330"/>
                      <a:pt x="65" y="310"/>
                      <a:pt x="21" y="277"/>
                    </a:cubicBezTo>
                    <a:cubicBezTo>
                      <a:pt x="7" y="267"/>
                      <a:pt x="0" y="256"/>
                      <a:pt x="1" y="238"/>
                    </a:cubicBezTo>
                    <a:cubicBezTo>
                      <a:pt x="2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40" name="Группа 39"/>
          <p:cNvGrpSpPr/>
          <p:nvPr userDrawn="1"/>
        </p:nvGrpSpPr>
        <p:grpSpPr>
          <a:xfrm>
            <a:off x="146651" y="90377"/>
            <a:ext cx="802256" cy="446347"/>
            <a:chOff x="146650" y="90376"/>
            <a:chExt cx="802256" cy="446347"/>
          </a:xfrm>
        </p:grpSpPr>
        <p:grpSp>
          <p:nvGrpSpPr>
            <p:cNvPr id="41" name="Группа 40"/>
            <p:cNvGrpSpPr/>
            <p:nvPr userDrawn="1"/>
          </p:nvGrpSpPr>
          <p:grpSpPr>
            <a:xfrm>
              <a:off x="146650" y="90376"/>
              <a:ext cx="802256" cy="446347"/>
              <a:chOff x="3215754" y="3239215"/>
              <a:chExt cx="5277696" cy="2936328"/>
            </a:xfrm>
            <a:solidFill>
              <a:schemeClr val="accent6"/>
            </a:solidFill>
          </p:grpSpPr>
          <p:sp>
            <p:nvSpPr>
              <p:cNvPr id="76" name="Round Diagonal Corner Rectangle 73"/>
              <p:cNvSpPr/>
              <p:nvPr/>
            </p:nvSpPr>
            <p:spPr>
              <a:xfrm rot="16200000" flipV="1">
                <a:off x="4045695" y="2409275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77" name="Round Diagonal Corner Rectangle 73"/>
              <p:cNvSpPr/>
              <p:nvPr/>
            </p:nvSpPr>
            <p:spPr>
              <a:xfrm rot="16200000" flipV="1">
                <a:off x="6763017" y="2409276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78" name="Round Diagonal Corner Rectangle 73"/>
              <p:cNvSpPr/>
              <p:nvPr/>
            </p:nvSpPr>
            <p:spPr>
              <a:xfrm rot="16200000" flipV="1">
                <a:off x="4045695" y="3427192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6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79" name="Round Diagonal Corner Rectangle 73"/>
              <p:cNvSpPr/>
              <p:nvPr/>
            </p:nvSpPr>
            <p:spPr>
              <a:xfrm rot="16200000" flipV="1">
                <a:off x="6763017" y="3427193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4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80" name="Round Diagonal Corner Rectangle 73"/>
              <p:cNvSpPr/>
              <p:nvPr/>
            </p:nvSpPr>
            <p:spPr>
              <a:xfrm rot="16200000" flipV="1">
                <a:off x="5404355" y="3086448"/>
                <a:ext cx="900494" cy="527769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</p:grpSp>
        <p:grpSp>
          <p:nvGrpSpPr>
            <p:cNvPr id="42" name="Group 2"/>
            <p:cNvGrpSpPr/>
            <p:nvPr userDrawn="1"/>
          </p:nvGrpSpPr>
          <p:grpSpPr>
            <a:xfrm>
              <a:off x="298733" y="103728"/>
              <a:ext cx="90401" cy="105401"/>
              <a:chOff x="6670675" y="3513137"/>
              <a:chExt cx="1071561" cy="1249363"/>
            </a:xfrm>
            <a:solidFill>
              <a:schemeClr val="accent6">
                <a:lumMod val="60000"/>
                <a:lumOff val="40000"/>
              </a:schemeClr>
            </a:solidFill>
          </p:grpSpPr>
          <p:grpSp>
            <p:nvGrpSpPr>
              <p:cNvPr id="71" name="Group 115"/>
              <p:cNvGrpSpPr/>
              <p:nvPr/>
            </p:nvGrpSpPr>
            <p:grpSpPr>
              <a:xfrm>
                <a:off x="6670675" y="3513137"/>
                <a:ext cx="700087" cy="1249363"/>
                <a:chOff x="-2524125" y="-798513"/>
                <a:chExt cx="700087" cy="1249363"/>
              </a:xfrm>
              <a:grpFill/>
            </p:grpSpPr>
            <p:sp>
              <p:nvSpPr>
                <p:cNvPr id="73" name="Oval 273"/>
                <p:cNvSpPr>
                  <a:spLocks noChangeArrowheads="1"/>
                </p:cNvSpPr>
                <p:nvPr/>
              </p:nvSpPr>
              <p:spPr bwMode="auto">
                <a:xfrm>
                  <a:off x="-2268538" y="-798513"/>
                  <a:ext cx="200025" cy="23812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74" name="Freeform 274"/>
                <p:cNvSpPr>
                  <a:spLocks noEditPoints="1"/>
                </p:cNvSpPr>
                <p:nvPr/>
              </p:nvSpPr>
              <p:spPr bwMode="auto">
                <a:xfrm>
                  <a:off x="-2524125" y="-536575"/>
                  <a:ext cx="700087" cy="987425"/>
                </a:xfrm>
                <a:custGeom>
                  <a:avLst/>
                  <a:gdLst/>
                  <a:ahLst/>
                  <a:cxnLst>
                    <a:cxn ang="0">
                      <a:pos x="123" y="27"/>
                    </a:cxn>
                    <a:cxn ang="0">
                      <a:pos x="122" y="26"/>
                    </a:cxn>
                    <a:cxn ang="0">
                      <a:pos x="116" y="22"/>
                    </a:cxn>
                    <a:cxn ang="0">
                      <a:pos x="91" y="3"/>
                    </a:cxn>
                    <a:cxn ang="0">
                      <a:pos x="85" y="1"/>
                    </a:cxn>
                    <a:cxn ang="0">
                      <a:pos x="77" y="1"/>
                    </a:cxn>
                    <a:cxn ang="0">
                      <a:pos x="75" y="11"/>
                    </a:cxn>
                    <a:cxn ang="0">
                      <a:pos x="68" y="43"/>
                    </a:cxn>
                    <a:cxn ang="0">
                      <a:pos x="68" y="7"/>
                    </a:cxn>
                    <a:cxn ang="0">
                      <a:pos x="59" y="0"/>
                    </a:cxn>
                    <a:cxn ang="0">
                      <a:pos x="59" y="9"/>
                    </a:cxn>
                    <a:cxn ang="0">
                      <a:pos x="46" y="18"/>
                    </a:cxn>
                    <a:cxn ang="0">
                      <a:pos x="41" y="7"/>
                    </a:cxn>
                    <a:cxn ang="0">
                      <a:pos x="48" y="0"/>
                    </a:cxn>
                    <a:cxn ang="0">
                      <a:pos x="39" y="1"/>
                    </a:cxn>
                    <a:cxn ang="0">
                      <a:pos x="3" y="36"/>
                    </a:cxn>
                    <a:cxn ang="0">
                      <a:pos x="3" y="36"/>
                    </a:cxn>
                    <a:cxn ang="0">
                      <a:pos x="1" y="49"/>
                    </a:cxn>
                    <a:cxn ang="0">
                      <a:pos x="1" y="49"/>
                    </a:cxn>
                    <a:cxn ang="0">
                      <a:pos x="2" y="51"/>
                    </a:cxn>
                    <a:cxn ang="0">
                      <a:pos x="6" y="58"/>
                    </a:cxn>
                    <a:cxn ang="0">
                      <a:pos x="20" y="86"/>
                    </a:cxn>
                    <a:cxn ang="0">
                      <a:pos x="33" y="91"/>
                    </a:cxn>
                    <a:cxn ang="0">
                      <a:pos x="35" y="92"/>
                    </a:cxn>
                    <a:cxn ang="0">
                      <a:pos x="61" y="174"/>
                    </a:cxn>
                    <a:cxn ang="0">
                      <a:pos x="57" y="112"/>
                    </a:cxn>
                    <a:cxn ang="0">
                      <a:pos x="91" y="34"/>
                    </a:cxn>
                    <a:cxn ang="0">
                      <a:pos x="95" y="32"/>
                    </a:cxn>
                    <a:cxn ang="0">
                      <a:pos x="77" y="46"/>
                    </a:cxn>
                    <a:cxn ang="0">
                      <a:pos x="91" y="34"/>
                    </a:cxn>
                    <a:cxn ang="0">
                      <a:pos x="31" y="56"/>
                    </a:cxn>
                    <a:cxn ang="0">
                      <a:pos x="24" y="44"/>
                    </a:cxn>
                    <a:cxn ang="0">
                      <a:pos x="34" y="61"/>
                    </a:cxn>
                  </a:cxnLst>
                  <a:rect l="0" t="0" r="r" b="b"/>
                  <a:pathLst>
                    <a:path w="123" h="174">
                      <a:moveTo>
                        <a:pt x="122" y="42"/>
                      </a:moveTo>
                      <a:cubicBezTo>
                        <a:pt x="122" y="35"/>
                        <a:pt x="123" y="24"/>
                        <a:pt x="123" y="27"/>
                      </a:cubicBezTo>
                      <a:cubicBezTo>
                        <a:pt x="123" y="26"/>
                        <a:pt x="123" y="26"/>
                        <a:pt x="123" y="26"/>
                      </a:cubicBezTo>
                      <a:cubicBezTo>
                        <a:pt x="122" y="26"/>
                        <a:pt x="122" y="26"/>
                        <a:pt x="122" y="26"/>
                      </a:cubicBezTo>
                      <a:cubicBezTo>
                        <a:pt x="120" y="25"/>
                        <a:pt x="120" y="25"/>
                        <a:pt x="120" y="25"/>
                      </a:cubicBezTo>
                      <a:cubicBezTo>
                        <a:pt x="116" y="22"/>
                        <a:pt x="116" y="22"/>
                        <a:pt x="116" y="22"/>
                      </a:cubicBezTo>
                      <a:cubicBezTo>
                        <a:pt x="108" y="15"/>
                        <a:pt x="108" y="15"/>
                        <a:pt x="108" y="15"/>
                      </a:cubicBezTo>
                      <a:cubicBezTo>
                        <a:pt x="91" y="3"/>
                        <a:pt x="91" y="3"/>
                        <a:pt x="91" y="3"/>
                      </a:cubicBezTo>
                      <a:cubicBezTo>
                        <a:pt x="90" y="2"/>
                        <a:pt x="88" y="1"/>
                        <a:pt x="86" y="1"/>
                      </a:cubicBezTo>
                      <a:cubicBezTo>
                        <a:pt x="85" y="1"/>
                        <a:pt x="85" y="1"/>
                        <a:pt x="85" y="1"/>
                      </a:cubicBezTo>
                      <a:cubicBezTo>
                        <a:pt x="83" y="1"/>
                        <a:pt x="80" y="1"/>
                        <a:pt x="77" y="0"/>
                      </a:cubicBez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84" y="7"/>
                        <a:pt x="84" y="7"/>
                        <a:pt x="84" y="7"/>
                      </a:cubicBezTo>
                      <a:cubicBezTo>
                        <a:pt x="75" y="11"/>
                        <a:pt x="75" y="11"/>
                        <a:pt x="75" y="11"/>
                      </a:cubicBezTo>
                      <a:cubicBezTo>
                        <a:pt x="80" y="18"/>
                        <a:pt x="80" y="18"/>
                        <a:pt x="80" y="18"/>
                      </a:cubicBezTo>
                      <a:cubicBezTo>
                        <a:pt x="68" y="43"/>
                        <a:pt x="68" y="43"/>
                        <a:pt x="68" y="43"/>
                      </a:cubicBezTo>
                      <a:cubicBezTo>
                        <a:pt x="67" y="9"/>
                        <a:pt x="67" y="9"/>
                        <a:pt x="67" y="9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7" y="7"/>
                        <a:pt x="57" y="7"/>
                        <a:pt x="57" y="7"/>
                      </a:cubicBezTo>
                      <a:cubicBezTo>
                        <a:pt x="59" y="9"/>
                        <a:pt x="59" y="9"/>
                        <a:pt x="59" y="9"/>
                      </a:cubicBezTo>
                      <a:cubicBezTo>
                        <a:pt x="57" y="43"/>
                        <a:pt x="57" y="43"/>
                        <a:pt x="57" y="43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50" y="11"/>
                        <a:pt x="50" y="11"/>
                        <a:pt x="50" y="11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8" y="1"/>
                        <a:pt x="48" y="1"/>
                        <a:pt x="48" y="1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5" y="1"/>
                        <a:pt x="43" y="1"/>
                        <a:pt x="40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6" y="1"/>
                        <a:pt x="34" y="3"/>
                        <a:pt x="32" y="5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0" y="61"/>
                        <a:pt x="2" y="43"/>
                        <a:pt x="1" y="48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2" y="49"/>
                        <a:pt x="2" y="49"/>
                        <a:pt x="2" y="49"/>
                      </a:cubicBezTo>
                      <a:cubicBezTo>
                        <a:pt x="2" y="51"/>
                        <a:pt x="2" y="51"/>
                        <a:pt x="2" y="51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6" y="58"/>
                        <a:pt x="6" y="58"/>
                        <a:pt x="6" y="58"/>
                      </a:cubicBezTo>
                      <a:cubicBezTo>
                        <a:pt x="11" y="67"/>
                        <a:pt x="11" y="67"/>
                        <a:pt x="11" y="67"/>
                      </a:cubicBezTo>
                      <a:cubicBezTo>
                        <a:pt x="20" y="86"/>
                        <a:pt x="20" y="86"/>
                        <a:pt x="20" y="86"/>
                      </a:cubicBezTo>
                      <a:cubicBezTo>
                        <a:pt x="25" y="84"/>
                        <a:pt x="29" y="82"/>
                        <a:pt x="33" y="79"/>
                      </a:cubicBezTo>
                      <a:cubicBezTo>
                        <a:pt x="33" y="83"/>
                        <a:pt x="33" y="87"/>
                        <a:pt x="33" y="91"/>
                      </a:cubicBezTo>
                      <a:cubicBezTo>
                        <a:pt x="33" y="92"/>
                        <a:pt x="33" y="92"/>
                        <a:pt x="33" y="92"/>
                      </a:cubicBezTo>
                      <a:cubicBezTo>
                        <a:pt x="35" y="92"/>
                        <a:pt x="35" y="92"/>
                        <a:pt x="35" y="92"/>
                      </a:cubicBezTo>
                      <a:cubicBezTo>
                        <a:pt x="38" y="174"/>
                        <a:pt x="38" y="174"/>
                        <a:pt x="38" y="174"/>
                      </a:cubicBezTo>
                      <a:cubicBezTo>
                        <a:pt x="61" y="174"/>
                        <a:pt x="61" y="174"/>
                        <a:pt x="61" y="174"/>
                      </a:cubicBezTo>
                      <a:cubicBezTo>
                        <a:pt x="62" y="163"/>
                        <a:pt x="62" y="150"/>
                        <a:pt x="62" y="137"/>
                      </a:cubicBezTo>
                      <a:cubicBezTo>
                        <a:pt x="59" y="129"/>
                        <a:pt x="57" y="121"/>
                        <a:pt x="57" y="112"/>
                      </a:cubicBezTo>
                      <a:cubicBezTo>
                        <a:pt x="57" y="75"/>
                        <a:pt x="86" y="45"/>
                        <a:pt x="122" y="42"/>
                      </a:cubicBezTo>
                      <a:close/>
                      <a:moveTo>
                        <a:pt x="91" y="34"/>
                      </a:moveTo>
                      <a:cubicBezTo>
                        <a:pt x="91" y="32"/>
                        <a:pt x="91" y="30"/>
                        <a:pt x="90" y="28"/>
                      </a:cubicBezTo>
                      <a:cubicBezTo>
                        <a:pt x="95" y="32"/>
                        <a:pt x="95" y="32"/>
                        <a:pt x="95" y="32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ubicBezTo>
                        <a:pt x="77" y="46"/>
                        <a:pt x="77" y="46"/>
                        <a:pt x="77" y="46"/>
                      </a:cubicBezTo>
                      <a:cubicBezTo>
                        <a:pt x="75" y="43"/>
                        <a:pt x="75" y="43"/>
                        <a:pt x="75" y="43"/>
                      </a:cubicBezTo>
                      <a:lnTo>
                        <a:pt x="91" y="34"/>
                      </a:lnTo>
                      <a:close/>
                      <a:moveTo>
                        <a:pt x="34" y="61"/>
                      </a:moveTo>
                      <a:cubicBezTo>
                        <a:pt x="31" y="56"/>
                        <a:pt x="31" y="56"/>
                        <a:pt x="31" y="56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4" y="44"/>
                        <a:pt x="24" y="44"/>
                        <a:pt x="24" y="44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cubicBezTo>
                        <a:pt x="34" y="41"/>
                        <a:pt x="34" y="51"/>
                        <a:pt x="34" y="6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75" name="Freeform 275"/>
                <p:cNvSpPr>
                  <a:spLocks/>
                </p:cNvSpPr>
                <p:nvPr/>
              </p:nvSpPr>
              <p:spPr bwMode="auto">
                <a:xfrm>
                  <a:off x="-2154238" y="287337"/>
                  <a:ext cx="141287" cy="1635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" y="29"/>
                    </a:cxn>
                    <a:cxn ang="0">
                      <a:pos x="25" y="29"/>
                    </a:cxn>
                    <a:cxn ang="0">
                      <a:pos x="25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5" h="29">
                      <a:moveTo>
                        <a:pt x="0" y="0"/>
                      </a:move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25" y="29"/>
                        <a:pt x="25" y="29"/>
                        <a:pt x="25" y="29"/>
                      </a:cubicBezTo>
                      <a:cubicBezTo>
                        <a:pt x="25" y="28"/>
                        <a:pt x="25" y="27"/>
                        <a:pt x="25" y="26"/>
                      </a:cubicBezTo>
                      <a:cubicBezTo>
                        <a:pt x="15" y="19"/>
                        <a:pt x="6" y="10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</p:grpSp>
          <p:sp>
            <p:nvSpPr>
              <p:cNvPr id="72" name="Freeform 209"/>
              <p:cNvSpPr>
                <a:spLocks noEditPoints="1"/>
              </p:cNvSpPr>
              <p:nvPr/>
            </p:nvSpPr>
            <p:spPr bwMode="auto">
              <a:xfrm>
                <a:off x="7032625" y="4046538"/>
                <a:ext cx="709611" cy="709611"/>
              </a:xfrm>
              <a:custGeom>
                <a:avLst/>
                <a:gdLst/>
                <a:ahLst/>
                <a:cxnLst>
                  <a:cxn ang="0">
                    <a:pos x="114" y="40"/>
                  </a:cxn>
                  <a:cxn ang="0">
                    <a:pos x="109" y="41"/>
                  </a:cxn>
                  <a:cxn ang="0">
                    <a:pos x="103" y="34"/>
                  </a:cxn>
                  <a:cxn ang="0">
                    <a:pos x="109" y="25"/>
                  </a:cxn>
                  <a:cxn ang="0">
                    <a:pos x="96" y="16"/>
                  </a:cxn>
                  <a:cxn ang="0">
                    <a:pos x="88" y="19"/>
                  </a:cxn>
                  <a:cxn ang="0">
                    <a:pos x="87" y="10"/>
                  </a:cxn>
                  <a:cxn ang="0">
                    <a:pos x="74" y="2"/>
                  </a:cxn>
                  <a:cxn ang="0">
                    <a:pos x="70" y="3"/>
                  </a:cxn>
                  <a:cxn ang="0">
                    <a:pos x="59" y="10"/>
                  </a:cxn>
                  <a:cxn ang="0">
                    <a:pos x="55" y="0"/>
                  </a:cxn>
                  <a:cxn ang="0">
                    <a:pos x="47" y="2"/>
                  </a:cxn>
                  <a:cxn ang="0">
                    <a:pos x="45" y="2"/>
                  </a:cxn>
                  <a:cxn ang="0">
                    <a:pos x="40" y="6"/>
                  </a:cxn>
                  <a:cxn ang="0">
                    <a:pos x="34" y="16"/>
                  </a:cxn>
                  <a:cxn ang="0">
                    <a:pos x="26" y="11"/>
                  </a:cxn>
                  <a:cxn ang="0">
                    <a:pos x="16" y="19"/>
                  </a:cxn>
                  <a:cxn ang="0">
                    <a:pos x="21" y="29"/>
                  </a:cxn>
                  <a:cxn ang="0">
                    <a:pos x="14" y="34"/>
                  </a:cxn>
                  <a:cxn ang="0">
                    <a:pos x="6" y="34"/>
                  </a:cxn>
                  <a:cxn ang="0">
                    <a:pos x="2" y="46"/>
                  </a:cxn>
                  <a:cxn ang="0">
                    <a:pos x="10" y="52"/>
                  </a:cxn>
                  <a:cxn ang="0">
                    <a:pos x="3" y="61"/>
                  </a:cxn>
                  <a:cxn ang="0">
                    <a:pos x="2" y="77"/>
                  </a:cxn>
                  <a:cxn ang="0">
                    <a:pos x="13" y="78"/>
                  </a:cxn>
                  <a:cxn ang="0">
                    <a:pos x="11" y="89"/>
                  </a:cxn>
                  <a:cxn ang="0">
                    <a:pos x="19" y="103"/>
                  </a:cxn>
                  <a:cxn ang="0">
                    <a:pos x="29" y="99"/>
                  </a:cxn>
                  <a:cxn ang="0">
                    <a:pos x="33" y="110"/>
                  </a:cxn>
                  <a:cxn ang="0">
                    <a:pos x="46" y="118"/>
                  </a:cxn>
                  <a:cxn ang="0">
                    <a:pos x="52" y="109"/>
                  </a:cxn>
                  <a:cxn ang="0">
                    <a:pos x="61" y="117"/>
                  </a:cxn>
                  <a:cxn ang="0">
                    <a:pos x="77" y="117"/>
                  </a:cxn>
                  <a:cxn ang="0">
                    <a:pos x="78" y="106"/>
                  </a:cxn>
                  <a:cxn ang="0">
                    <a:pos x="90" y="108"/>
                  </a:cxn>
                  <a:cxn ang="0">
                    <a:pos x="103" y="101"/>
                  </a:cxn>
                  <a:cxn ang="0">
                    <a:pos x="99" y="91"/>
                  </a:cxn>
                  <a:cxn ang="0">
                    <a:pos x="110" y="87"/>
                  </a:cxn>
                  <a:cxn ang="0">
                    <a:pos x="118" y="73"/>
                  </a:cxn>
                  <a:cxn ang="0">
                    <a:pos x="109" y="67"/>
                  </a:cxn>
                  <a:cxn ang="0">
                    <a:pos x="117" y="58"/>
                  </a:cxn>
                  <a:cxn ang="0">
                    <a:pos x="117" y="44"/>
                  </a:cxn>
                  <a:cxn ang="0">
                    <a:pos x="23" y="67"/>
                  </a:cxn>
                  <a:cxn ang="0">
                    <a:pos x="24" y="47"/>
                  </a:cxn>
                  <a:cxn ang="0">
                    <a:pos x="50" y="23"/>
                  </a:cxn>
                  <a:cxn ang="0">
                    <a:pos x="51" y="39"/>
                  </a:cxn>
                  <a:cxn ang="0">
                    <a:pos x="47" y="41"/>
                  </a:cxn>
                  <a:cxn ang="0">
                    <a:pos x="37" y="60"/>
                  </a:cxn>
                  <a:cxn ang="0">
                    <a:pos x="66" y="97"/>
                  </a:cxn>
                  <a:cxn ang="0">
                    <a:pos x="48" y="79"/>
                  </a:cxn>
                  <a:cxn ang="0">
                    <a:pos x="68" y="81"/>
                  </a:cxn>
                  <a:cxn ang="0">
                    <a:pos x="66" y="97"/>
                  </a:cxn>
                  <a:cxn ang="0">
                    <a:pos x="82" y="64"/>
                  </a:cxn>
                  <a:cxn ang="0">
                    <a:pos x="74" y="42"/>
                  </a:cxn>
                  <a:cxn ang="0">
                    <a:pos x="74" y="25"/>
                  </a:cxn>
                  <a:cxn ang="0">
                    <a:pos x="89" y="36"/>
                  </a:cxn>
                  <a:cxn ang="0">
                    <a:pos x="97" y="53"/>
                  </a:cxn>
                </a:cxnLst>
                <a:rect l="0" t="0" r="r" b="b"/>
                <a:pathLst>
                  <a:path w="119" h="119">
                    <a:moveTo>
                      <a:pt x="117" y="42"/>
                    </a:moveTo>
                    <a:cubicBezTo>
                      <a:pt x="117" y="41"/>
                      <a:pt x="115" y="40"/>
                      <a:pt x="114" y="40"/>
                    </a:cubicBezTo>
                    <a:cubicBezTo>
                      <a:pt x="114" y="40"/>
                      <a:pt x="113" y="40"/>
                      <a:pt x="113" y="40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6" y="41"/>
                      <a:pt x="106" y="41"/>
                      <a:pt x="106" y="41"/>
                    </a:cubicBezTo>
                    <a:cubicBezTo>
                      <a:pt x="105" y="39"/>
                      <a:pt x="104" y="37"/>
                      <a:pt x="103" y="34"/>
                    </a:cubicBezTo>
                    <a:cubicBezTo>
                      <a:pt x="108" y="30"/>
                      <a:pt x="108" y="30"/>
                      <a:pt x="108" y="30"/>
                    </a:cubicBezTo>
                    <a:cubicBezTo>
                      <a:pt x="110" y="29"/>
                      <a:pt x="110" y="27"/>
                      <a:pt x="109" y="25"/>
                    </a:cubicBezTo>
                    <a:cubicBezTo>
                      <a:pt x="101" y="16"/>
                      <a:pt x="101" y="16"/>
                      <a:pt x="101" y="16"/>
                    </a:cubicBezTo>
                    <a:cubicBezTo>
                      <a:pt x="100" y="15"/>
                      <a:pt x="98" y="15"/>
                      <a:pt x="96" y="16"/>
                    </a:cubicBezTo>
                    <a:cubicBezTo>
                      <a:pt x="91" y="21"/>
                      <a:pt x="91" y="21"/>
                      <a:pt x="91" y="21"/>
                    </a:cubicBezTo>
                    <a:cubicBezTo>
                      <a:pt x="90" y="20"/>
                      <a:pt x="89" y="19"/>
                      <a:pt x="88" y="19"/>
                    </a:cubicBezTo>
                    <a:cubicBezTo>
                      <a:pt x="87" y="18"/>
                      <a:pt x="86" y="17"/>
                      <a:pt x="84" y="16"/>
                    </a:cubicBezTo>
                    <a:cubicBezTo>
                      <a:pt x="87" y="10"/>
                      <a:pt x="87" y="10"/>
                      <a:pt x="87" y="10"/>
                    </a:cubicBezTo>
                    <a:cubicBezTo>
                      <a:pt x="87" y="8"/>
                      <a:pt x="87" y="6"/>
                      <a:pt x="85" y="6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2" y="1"/>
                      <a:pt x="70" y="2"/>
                      <a:pt x="70" y="3"/>
                    </a:cubicBezTo>
                    <a:cubicBezTo>
                      <a:pt x="67" y="10"/>
                      <a:pt x="67" y="10"/>
                      <a:pt x="67" y="10"/>
                    </a:cubicBezTo>
                    <a:cubicBezTo>
                      <a:pt x="65" y="10"/>
                      <a:pt x="62" y="10"/>
                      <a:pt x="59" y="10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58" y="1"/>
                      <a:pt x="56" y="0"/>
                      <a:pt x="55" y="0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1" y="3"/>
                      <a:pt x="40" y="4"/>
                      <a:pt x="40" y="6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9" y="14"/>
                      <a:pt x="37" y="15"/>
                      <a:pt x="34" y="16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10"/>
                      <a:pt x="27" y="10"/>
                      <a:pt x="26" y="11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5" y="20"/>
                      <a:pt x="15" y="22"/>
                      <a:pt x="16" y="23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19" y="31"/>
                      <a:pt x="18" y="33"/>
                      <a:pt x="16" y="35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8" y="32"/>
                      <a:pt x="6" y="33"/>
                      <a:pt x="6" y="3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1" y="47"/>
                      <a:pt x="2" y="49"/>
                      <a:pt x="3" y="50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0" y="55"/>
                      <a:pt x="10" y="57"/>
                      <a:pt x="10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0" y="63"/>
                      <a:pt x="0" y="65"/>
                    </a:cubicBezTo>
                    <a:cubicBezTo>
                      <a:pt x="2" y="77"/>
                      <a:pt x="2" y="77"/>
                      <a:pt x="2" y="77"/>
                    </a:cubicBezTo>
                    <a:cubicBezTo>
                      <a:pt x="3" y="78"/>
                      <a:pt x="4" y="80"/>
                      <a:pt x="6" y="79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4" y="80"/>
                      <a:pt x="15" y="83"/>
                      <a:pt x="17" y="85"/>
                    </a:cubicBezTo>
                    <a:cubicBezTo>
                      <a:pt x="11" y="89"/>
                      <a:pt x="11" y="89"/>
                      <a:pt x="11" y="89"/>
                    </a:cubicBezTo>
                    <a:cubicBezTo>
                      <a:pt x="10" y="91"/>
                      <a:pt x="10" y="92"/>
                      <a:pt x="11" y="94"/>
                    </a:cubicBezTo>
                    <a:cubicBezTo>
                      <a:pt x="19" y="103"/>
                      <a:pt x="19" y="103"/>
                      <a:pt x="19" y="103"/>
                    </a:cubicBezTo>
                    <a:cubicBezTo>
                      <a:pt x="20" y="104"/>
                      <a:pt x="22" y="105"/>
                      <a:pt x="23" y="103"/>
                    </a:cubicBezTo>
                    <a:cubicBezTo>
                      <a:pt x="29" y="99"/>
                      <a:pt x="29" y="99"/>
                      <a:pt x="29" y="99"/>
                    </a:cubicBezTo>
                    <a:cubicBezTo>
                      <a:pt x="31" y="100"/>
                      <a:pt x="33" y="102"/>
                      <a:pt x="35" y="103"/>
                    </a:cubicBezTo>
                    <a:cubicBezTo>
                      <a:pt x="33" y="110"/>
                      <a:pt x="33" y="110"/>
                      <a:pt x="33" y="110"/>
                    </a:cubicBezTo>
                    <a:cubicBezTo>
                      <a:pt x="32" y="111"/>
                      <a:pt x="33" y="113"/>
                      <a:pt x="34" y="114"/>
                    </a:cubicBezTo>
                    <a:cubicBezTo>
                      <a:pt x="46" y="118"/>
                      <a:pt x="46" y="118"/>
                      <a:pt x="46" y="118"/>
                    </a:cubicBezTo>
                    <a:cubicBezTo>
                      <a:pt x="48" y="118"/>
                      <a:pt x="49" y="118"/>
                      <a:pt x="50" y="116"/>
                    </a:cubicBezTo>
                    <a:cubicBezTo>
                      <a:pt x="52" y="109"/>
                      <a:pt x="52" y="109"/>
                      <a:pt x="52" y="109"/>
                    </a:cubicBezTo>
                    <a:cubicBezTo>
                      <a:pt x="55" y="109"/>
                      <a:pt x="57" y="110"/>
                      <a:pt x="60" y="110"/>
                    </a:cubicBezTo>
                    <a:cubicBezTo>
                      <a:pt x="61" y="117"/>
                      <a:pt x="61" y="117"/>
                      <a:pt x="61" y="117"/>
                    </a:cubicBezTo>
                    <a:cubicBezTo>
                      <a:pt x="62" y="118"/>
                      <a:pt x="63" y="119"/>
                      <a:pt x="65" y="119"/>
                    </a:cubicBezTo>
                    <a:cubicBezTo>
                      <a:pt x="77" y="117"/>
                      <a:pt x="77" y="117"/>
                      <a:pt x="77" y="117"/>
                    </a:cubicBezTo>
                    <a:cubicBezTo>
                      <a:pt x="79" y="117"/>
                      <a:pt x="80" y="115"/>
                      <a:pt x="79" y="113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80" y="105"/>
                      <a:pt x="83" y="104"/>
                      <a:pt x="85" y="103"/>
                    </a:cubicBezTo>
                    <a:cubicBezTo>
                      <a:pt x="90" y="108"/>
                      <a:pt x="90" y="108"/>
                      <a:pt x="90" y="108"/>
                    </a:cubicBezTo>
                    <a:cubicBezTo>
                      <a:pt x="91" y="109"/>
                      <a:pt x="93" y="110"/>
                      <a:pt x="94" y="108"/>
                    </a:cubicBezTo>
                    <a:cubicBezTo>
                      <a:pt x="103" y="101"/>
                      <a:pt x="103" y="101"/>
                      <a:pt x="103" y="101"/>
                    </a:cubicBezTo>
                    <a:cubicBezTo>
                      <a:pt x="104" y="100"/>
                      <a:pt x="105" y="98"/>
                      <a:pt x="104" y="96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0" y="89"/>
                      <a:pt x="102" y="87"/>
                      <a:pt x="103" y="84"/>
                    </a:cubicBezTo>
                    <a:cubicBezTo>
                      <a:pt x="110" y="87"/>
                      <a:pt x="110" y="87"/>
                      <a:pt x="110" y="87"/>
                    </a:cubicBezTo>
                    <a:cubicBezTo>
                      <a:pt x="111" y="87"/>
                      <a:pt x="113" y="86"/>
                      <a:pt x="114" y="85"/>
                    </a:cubicBezTo>
                    <a:cubicBezTo>
                      <a:pt x="118" y="73"/>
                      <a:pt x="118" y="73"/>
                      <a:pt x="118" y="73"/>
                    </a:cubicBezTo>
                    <a:cubicBezTo>
                      <a:pt x="118" y="72"/>
                      <a:pt x="118" y="70"/>
                      <a:pt x="116" y="69"/>
                    </a:cubicBezTo>
                    <a:cubicBezTo>
                      <a:pt x="109" y="67"/>
                      <a:pt x="109" y="67"/>
                      <a:pt x="109" y="67"/>
                    </a:cubicBezTo>
                    <a:cubicBezTo>
                      <a:pt x="110" y="64"/>
                      <a:pt x="110" y="62"/>
                      <a:pt x="110" y="59"/>
                    </a:cubicBezTo>
                    <a:cubicBezTo>
                      <a:pt x="117" y="58"/>
                      <a:pt x="117" y="58"/>
                      <a:pt x="117" y="58"/>
                    </a:cubicBezTo>
                    <a:cubicBezTo>
                      <a:pt x="118" y="58"/>
                      <a:pt x="119" y="56"/>
                      <a:pt x="119" y="54"/>
                    </a:cubicBezTo>
                    <a:cubicBezTo>
                      <a:pt x="117" y="44"/>
                      <a:pt x="117" y="44"/>
                      <a:pt x="117" y="44"/>
                    </a:cubicBezTo>
                    <a:lnTo>
                      <a:pt x="117" y="42"/>
                    </a:lnTo>
                    <a:close/>
                    <a:moveTo>
                      <a:pt x="23" y="67"/>
                    </a:moveTo>
                    <a:cubicBezTo>
                      <a:pt x="23" y="66"/>
                      <a:pt x="23" y="66"/>
                      <a:pt x="23" y="66"/>
                    </a:cubicBezTo>
                    <a:cubicBezTo>
                      <a:pt x="22" y="60"/>
                      <a:pt x="22" y="53"/>
                      <a:pt x="24" y="47"/>
                    </a:cubicBezTo>
                    <a:cubicBezTo>
                      <a:pt x="28" y="37"/>
                      <a:pt x="36" y="28"/>
                      <a:pt x="47" y="24"/>
                    </a:cubicBezTo>
                    <a:cubicBezTo>
                      <a:pt x="48" y="24"/>
                      <a:pt x="49" y="24"/>
                      <a:pt x="50" y="23"/>
                    </a:cubicBezTo>
                    <a:cubicBezTo>
                      <a:pt x="51" y="23"/>
                      <a:pt x="52" y="23"/>
                      <a:pt x="52" y="23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49" y="39"/>
                      <a:pt x="48" y="40"/>
                      <a:pt x="47" y="41"/>
                    </a:cubicBezTo>
                    <a:cubicBezTo>
                      <a:pt x="42" y="44"/>
                      <a:pt x="39" y="50"/>
                      <a:pt x="38" y="56"/>
                    </a:cubicBezTo>
                    <a:cubicBezTo>
                      <a:pt x="37" y="57"/>
                      <a:pt x="37" y="59"/>
                      <a:pt x="37" y="60"/>
                    </a:cubicBezTo>
                    <a:lnTo>
                      <a:pt x="23" y="67"/>
                    </a:lnTo>
                    <a:close/>
                    <a:moveTo>
                      <a:pt x="66" y="97"/>
                    </a:moveTo>
                    <a:cubicBezTo>
                      <a:pt x="54" y="99"/>
                      <a:pt x="41" y="95"/>
                      <a:pt x="33" y="86"/>
                    </a:cubicBezTo>
                    <a:cubicBezTo>
                      <a:pt x="48" y="79"/>
                      <a:pt x="48" y="79"/>
                      <a:pt x="48" y="79"/>
                    </a:cubicBezTo>
                    <a:cubicBezTo>
                      <a:pt x="52" y="82"/>
                      <a:pt x="58" y="83"/>
                      <a:pt x="64" y="82"/>
                    </a:cubicBezTo>
                    <a:cubicBezTo>
                      <a:pt x="65" y="82"/>
                      <a:pt x="67" y="81"/>
                      <a:pt x="68" y="81"/>
                    </a:cubicBezTo>
                    <a:cubicBezTo>
                      <a:pt x="82" y="90"/>
                      <a:pt x="82" y="90"/>
                      <a:pt x="82" y="90"/>
                    </a:cubicBezTo>
                    <a:cubicBezTo>
                      <a:pt x="77" y="93"/>
                      <a:pt x="72" y="96"/>
                      <a:pt x="66" y="97"/>
                    </a:cubicBezTo>
                    <a:close/>
                    <a:moveTo>
                      <a:pt x="95" y="73"/>
                    </a:moveTo>
                    <a:cubicBezTo>
                      <a:pt x="82" y="64"/>
                      <a:pt x="82" y="64"/>
                      <a:pt x="82" y="64"/>
                    </a:cubicBezTo>
                    <a:cubicBezTo>
                      <a:pt x="82" y="62"/>
                      <a:pt x="83" y="59"/>
                      <a:pt x="82" y="56"/>
                    </a:cubicBezTo>
                    <a:cubicBezTo>
                      <a:pt x="81" y="50"/>
                      <a:pt x="78" y="45"/>
                      <a:pt x="74" y="42"/>
                    </a:cubicBezTo>
                    <a:cubicBezTo>
                      <a:pt x="73" y="42"/>
                      <a:pt x="73" y="41"/>
                      <a:pt x="72" y="41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80" y="27"/>
                      <a:pt x="85" y="31"/>
                      <a:pt x="89" y="36"/>
                    </a:cubicBezTo>
                    <a:cubicBezTo>
                      <a:pt x="91" y="38"/>
                      <a:pt x="93" y="41"/>
                      <a:pt x="94" y="44"/>
                    </a:cubicBezTo>
                    <a:cubicBezTo>
                      <a:pt x="95" y="47"/>
                      <a:pt x="96" y="50"/>
                      <a:pt x="97" y="53"/>
                    </a:cubicBezTo>
                    <a:cubicBezTo>
                      <a:pt x="98" y="60"/>
                      <a:pt x="97" y="67"/>
                      <a:pt x="95" y="7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</p:grpSp>
        <p:grpSp>
          <p:nvGrpSpPr>
            <p:cNvPr id="43" name="Group 4"/>
            <p:cNvGrpSpPr>
              <a:grpSpLocks noChangeAspect="1"/>
            </p:cNvGrpSpPr>
            <p:nvPr userDrawn="1"/>
          </p:nvGrpSpPr>
          <p:grpSpPr bwMode="auto">
            <a:xfrm>
              <a:off x="713661" y="113741"/>
              <a:ext cx="69318" cy="90152"/>
              <a:chOff x="3655" y="1900"/>
              <a:chExt cx="366" cy="476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55" name="Freeform 5"/>
              <p:cNvSpPr>
                <a:spLocks noEditPoints="1"/>
              </p:cNvSpPr>
              <p:nvPr/>
            </p:nvSpPr>
            <p:spPr bwMode="auto">
              <a:xfrm>
                <a:off x="3953" y="1971"/>
                <a:ext cx="68" cy="132"/>
              </a:xfrm>
              <a:custGeom>
                <a:avLst/>
                <a:gdLst>
                  <a:gd name="T0" fmla="*/ 31 w 38"/>
                  <a:gd name="T1" fmla="*/ 74 h 74"/>
                  <a:gd name="T2" fmla="*/ 27 w 38"/>
                  <a:gd name="T3" fmla="*/ 73 h 74"/>
                  <a:gd name="T4" fmla="*/ 18 w 38"/>
                  <a:gd name="T5" fmla="*/ 52 h 74"/>
                  <a:gd name="T6" fmla="*/ 17 w 38"/>
                  <a:gd name="T7" fmla="*/ 49 h 74"/>
                  <a:gd name="T8" fmla="*/ 2 w 38"/>
                  <a:gd name="T9" fmla="*/ 10 h 74"/>
                  <a:gd name="T10" fmla="*/ 4 w 38"/>
                  <a:gd name="T11" fmla="*/ 2 h 74"/>
                  <a:gd name="T12" fmla="*/ 12 w 38"/>
                  <a:gd name="T13" fmla="*/ 4 h 74"/>
                  <a:gd name="T14" fmla="*/ 29 w 38"/>
                  <a:gd name="T15" fmla="*/ 46 h 74"/>
                  <a:gd name="T16" fmla="*/ 29 w 38"/>
                  <a:gd name="T17" fmla="*/ 48 h 74"/>
                  <a:gd name="T18" fmla="*/ 30 w 38"/>
                  <a:gd name="T19" fmla="*/ 49 h 74"/>
                  <a:gd name="T20" fmla="*/ 34 w 38"/>
                  <a:gd name="T21" fmla="*/ 63 h 74"/>
                  <a:gd name="T22" fmla="*/ 36 w 38"/>
                  <a:gd name="T23" fmla="*/ 72 h 74"/>
                  <a:gd name="T24" fmla="*/ 31 w 38"/>
                  <a:gd name="T25" fmla="*/ 74 h 74"/>
                  <a:gd name="T26" fmla="*/ 31 w 38"/>
                  <a:gd name="T27" fmla="*/ 74 h 74"/>
                  <a:gd name="T28" fmla="*/ 31 w 38"/>
                  <a:gd name="T2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74">
                    <a:moveTo>
                      <a:pt x="31" y="74"/>
                    </a:moveTo>
                    <a:cubicBezTo>
                      <a:pt x="29" y="74"/>
                      <a:pt x="28" y="74"/>
                      <a:pt x="27" y="73"/>
                    </a:cubicBezTo>
                    <a:cubicBezTo>
                      <a:pt x="23" y="70"/>
                      <a:pt x="19" y="60"/>
                      <a:pt x="18" y="52"/>
                    </a:cubicBezTo>
                    <a:cubicBezTo>
                      <a:pt x="17" y="52"/>
                      <a:pt x="17" y="51"/>
                      <a:pt x="17" y="49"/>
                    </a:cubicBezTo>
                    <a:cubicBezTo>
                      <a:pt x="15" y="43"/>
                      <a:pt x="11" y="26"/>
                      <a:pt x="2" y="10"/>
                    </a:cubicBezTo>
                    <a:cubicBezTo>
                      <a:pt x="0" y="7"/>
                      <a:pt x="1" y="3"/>
                      <a:pt x="4" y="2"/>
                    </a:cubicBezTo>
                    <a:cubicBezTo>
                      <a:pt x="7" y="0"/>
                      <a:pt x="11" y="1"/>
                      <a:pt x="12" y="4"/>
                    </a:cubicBezTo>
                    <a:cubicBezTo>
                      <a:pt x="23" y="21"/>
                      <a:pt x="27" y="39"/>
                      <a:pt x="29" y="46"/>
                    </a:cubicBezTo>
                    <a:cubicBezTo>
                      <a:pt x="29" y="47"/>
                      <a:pt x="29" y="48"/>
                      <a:pt x="29" y="48"/>
                    </a:cubicBezTo>
                    <a:cubicBezTo>
                      <a:pt x="29" y="48"/>
                      <a:pt x="30" y="49"/>
                      <a:pt x="30" y="49"/>
                    </a:cubicBezTo>
                    <a:cubicBezTo>
                      <a:pt x="31" y="55"/>
                      <a:pt x="33" y="62"/>
                      <a:pt x="34" y="63"/>
                    </a:cubicBezTo>
                    <a:cubicBezTo>
                      <a:pt x="37" y="65"/>
                      <a:pt x="38" y="69"/>
                      <a:pt x="36" y="72"/>
                    </a:cubicBezTo>
                    <a:cubicBezTo>
                      <a:pt x="34" y="73"/>
                      <a:pt x="32" y="74"/>
                      <a:pt x="31" y="74"/>
                    </a:cubicBezTo>
                    <a:close/>
                    <a:moveTo>
                      <a:pt x="31" y="74"/>
                    </a:moveTo>
                    <a:cubicBezTo>
                      <a:pt x="31" y="74"/>
                      <a:pt x="31" y="74"/>
                      <a:pt x="31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6" name="Freeform 6"/>
              <p:cNvSpPr>
                <a:spLocks noEditPoints="1"/>
              </p:cNvSpPr>
              <p:nvPr/>
            </p:nvSpPr>
            <p:spPr bwMode="auto">
              <a:xfrm>
                <a:off x="3810" y="1900"/>
                <a:ext cx="143" cy="62"/>
              </a:xfrm>
              <a:custGeom>
                <a:avLst/>
                <a:gdLst>
                  <a:gd name="T0" fmla="*/ 74 w 80"/>
                  <a:gd name="T1" fmla="*/ 35 h 35"/>
                  <a:gd name="T2" fmla="*/ 69 w 80"/>
                  <a:gd name="T3" fmla="*/ 34 h 35"/>
                  <a:gd name="T4" fmla="*/ 25 w 80"/>
                  <a:gd name="T5" fmla="*/ 12 h 35"/>
                  <a:gd name="T6" fmla="*/ 8 w 80"/>
                  <a:gd name="T7" fmla="*/ 14 h 35"/>
                  <a:gd name="T8" fmla="*/ 1 w 80"/>
                  <a:gd name="T9" fmla="*/ 9 h 35"/>
                  <a:gd name="T10" fmla="*/ 6 w 80"/>
                  <a:gd name="T11" fmla="*/ 2 h 35"/>
                  <a:gd name="T12" fmla="*/ 26 w 80"/>
                  <a:gd name="T13" fmla="*/ 0 h 35"/>
                  <a:gd name="T14" fmla="*/ 26 w 80"/>
                  <a:gd name="T15" fmla="*/ 0 h 35"/>
                  <a:gd name="T16" fmla="*/ 78 w 80"/>
                  <a:gd name="T17" fmla="*/ 25 h 35"/>
                  <a:gd name="T18" fmla="*/ 78 w 80"/>
                  <a:gd name="T19" fmla="*/ 34 h 35"/>
                  <a:gd name="T20" fmla="*/ 74 w 80"/>
                  <a:gd name="T21" fmla="*/ 35 h 35"/>
                  <a:gd name="T22" fmla="*/ 74 w 80"/>
                  <a:gd name="T23" fmla="*/ 35 h 35"/>
                  <a:gd name="T24" fmla="*/ 74 w 80"/>
                  <a:gd name="T2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35">
                    <a:moveTo>
                      <a:pt x="74" y="35"/>
                    </a:moveTo>
                    <a:cubicBezTo>
                      <a:pt x="72" y="35"/>
                      <a:pt x="70" y="35"/>
                      <a:pt x="69" y="34"/>
                    </a:cubicBezTo>
                    <a:cubicBezTo>
                      <a:pt x="57" y="21"/>
                      <a:pt x="42" y="14"/>
                      <a:pt x="25" y="12"/>
                    </a:cubicBezTo>
                    <a:cubicBezTo>
                      <a:pt x="19" y="12"/>
                      <a:pt x="14" y="13"/>
                      <a:pt x="8" y="14"/>
                    </a:cubicBezTo>
                    <a:cubicBezTo>
                      <a:pt x="5" y="14"/>
                      <a:pt x="2" y="12"/>
                      <a:pt x="1" y="9"/>
                    </a:cubicBezTo>
                    <a:cubicBezTo>
                      <a:pt x="0" y="5"/>
                      <a:pt x="3" y="2"/>
                      <a:pt x="6" y="2"/>
                    </a:cubicBezTo>
                    <a:cubicBezTo>
                      <a:pt x="12" y="0"/>
                      <a:pt x="19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46" y="2"/>
                      <a:pt x="64" y="10"/>
                      <a:pt x="78" y="25"/>
                    </a:cubicBezTo>
                    <a:cubicBezTo>
                      <a:pt x="80" y="27"/>
                      <a:pt x="80" y="31"/>
                      <a:pt x="78" y="34"/>
                    </a:cubicBezTo>
                    <a:cubicBezTo>
                      <a:pt x="77" y="35"/>
                      <a:pt x="75" y="35"/>
                      <a:pt x="74" y="35"/>
                    </a:cubicBezTo>
                    <a:close/>
                    <a:moveTo>
                      <a:pt x="74" y="35"/>
                    </a:moveTo>
                    <a:cubicBezTo>
                      <a:pt x="74" y="35"/>
                      <a:pt x="74" y="35"/>
                      <a:pt x="74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7" name="Freeform 7"/>
              <p:cNvSpPr>
                <a:spLocks noEditPoints="1"/>
              </p:cNvSpPr>
              <p:nvPr/>
            </p:nvSpPr>
            <p:spPr bwMode="auto">
              <a:xfrm>
                <a:off x="3657" y="1927"/>
                <a:ext cx="120" cy="119"/>
              </a:xfrm>
              <a:custGeom>
                <a:avLst/>
                <a:gdLst>
                  <a:gd name="T0" fmla="*/ 6 w 67"/>
                  <a:gd name="T1" fmla="*/ 67 h 67"/>
                  <a:gd name="T2" fmla="*/ 5 w 67"/>
                  <a:gd name="T3" fmla="*/ 67 h 67"/>
                  <a:gd name="T4" fmla="*/ 0 w 67"/>
                  <a:gd name="T5" fmla="*/ 62 h 67"/>
                  <a:gd name="T6" fmla="*/ 3 w 67"/>
                  <a:gd name="T7" fmla="*/ 56 h 67"/>
                  <a:gd name="T8" fmla="*/ 4 w 67"/>
                  <a:gd name="T9" fmla="*/ 55 h 67"/>
                  <a:gd name="T10" fmla="*/ 14 w 67"/>
                  <a:gd name="T11" fmla="*/ 46 h 67"/>
                  <a:gd name="T12" fmla="*/ 15 w 67"/>
                  <a:gd name="T13" fmla="*/ 44 h 67"/>
                  <a:gd name="T14" fmla="*/ 24 w 67"/>
                  <a:gd name="T15" fmla="*/ 33 h 67"/>
                  <a:gd name="T16" fmla="*/ 56 w 67"/>
                  <a:gd name="T17" fmla="*/ 2 h 67"/>
                  <a:gd name="T18" fmla="*/ 65 w 67"/>
                  <a:gd name="T19" fmla="*/ 3 h 67"/>
                  <a:gd name="T20" fmla="*/ 63 w 67"/>
                  <a:gd name="T21" fmla="*/ 12 h 67"/>
                  <a:gd name="T22" fmla="*/ 33 w 67"/>
                  <a:gd name="T23" fmla="*/ 41 h 67"/>
                  <a:gd name="T24" fmla="*/ 25 w 67"/>
                  <a:gd name="T25" fmla="*/ 51 h 67"/>
                  <a:gd name="T26" fmla="*/ 24 w 67"/>
                  <a:gd name="T27" fmla="*/ 53 h 67"/>
                  <a:gd name="T28" fmla="*/ 14 w 67"/>
                  <a:gd name="T29" fmla="*/ 63 h 67"/>
                  <a:gd name="T30" fmla="*/ 6 w 67"/>
                  <a:gd name="T31" fmla="*/ 67 h 67"/>
                  <a:gd name="T32" fmla="*/ 6 w 67"/>
                  <a:gd name="T33" fmla="*/ 67 h 67"/>
                  <a:gd name="T34" fmla="*/ 6 w 67"/>
                  <a:gd name="T3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7" h="67">
                    <a:moveTo>
                      <a:pt x="6" y="67"/>
                    </a:moveTo>
                    <a:cubicBezTo>
                      <a:pt x="6" y="67"/>
                      <a:pt x="6" y="67"/>
                      <a:pt x="5" y="67"/>
                    </a:cubicBezTo>
                    <a:cubicBezTo>
                      <a:pt x="3" y="66"/>
                      <a:pt x="1" y="64"/>
                      <a:pt x="0" y="62"/>
                    </a:cubicBezTo>
                    <a:cubicBezTo>
                      <a:pt x="0" y="59"/>
                      <a:pt x="1" y="57"/>
                      <a:pt x="3" y="56"/>
                    </a:cubicBezTo>
                    <a:cubicBezTo>
                      <a:pt x="3" y="55"/>
                      <a:pt x="4" y="55"/>
                      <a:pt x="4" y="55"/>
                    </a:cubicBezTo>
                    <a:cubicBezTo>
                      <a:pt x="6" y="54"/>
                      <a:pt x="10" y="51"/>
                      <a:pt x="14" y="46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8" y="41"/>
                      <a:pt x="20" y="37"/>
                      <a:pt x="24" y="33"/>
                    </a:cubicBezTo>
                    <a:cubicBezTo>
                      <a:pt x="34" y="20"/>
                      <a:pt x="45" y="10"/>
                      <a:pt x="56" y="2"/>
                    </a:cubicBezTo>
                    <a:cubicBezTo>
                      <a:pt x="59" y="0"/>
                      <a:pt x="63" y="1"/>
                      <a:pt x="65" y="3"/>
                    </a:cubicBezTo>
                    <a:cubicBezTo>
                      <a:pt x="67" y="6"/>
                      <a:pt x="66" y="10"/>
                      <a:pt x="63" y="12"/>
                    </a:cubicBezTo>
                    <a:cubicBezTo>
                      <a:pt x="53" y="19"/>
                      <a:pt x="43" y="29"/>
                      <a:pt x="33" y="41"/>
                    </a:cubicBezTo>
                    <a:cubicBezTo>
                      <a:pt x="30" y="45"/>
                      <a:pt x="27" y="48"/>
                      <a:pt x="25" y="51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0" y="58"/>
                      <a:pt x="17" y="61"/>
                      <a:pt x="14" y="63"/>
                    </a:cubicBezTo>
                    <a:cubicBezTo>
                      <a:pt x="10" y="66"/>
                      <a:pt x="8" y="67"/>
                      <a:pt x="6" y="67"/>
                    </a:cubicBezTo>
                    <a:close/>
                    <a:moveTo>
                      <a:pt x="6" y="67"/>
                    </a:moveTo>
                    <a:cubicBezTo>
                      <a:pt x="6" y="67"/>
                      <a:pt x="6" y="67"/>
                      <a:pt x="6" y="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8" name="Freeform 8"/>
              <p:cNvSpPr>
                <a:spLocks noEditPoints="1"/>
              </p:cNvSpPr>
              <p:nvPr/>
            </p:nvSpPr>
            <p:spPr bwMode="auto">
              <a:xfrm>
                <a:off x="3655" y="2114"/>
                <a:ext cx="81" cy="44"/>
              </a:xfrm>
              <a:custGeom>
                <a:avLst/>
                <a:gdLst>
                  <a:gd name="T0" fmla="*/ 7 w 45"/>
                  <a:gd name="T1" fmla="*/ 25 h 25"/>
                  <a:gd name="T2" fmla="*/ 1 w 45"/>
                  <a:gd name="T3" fmla="*/ 21 h 25"/>
                  <a:gd name="T4" fmla="*/ 6 w 45"/>
                  <a:gd name="T5" fmla="*/ 13 h 25"/>
                  <a:gd name="T6" fmla="*/ 35 w 45"/>
                  <a:gd name="T7" fmla="*/ 1 h 25"/>
                  <a:gd name="T8" fmla="*/ 44 w 45"/>
                  <a:gd name="T9" fmla="*/ 4 h 25"/>
                  <a:gd name="T10" fmla="*/ 41 w 45"/>
                  <a:gd name="T11" fmla="*/ 12 h 25"/>
                  <a:gd name="T12" fmla="*/ 9 w 45"/>
                  <a:gd name="T13" fmla="*/ 25 h 25"/>
                  <a:gd name="T14" fmla="*/ 7 w 45"/>
                  <a:gd name="T15" fmla="*/ 25 h 25"/>
                  <a:gd name="T16" fmla="*/ 7 w 45"/>
                  <a:gd name="T17" fmla="*/ 25 h 25"/>
                  <a:gd name="T18" fmla="*/ 7 w 45"/>
                  <a:gd name="T1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5" h="25">
                    <a:moveTo>
                      <a:pt x="7" y="25"/>
                    </a:moveTo>
                    <a:cubicBezTo>
                      <a:pt x="4" y="25"/>
                      <a:pt x="2" y="24"/>
                      <a:pt x="1" y="21"/>
                    </a:cubicBezTo>
                    <a:cubicBezTo>
                      <a:pt x="0" y="17"/>
                      <a:pt x="2" y="14"/>
                      <a:pt x="6" y="13"/>
                    </a:cubicBezTo>
                    <a:cubicBezTo>
                      <a:pt x="17" y="10"/>
                      <a:pt x="28" y="5"/>
                      <a:pt x="35" y="1"/>
                    </a:cubicBezTo>
                    <a:cubicBezTo>
                      <a:pt x="38" y="0"/>
                      <a:pt x="42" y="1"/>
                      <a:pt x="44" y="4"/>
                    </a:cubicBezTo>
                    <a:cubicBezTo>
                      <a:pt x="45" y="7"/>
                      <a:pt x="44" y="11"/>
                      <a:pt x="41" y="12"/>
                    </a:cubicBezTo>
                    <a:cubicBezTo>
                      <a:pt x="33" y="16"/>
                      <a:pt x="21" y="22"/>
                      <a:pt x="9" y="25"/>
                    </a:cubicBezTo>
                    <a:cubicBezTo>
                      <a:pt x="8" y="25"/>
                      <a:pt x="8" y="25"/>
                      <a:pt x="7" y="25"/>
                    </a:cubicBezTo>
                    <a:close/>
                    <a:moveTo>
                      <a:pt x="7" y="25"/>
                    </a:moveTo>
                    <a:cubicBezTo>
                      <a:pt x="7" y="25"/>
                      <a:pt x="7" y="25"/>
                      <a:pt x="7" y="2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9" name="Freeform 9"/>
              <p:cNvSpPr>
                <a:spLocks noEditPoints="1"/>
              </p:cNvSpPr>
              <p:nvPr/>
            </p:nvSpPr>
            <p:spPr bwMode="auto">
              <a:xfrm>
                <a:off x="3738" y="1989"/>
                <a:ext cx="211" cy="132"/>
              </a:xfrm>
              <a:custGeom>
                <a:avLst/>
                <a:gdLst>
                  <a:gd name="T0" fmla="*/ 7 w 118"/>
                  <a:gd name="T1" fmla="*/ 74 h 74"/>
                  <a:gd name="T2" fmla="*/ 2 w 118"/>
                  <a:gd name="T3" fmla="*/ 71 h 74"/>
                  <a:gd name="T4" fmla="*/ 3 w 118"/>
                  <a:gd name="T5" fmla="*/ 63 h 74"/>
                  <a:gd name="T6" fmla="*/ 45 w 118"/>
                  <a:gd name="T7" fmla="*/ 27 h 74"/>
                  <a:gd name="T8" fmla="*/ 94 w 118"/>
                  <a:gd name="T9" fmla="*/ 5 h 74"/>
                  <a:gd name="T10" fmla="*/ 117 w 118"/>
                  <a:gd name="T11" fmla="*/ 27 h 74"/>
                  <a:gd name="T12" fmla="*/ 113 w 118"/>
                  <a:gd name="T13" fmla="*/ 34 h 74"/>
                  <a:gd name="T14" fmla="*/ 105 w 118"/>
                  <a:gd name="T15" fmla="*/ 30 h 74"/>
                  <a:gd name="T16" fmla="*/ 90 w 118"/>
                  <a:gd name="T17" fmla="*/ 17 h 74"/>
                  <a:gd name="T18" fmla="*/ 54 w 118"/>
                  <a:gd name="T19" fmla="*/ 35 h 74"/>
                  <a:gd name="T20" fmla="*/ 10 w 118"/>
                  <a:gd name="T21" fmla="*/ 73 h 74"/>
                  <a:gd name="T22" fmla="*/ 7 w 118"/>
                  <a:gd name="T23" fmla="*/ 74 h 74"/>
                  <a:gd name="T24" fmla="*/ 7 w 118"/>
                  <a:gd name="T25" fmla="*/ 74 h 74"/>
                  <a:gd name="T26" fmla="*/ 7 w 118"/>
                  <a:gd name="T27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8" h="74">
                    <a:moveTo>
                      <a:pt x="7" y="74"/>
                    </a:moveTo>
                    <a:cubicBezTo>
                      <a:pt x="5" y="74"/>
                      <a:pt x="3" y="73"/>
                      <a:pt x="2" y="71"/>
                    </a:cubicBezTo>
                    <a:cubicBezTo>
                      <a:pt x="0" y="69"/>
                      <a:pt x="0" y="65"/>
                      <a:pt x="3" y="63"/>
                    </a:cubicBezTo>
                    <a:cubicBezTo>
                      <a:pt x="25" y="48"/>
                      <a:pt x="45" y="27"/>
                      <a:pt x="45" y="27"/>
                    </a:cubicBezTo>
                    <a:cubicBezTo>
                      <a:pt x="61" y="8"/>
                      <a:pt x="79" y="0"/>
                      <a:pt x="94" y="5"/>
                    </a:cubicBezTo>
                    <a:cubicBezTo>
                      <a:pt x="109" y="9"/>
                      <a:pt x="115" y="19"/>
                      <a:pt x="117" y="27"/>
                    </a:cubicBezTo>
                    <a:cubicBezTo>
                      <a:pt x="118" y="30"/>
                      <a:pt x="116" y="33"/>
                      <a:pt x="113" y="34"/>
                    </a:cubicBezTo>
                    <a:cubicBezTo>
                      <a:pt x="110" y="35"/>
                      <a:pt x="106" y="34"/>
                      <a:pt x="105" y="30"/>
                    </a:cubicBezTo>
                    <a:cubicBezTo>
                      <a:pt x="103" y="24"/>
                      <a:pt x="98" y="19"/>
                      <a:pt x="90" y="17"/>
                    </a:cubicBezTo>
                    <a:cubicBezTo>
                      <a:pt x="79" y="13"/>
                      <a:pt x="64" y="24"/>
                      <a:pt x="54" y="35"/>
                    </a:cubicBezTo>
                    <a:cubicBezTo>
                      <a:pt x="52" y="38"/>
                      <a:pt x="32" y="58"/>
                      <a:pt x="10" y="73"/>
                    </a:cubicBezTo>
                    <a:cubicBezTo>
                      <a:pt x="9" y="74"/>
                      <a:pt x="8" y="74"/>
                      <a:pt x="7" y="74"/>
                    </a:cubicBezTo>
                    <a:close/>
                    <a:moveTo>
                      <a:pt x="7" y="74"/>
                    </a:moveTo>
                    <a:cubicBezTo>
                      <a:pt x="7" y="74"/>
                      <a:pt x="7" y="74"/>
                      <a:pt x="7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0" name="Freeform 10"/>
              <p:cNvSpPr>
                <a:spLocks noEditPoints="1"/>
              </p:cNvSpPr>
              <p:nvPr/>
            </p:nvSpPr>
            <p:spPr bwMode="auto">
              <a:xfrm>
                <a:off x="3677" y="2071"/>
                <a:ext cx="269" cy="203"/>
              </a:xfrm>
              <a:custGeom>
                <a:avLst/>
                <a:gdLst>
                  <a:gd name="T0" fmla="*/ 7 w 150"/>
                  <a:gd name="T1" fmla="*/ 114 h 114"/>
                  <a:gd name="T2" fmla="*/ 1 w 150"/>
                  <a:gd name="T3" fmla="*/ 110 h 114"/>
                  <a:gd name="T4" fmla="*/ 4 w 150"/>
                  <a:gd name="T5" fmla="*/ 102 h 114"/>
                  <a:gd name="T6" fmla="*/ 82 w 150"/>
                  <a:gd name="T7" fmla="*/ 58 h 114"/>
                  <a:gd name="T8" fmla="*/ 138 w 150"/>
                  <a:gd name="T9" fmla="*/ 5 h 114"/>
                  <a:gd name="T10" fmla="*/ 146 w 150"/>
                  <a:gd name="T11" fmla="*/ 1 h 114"/>
                  <a:gd name="T12" fmla="*/ 149 w 150"/>
                  <a:gd name="T13" fmla="*/ 9 h 114"/>
                  <a:gd name="T14" fmla="*/ 89 w 150"/>
                  <a:gd name="T15" fmla="*/ 69 h 114"/>
                  <a:gd name="T16" fmla="*/ 9 w 150"/>
                  <a:gd name="T17" fmla="*/ 113 h 114"/>
                  <a:gd name="T18" fmla="*/ 7 w 150"/>
                  <a:gd name="T19" fmla="*/ 114 h 114"/>
                  <a:gd name="T20" fmla="*/ 7 w 150"/>
                  <a:gd name="T21" fmla="*/ 114 h 114"/>
                  <a:gd name="T22" fmla="*/ 7 w 150"/>
                  <a:gd name="T23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0" h="114">
                    <a:moveTo>
                      <a:pt x="7" y="114"/>
                    </a:moveTo>
                    <a:cubicBezTo>
                      <a:pt x="4" y="114"/>
                      <a:pt x="2" y="113"/>
                      <a:pt x="1" y="110"/>
                    </a:cubicBezTo>
                    <a:cubicBezTo>
                      <a:pt x="0" y="107"/>
                      <a:pt x="1" y="103"/>
                      <a:pt x="4" y="102"/>
                    </a:cubicBezTo>
                    <a:cubicBezTo>
                      <a:pt x="31" y="91"/>
                      <a:pt x="68" y="68"/>
                      <a:pt x="82" y="58"/>
                    </a:cubicBezTo>
                    <a:cubicBezTo>
                      <a:pt x="112" y="39"/>
                      <a:pt x="131" y="20"/>
                      <a:pt x="138" y="5"/>
                    </a:cubicBezTo>
                    <a:cubicBezTo>
                      <a:pt x="139" y="2"/>
                      <a:pt x="143" y="0"/>
                      <a:pt x="146" y="1"/>
                    </a:cubicBezTo>
                    <a:cubicBezTo>
                      <a:pt x="149" y="3"/>
                      <a:pt x="150" y="6"/>
                      <a:pt x="149" y="9"/>
                    </a:cubicBezTo>
                    <a:cubicBezTo>
                      <a:pt x="140" y="33"/>
                      <a:pt x="111" y="54"/>
                      <a:pt x="89" y="69"/>
                    </a:cubicBezTo>
                    <a:cubicBezTo>
                      <a:pt x="74" y="78"/>
                      <a:pt x="36" y="102"/>
                      <a:pt x="9" y="113"/>
                    </a:cubicBezTo>
                    <a:cubicBezTo>
                      <a:pt x="8" y="114"/>
                      <a:pt x="8" y="114"/>
                      <a:pt x="7" y="114"/>
                    </a:cubicBezTo>
                    <a:close/>
                    <a:moveTo>
                      <a:pt x="7" y="114"/>
                    </a:moveTo>
                    <a:cubicBezTo>
                      <a:pt x="7" y="114"/>
                      <a:pt x="7" y="114"/>
                      <a:pt x="7" y="1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1" name="Freeform 11"/>
              <p:cNvSpPr>
                <a:spLocks noEditPoints="1"/>
              </p:cNvSpPr>
              <p:nvPr/>
            </p:nvSpPr>
            <p:spPr bwMode="auto">
              <a:xfrm>
                <a:off x="3766" y="1946"/>
                <a:ext cx="112" cy="73"/>
              </a:xfrm>
              <a:custGeom>
                <a:avLst/>
                <a:gdLst>
                  <a:gd name="T0" fmla="*/ 15 w 62"/>
                  <a:gd name="T1" fmla="*/ 35 h 41"/>
                  <a:gd name="T2" fmla="*/ 33 w 62"/>
                  <a:gd name="T3" fmla="*/ 21 h 41"/>
                  <a:gd name="T4" fmla="*/ 56 w 62"/>
                  <a:gd name="T5" fmla="*/ 13 h 41"/>
                  <a:gd name="T6" fmla="*/ 62 w 62"/>
                  <a:gd name="T7" fmla="*/ 7 h 41"/>
                  <a:gd name="T8" fmla="*/ 56 w 62"/>
                  <a:gd name="T9" fmla="*/ 0 h 41"/>
                  <a:gd name="T10" fmla="*/ 6 w 62"/>
                  <a:gd name="T11" fmla="*/ 26 h 41"/>
                  <a:gd name="T12" fmla="*/ 15 w 62"/>
                  <a:gd name="T13" fmla="*/ 35 h 41"/>
                  <a:gd name="T14" fmla="*/ 15 w 62"/>
                  <a:gd name="T15" fmla="*/ 35 h 41"/>
                  <a:gd name="T16" fmla="*/ 15 w 62"/>
                  <a:gd name="T17" fmla="*/ 3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41">
                    <a:moveTo>
                      <a:pt x="15" y="35"/>
                    </a:moveTo>
                    <a:cubicBezTo>
                      <a:pt x="20" y="30"/>
                      <a:pt x="26" y="25"/>
                      <a:pt x="33" y="21"/>
                    </a:cubicBezTo>
                    <a:cubicBezTo>
                      <a:pt x="40" y="17"/>
                      <a:pt x="48" y="14"/>
                      <a:pt x="56" y="13"/>
                    </a:cubicBezTo>
                    <a:cubicBezTo>
                      <a:pt x="59" y="13"/>
                      <a:pt x="62" y="10"/>
                      <a:pt x="62" y="7"/>
                    </a:cubicBezTo>
                    <a:cubicBezTo>
                      <a:pt x="62" y="4"/>
                      <a:pt x="59" y="0"/>
                      <a:pt x="56" y="0"/>
                    </a:cubicBezTo>
                    <a:cubicBezTo>
                      <a:pt x="36" y="3"/>
                      <a:pt x="20" y="13"/>
                      <a:pt x="6" y="26"/>
                    </a:cubicBezTo>
                    <a:cubicBezTo>
                      <a:pt x="0" y="32"/>
                      <a:pt x="9" y="41"/>
                      <a:pt x="15" y="35"/>
                    </a:cubicBezTo>
                    <a:close/>
                    <a:moveTo>
                      <a:pt x="15" y="35"/>
                    </a:moveTo>
                    <a:cubicBezTo>
                      <a:pt x="15" y="35"/>
                      <a:pt x="15" y="35"/>
                      <a:pt x="15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2" name="Freeform 12"/>
              <p:cNvSpPr>
                <a:spLocks noEditPoints="1"/>
              </p:cNvSpPr>
              <p:nvPr/>
            </p:nvSpPr>
            <p:spPr bwMode="auto">
              <a:xfrm>
                <a:off x="3661" y="2023"/>
                <a:ext cx="105" cy="78"/>
              </a:xfrm>
              <a:custGeom>
                <a:avLst/>
                <a:gdLst>
                  <a:gd name="T0" fmla="*/ 8 w 59"/>
                  <a:gd name="T1" fmla="*/ 43 h 44"/>
                  <a:gd name="T2" fmla="*/ 32 w 59"/>
                  <a:gd name="T3" fmla="*/ 32 h 44"/>
                  <a:gd name="T4" fmla="*/ 54 w 59"/>
                  <a:gd name="T5" fmla="*/ 14 h 44"/>
                  <a:gd name="T6" fmla="*/ 45 w 59"/>
                  <a:gd name="T7" fmla="*/ 6 h 44"/>
                  <a:gd name="T8" fmla="*/ 26 w 59"/>
                  <a:gd name="T9" fmla="*/ 21 h 44"/>
                  <a:gd name="T10" fmla="*/ 5 w 59"/>
                  <a:gd name="T11" fmla="*/ 31 h 44"/>
                  <a:gd name="T12" fmla="*/ 1 w 59"/>
                  <a:gd name="T13" fmla="*/ 39 h 44"/>
                  <a:gd name="T14" fmla="*/ 8 w 59"/>
                  <a:gd name="T15" fmla="*/ 43 h 44"/>
                  <a:gd name="T16" fmla="*/ 8 w 59"/>
                  <a:gd name="T17" fmla="*/ 43 h 44"/>
                  <a:gd name="T18" fmla="*/ 8 w 59"/>
                  <a:gd name="T1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44">
                    <a:moveTo>
                      <a:pt x="8" y="43"/>
                    </a:moveTo>
                    <a:cubicBezTo>
                      <a:pt x="17" y="41"/>
                      <a:pt x="24" y="36"/>
                      <a:pt x="32" y="32"/>
                    </a:cubicBezTo>
                    <a:cubicBezTo>
                      <a:pt x="40" y="28"/>
                      <a:pt x="47" y="21"/>
                      <a:pt x="54" y="14"/>
                    </a:cubicBezTo>
                    <a:cubicBezTo>
                      <a:pt x="59" y="9"/>
                      <a:pt x="50" y="0"/>
                      <a:pt x="45" y="6"/>
                    </a:cubicBezTo>
                    <a:cubicBezTo>
                      <a:pt x="39" y="12"/>
                      <a:pt x="33" y="17"/>
                      <a:pt x="26" y="21"/>
                    </a:cubicBezTo>
                    <a:cubicBezTo>
                      <a:pt x="19" y="25"/>
                      <a:pt x="12" y="29"/>
                      <a:pt x="5" y="31"/>
                    </a:cubicBezTo>
                    <a:cubicBezTo>
                      <a:pt x="2" y="32"/>
                      <a:pt x="0" y="36"/>
                      <a:pt x="1" y="39"/>
                    </a:cubicBezTo>
                    <a:cubicBezTo>
                      <a:pt x="1" y="42"/>
                      <a:pt x="5" y="44"/>
                      <a:pt x="8" y="43"/>
                    </a:cubicBezTo>
                    <a:close/>
                    <a:moveTo>
                      <a:pt x="8" y="43"/>
                    </a:moveTo>
                    <a:cubicBezTo>
                      <a:pt x="8" y="43"/>
                      <a:pt x="8" y="43"/>
                      <a:pt x="8" y="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3" name="Freeform 13"/>
              <p:cNvSpPr>
                <a:spLocks noEditPoints="1"/>
              </p:cNvSpPr>
              <p:nvPr/>
            </p:nvSpPr>
            <p:spPr bwMode="auto">
              <a:xfrm>
                <a:off x="3824" y="2046"/>
                <a:ext cx="75" cy="78"/>
              </a:xfrm>
              <a:custGeom>
                <a:avLst/>
                <a:gdLst>
                  <a:gd name="T0" fmla="*/ 7 w 42"/>
                  <a:gd name="T1" fmla="*/ 44 h 44"/>
                  <a:gd name="T2" fmla="*/ 3 w 42"/>
                  <a:gd name="T3" fmla="*/ 42 h 44"/>
                  <a:gd name="T4" fmla="*/ 3 w 42"/>
                  <a:gd name="T5" fmla="*/ 33 h 44"/>
                  <a:gd name="T6" fmla="*/ 30 w 42"/>
                  <a:gd name="T7" fmla="*/ 4 h 44"/>
                  <a:gd name="T8" fmla="*/ 39 w 42"/>
                  <a:gd name="T9" fmla="*/ 2 h 44"/>
                  <a:gd name="T10" fmla="*/ 40 w 42"/>
                  <a:gd name="T11" fmla="*/ 11 h 44"/>
                  <a:gd name="T12" fmla="*/ 11 w 42"/>
                  <a:gd name="T13" fmla="*/ 43 h 44"/>
                  <a:gd name="T14" fmla="*/ 7 w 42"/>
                  <a:gd name="T15" fmla="*/ 44 h 44"/>
                  <a:gd name="T16" fmla="*/ 7 w 42"/>
                  <a:gd name="T17" fmla="*/ 44 h 44"/>
                  <a:gd name="T18" fmla="*/ 7 w 42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" h="44">
                    <a:moveTo>
                      <a:pt x="7" y="44"/>
                    </a:moveTo>
                    <a:cubicBezTo>
                      <a:pt x="6" y="44"/>
                      <a:pt x="4" y="44"/>
                      <a:pt x="3" y="42"/>
                    </a:cubicBezTo>
                    <a:cubicBezTo>
                      <a:pt x="0" y="40"/>
                      <a:pt x="1" y="36"/>
                      <a:pt x="3" y="33"/>
                    </a:cubicBezTo>
                    <a:cubicBezTo>
                      <a:pt x="14" y="24"/>
                      <a:pt x="23" y="14"/>
                      <a:pt x="30" y="4"/>
                    </a:cubicBezTo>
                    <a:cubicBezTo>
                      <a:pt x="32" y="1"/>
                      <a:pt x="36" y="0"/>
                      <a:pt x="39" y="2"/>
                    </a:cubicBezTo>
                    <a:cubicBezTo>
                      <a:pt x="42" y="4"/>
                      <a:pt x="42" y="8"/>
                      <a:pt x="40" y="11"/>
                    </a:cubicBezTo>
                    <a:cubicBezTo>
                      <a:pt x="33" y="22"/>
                      <a:pt x="23" y="33"/>
                      <a:pt x="11" y="43"/>
                    </a:cubicBezTo>
                    <a:cubicBezTo>
                      <a:pt x="10" y="44"/>
                      <a:pt x="9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4" name="Freeform 14"/>
              <p:cNvSpPr>
                <a:spLocks noEditPoints="1"/>
              </p:cNvSpPr>
              <p:nvPr/>
            </p:nvSpPr>
            <p:spPr bwMode="auto">
              <a:xfrm>
                <a:off x="3662" y="2139"/>
                <a:ext cx="139" cy="78"/>
              </a:xfrm>
              <a:custGeom>
                <a:avLst/>
                <a:gdLst>
                  <a:gd name="T0" fmla="*/ 7 w 77"/>
                  <a:gd name="T1" fmla="*/ 44 h 44"/>
                  <a:gd name="T2" fmla="*/ 1 w 77"/>
                  <a:gd name="T3" fmla="*/ 40 h 44"/>
                  <a:gd name="T4" fmla="*/ 5 w 77"/>
                  <a:gd name="T5" fmla="*/ 32 h 44"/>
                  <a:gd name="T6" fmla="*/ 5 w 77"/>
                  <a:gd name="T7" fmla="*/ 32 h 44"/>
                  <a:gd name="T8" fmla="*/ 47 w 77"/>
                  <a:gd name="T9" fmla="*/ 13 h 44"/>
                  <a:gd name="T10" fmla="*/ 67 w 77"/>
                  <a:gd name="T11" fmla="*/ 1 h 44"/>
                  <a:gd name="T12" fmla="*/ 75 w 77"/>
                  <a:gd name="T13" fmla="*/ 3 h 44"/>
                  <a:gd name="T14" fmla="*/ 74 w 77"/>
                  <a:gd name="T15" fmla="*/ 12 h 44"/>
                  <a:gd name="T16" fmla="*/ 53 w 77"/>
                  <a:gd name="T17" fmla="*/ 24 h 44"/>
                  <a:gd name="T18" fmla="*/ 9 w 77"/>
                  <a:gd name="T19" fmla="*/ 44 h 44"/>
                  <a:gd name="T20" fmla="*/ 9 w 77"/>
                  <a:gd name="T21" fmla="*/ 44 h 44"/>
                  <a:gd name="T22" fmla="*/ 7 w 77"/>
                  <a:gd name="T23" fmla="*/ 44 h 44"/>
                  <a:gd name="T24" fmla="*/ 7 w 77"/>
                  <a:gd name="T25" fmla="*/ 44 h 44"/>
                  <a:gd name="T26" fmla="*/ 7 w 77"/>
                  <a:gd name="T2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7" h="44">
                    <a:moveTo>
                      <a:pt x="7" y="44"/>
                    </a:moveTo>
                    <a:cubicBezTo>
                      <a:pt x="4" y="44"/>
                      <a:pt x="2" y="43"/>
                      <a:pt x="1" y="40"/>
                    </a:cubicBezTo>
                    <a:cubicBezTo>
                      <a:pt x="0" y="37"/>
                      <a:pt x="2" y="33"/>
                      <a:pt x="5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11" y="30"/>
                      <a:pt x="28" y="24"/>
                      <a:pt x="47" y="13"/>
                    </a:cubicBezTo>
                    <a:cubicBezTo>
                      <a:pt x="54" y="9"/>
                      <a:pt x="61" y="5"/>
                      <a:pt x="67" y="1"/>
                    </a:cubicBezTo>
                    <a:cubicBezTo>
                      <a:pt x="70" y="0"/>
                      <a:pt x="73" y="0"/>
                      <a:pt x="75" y="3"/>
                    </a:cubicBezTo>
                    <a:cubicBezTo>
                      <a:pt x="77" y="6"/>
                      <a:pt x="76" y="10"/>
                      <a:pt x="74" y="12"/>
                    </a:cubicBezTo>
                    <a:cubicBezTo>
                      <a:pt x="67" y="16"/>
                      <a:pt x="60" y="20"/>
                      <a:pt x="53" y="24"/>
                    </a:cubicBezTo>
                    <a:cubicBezTo>
                      <a:pt x="33" y="35"/>
                      <a:pt x="16" y="41"/>
                      <a:pt x="9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8" y="44"/>
                      <a:pt x="8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5" name="Freeform 15"/>
              <p:cNvSpPr>
                <a:spLocks noEditPoints="1"/>
              </p:cNvSpPr>
              <p:nvPr/>
            </p:nvSpPr>
            <p:spPr bwMode="auto">
              <a:xfrm>
                <a:off x="3801" y="2215"/>
                <a:ext cx="190" cy="89"/>
              </a:xfrm>
              <a:custGeom>
                <a:avLst/>
                <a:gdLst>
                  <a:gd name="T0" fmla="*/ 99 w 106"/>
                  <a:gd name="T1" fmla="*/ 50 h 50"/>
                  <a:gd name="T2" fmla="*/ 97 w 106"/>
                  <a:gd name="T3" fmla="*/ 49 h 50"/>
                  <a:gd name="T4" fmla="*/ 64 w 106"/>
                  <a:gd name="T5" fmla="*/ 30 h 50"/>
                  <a:gd name="T6" fmla="*/ 36 w 106"/>
                  <a:gd name="T7" fmla="*/ 14 h 50"/>
                  <a:gd name="T8" fmla="*/ 10 w 106"/>
                  <a:gd name="T9" fmla="*/ 29 h 50"/>
                  <a:gd name="T10" fmla="*/ 1 w 106"/>
                  <a:gd name="T11" fmla="*/ 27 h 50"/>
                  <a:gd name="T12" fmla="*/ 3 w 106"/>
                  <a:gd name="T13" fmla="*/ 18 h 50"/>
                  <a:gd name="T14" fmla="*/ 34 w 106"/>
                  <a:gd name="T15" fmla="*/ 2 h 50"/>
                  <a:gd name="T16" fmla="*/ 71 w 106"/>
                  <a:gd name="T17" fmla="*/ 20 h 50"/>
                  <a:gd name="T18" fmla="*/ 101 w 106"/>
                  <a:gd name="T19" fmla="*/ 37 h 50"/>
                  <a:gd name="T20" fmla="*/ 105 w 106"/>
                  <a:gd name="T21" fmla="*/ 45 h 50"/>
                  <a:gd name="T22" fmla="*/ 99 w 106"/>
                  <a:gd name="T23" fmla="*/ 50 h 50"/>
                  <a:gd name="T24" fmla="*/ 99 w 106"/>
                  <a:gd name="T25" fmla="*/ 50 h 50"/>
                  <a:gd name="T26" fmla="*/ 99 w 106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6" h="50">
                    <a:moveTo>
                      <a:pt x="99" y="50"/>
                    </a:moveTo>
                    <a:cubicBezTo>
                      <a:pt x="98" y="50"/>
                      <a:pt x="97" y="49"/>
                      <a:pt x="97" y="49"/>
                    </a:cubicBezTo>
                    <a:cubicBezTo>
                      <a:pt x="86" y="46"/>
                      <a:pt x="75" y="38"/>
                      <a:pt x="64" y="30"/>
                    </a:cubicBezTo>
                    <a:cubicBezTo>
                      <a:pt x="54" y="23"/>
                      <a:pt x="41" y="13"/>
                      <a:pt x="36" y="14"/>
                    </a:cubicBezTo>
                    <a:cubicBezTo>
                      <a:pt x="31" y="15"/>
                      <a:pt x="15" y="25"/>
                      <a:pt x="10" y="29"/>
                    </a:cubicBezTo>
                    <a:cubicBezTo>
                      <a:pt x="7" y="30"/>
                      <a:pt x="3" y="30"/>
                      <a:pt x="1" y="27"/>
                    </a:cubicBezTo>
                    <a:cubicBezTo>
                      <a:pt x="0" y="24"/>
                      <a:pt x="0" y="20"/>
                      <a:pt x="3" y="18"/>
                    </a:cubicBezTo>
                    <a:cubicBezTo>
                      <a:pt x="20" y="8"/>
                      <a:pt x="28" y="3"/>
                      <a:pt x="34" y="2"/>
                    </a:cubicBezTo>
                    <a:cubicBezTo>
                      <a:pt x="44" y="0"/>
                      <a:pt x="57" y="9"/>
                      <a:pt x="71" y="20"/>
                    </a:cubicBezTo>
                    <a:cubicBezTo>
                      <a:pt x="82" y="27"/>
                      <a:pt x="92" y="35"/>
                      <a:pt x="101" y="37"/>
                    </a:cubicBezTo>
                    <a:cubicBezTo>
                      <a:pt x="104" y="39"/>
                      <a:pt x="106" y="42"/>
                      <a:pt x="105" y="45"/>
                    </a:cubicBezTo>
                    <a:cubicBezTo>
                      <a:pt x="104" y="48"/>
                      <a:pt x="101" y="50"/>
                      <a:pt x="99" y="50"/>
                    </a:cubicBezTo>
                    <a:close/>
                    <a:moveTo>
                      <a:pt x="99" y="50"/>
                    </a:moveTo>
                    <a:cubicBezTo>
                      <a:pt x="99" y="50"/>
                      <a:pt x="99" y="50"/>
                      <a:pt x="99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6" name="Freeform 16"/>
              <p:cNvSpPr>
                <a:spLocks noEditPoints="1"/>
              </p:cNvSpPr>
              <p:nvPr/>
            </p:nvSpPr>
            <p:spPr bwMode="auto">
              <a:xfrm>
                <a:off x="3702" y="2260"/>
                <a:ext cx="100" cy="66"/>
              </a:xfrm>
              <a:custGeom>
                <a:avLst/>
                <a:gdLst>
                  <a:gd name="T0" fmla="*/ 7 w 56"/>
                  <a:gd name="T1" fmla="*/ 37 h 37"/>
                  <a:gd name="T2" fmla="*/ 1 w 56"/>
                  <a:gd name="T3" fmla="*/ 33 h 37"/>
                  <a:gd name="T4" fmla="*/ 5 w 56"/>
                  <a:gd name="T5" fmla="*/ 25 h 37"/>
                  <a:gd name="T6" fmla="*/ 45 w 56"/>
                  <a:gd name="T7" fmla="*/ 2 h 37"/>
                  <a:gd name="T8" fmla="*/ 54 w 56"/>
                  <a:gd name="T9" fmla="*/ 4 h 37"/>
                  <a:gd name="T10" fmla="*/ 52 w 56"/>
                  <a:gd name="T11" fmla="*/ 12 h 37"/>
                  <a:gd name="T12" fmla="*/ 9 w 56"/>
                  <a:gd name="T13" fmla="*/ 37 h 37"/>
                  <a:gd name="T14" fmla="*/ 7 w 56"/>
                  <a:gd name="T15" fmla="*/ 37 h 37"/>
                  <a:gd name="T16" fmla="*/ 7 w 56"/>
                  <a:gd name="T17" fmla="*/ 37 h 37"/>
                  <a:gd name="T18" fmla="*/ 7 w 56"/>
                  <a:gd name="T1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37">
                    <a:moveTo>
                      <a:pt x="7" y="37"/>
                    </a:moveTo>
                    <a:cubicBezTo>
                      <a:pt x="4" y="37"/>
                      <a:pt x="2" y="35"/>
                      <a:pt x="1" y="33"/>
                    </a:cubicBezTo>
                    <a:cubicBezTo>
                      <a:pt x="0" y="29"/>
                      <a:pt x="2" y="26"/>
                      <a:pt x="5" y="25"/>
                    </a:cubicBezTo>
                    <a:cubicBezTo>
                      <a:pt x="13" y="23"/>
                      <a:pt x="31" y="11"/>
                      <a:pt x="45" y="2"/>
                    </a:cubicBezTo>
                    <a:cubicBezTo>
                      <a:pt x="48" y="0"/>
                      <a:pt x="52" y="1"/>
                      <a:pt x="54" y="4"/>
                    </a:cubicBezTo>
                    <a:cubicBezTo>
                      <a:pt x="56" y="6"/>
                      <a:pt x="55" y="10"/>
                      <a:pt x="52" y="12"/>
                    </a:cubicBezTo>
                    <a:cubicBezTo>
                      <a:pt x="32" y="25"/>
                      <a:pt x="17" y="35"/>
                      <a:pt x="9" y="37"/>
                    </a:cubicBezTo>
                    <a:cubicBezTo>
                      <a:pt x="8" y="37"/>
                      <a:pt x="7" y="37"/>
                      <a:pt x="7" y="37"/>
                    </a:cubicBezTo>
                    <a:close/>
                    <a:moveTo>
                      <a:pt x="7" y="37"/>
                    </a:moveTo>
                    <a:cubicBezTo>
                      <a:pt x="7" y="37"/>
                      <a:pt x="7" y="37"/>
                      <a:pt x="7" y="3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7" name="Freeform 17"/>
              <p:cNvSpPr>
                <a:spLocks noEditPoints="1"/>
              </p:cNvSpPr>
              <p:nvPr/>
            </p:nvSpPr>
            <p:spPr bwMode="auto">
              <a:xfrm>
                <a:off x="3906" y="2319"/>
                <a:ext cx="56" cy="39"/>
              </a:xfrm>
              <a:custGeom>
                <a:avLst/>
                <a:gdLst>
                  <a:gd name="T0" fmla="*/ 24 w 31"/>
                  <a:gd name="T1" fmla="*/ 22 h 22"/>
                  <a:gd name="T2" fmla="*/ 22 w 31"/>
                  <a:gd name="T3" fmla="*/ 21 h 22"/>
                  <a:gd name="T4" fmla="*/ 4 w 31"/>
                  <a:gd name="T5" fmla="*/ 12 h 22"/>
                  <a:gd name="T6" fmla="*/ 2 w 31"/>
                  <a:gd name="T7" fmla="*/ 4 h 22"/>
                  <a:gd name="T8" fmla="*/ 11 w 31"/>
                  <a:gd name="T9" fmla="*/ 1 h 22"/>
                  <a:gd name="T10" fmla="*/ 26 w 31"/>
                  <a:gd name="T11" fmla="*/ 10 h 22"/>
                  <a:gd name="T12" fmla="*/ 30 w 31"/>
                  <a:gd name="T13" fmla="*/ 18 h 22"/>
                  <a:gd name="T14" fmla="*/ 24 w 31"/>
                  <a:gd name="T15" fmla="*/ 22 h 22"/>
                  <a:gd name="T16" fmla="*/ 24 w 31"/>
                  <a:gd name="T17" fmla="*/ 22 h 22"/>
                  <a:gd name="T18" fmla="*/ 24 w 31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22">
                    <a:moveTo>
                      <a:pt x="24" y="22"/>
                    </a:moveTo>
                    <a:cubicBezTo>
                      <a:pt x="23" y="22"/>
                      <a:pt x="23" y="22"/>
                      <a:pt x="22" y="21"/>
                    </a:cubicBezTo>
                    <a:cubicBezTo>
                      <a:pt x="17" y="20"/>
                      <a:pt x="10" y="16"/>
                      <a:pt x="4" y="12"/>
                    </a:cubicBezTo>
                    <a:cubicBezTo>
                      <a:pt x="1" y="10"/>
                      <a:pt x="0" y="6"/>
                      <a:pt x="2" y="4"/>
                    </a:cubicBezTo>
                    <a:cubicBezTo>
                      <a:pt x="4" y="1"/>
                      <a:pt x="8" y="0"/>
                      <a:pt x="11" y="1"/>
                    </a:cubicBezTo>
                    <a:cubicBezTo>
                      <a:pt x="16" y="5"/>
                      <a:pt x="22" y="8"/>
                      <a:pt x="26" y="10"/>
                    </a:cubicBezTo>
                    <a:cubicBezTo>
                      <a:pt x="29" y="11"/>
                      <a:pt x="31" y="15"/>
                      <a:pt x="30" y="18"/>
                    </a:cubicBezTo>
                    <a:cubicBezTo>
                      <a:pt x="29" y="20"/>
                      <a:pt x="27" y="22"/>
                      <a:pt x="24" y="22"/>
                    </a:cubicBezTo>
                    <a:close/>
                    <a:moveTo>
                      <a:pt x="24" y="22"/>
                    </a:moveTo>
                    <a:cubicBezTo>
                      <a:pt x="24" y="22"/>
                      <a:pt x="24" y="22"/>
                      <a:pt x="24" y="2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8" name="Freeform 18"/>
              <p:cNvSpPr>
                <a:spLocks noEditPoints="1"/>
              </p:cNvSpPr>
              <p:nvPr/>
            </p:nvSpPr>
            <p:spPr bwMode="auto">
              <a:xfrm>
                <a:off x="3741" y="2287"/>
                <a:ext cx="165" cy="89"/>
              </a:xfrm>
              <a:custGeom>
                <a:avLst/>
                <a:gdLst>
                  <a:gd name="T0" fmla="*/ 7 w 92"/>
                  <a:gd name="T1" fmla="*/ 50 h 50"/>
                  <a:gd name="T2" fmla="*/ 2 w 92"/>
                  <a:gd name="T3" fmla="*/ 47 h 50"/>
                  <a:gd name="T4" fmla="*/ 4 w 92"/>
                  <a:gd name="T5" fmla="*/ 39 h 50"/>
                  <a:gd name="T6" fmla="*/ 12 w 92"/>
                  <a:gd name="T7" fmla="*/ 33 h 50"/>
                  <a:gd name="T8" fmla="*/ 63 w 92"/>
                  <a:gd name="T9" fmla="*/ 1 h 50"/>
                  <a:gd name="T10" fmla="*/ 88 w 92"/>
                  <a:gd name="T11" fmla="*/ 10 h 50"/>
                  <a:gd name="T12" fmla="*/ 90 w 92"/>
                  <a:gd name="T13" fmla="*/ 19 h 50"/>
                  <a:gd name="T14" fmla="*/ 81 w 92"/>
                  <a:gd name="T15" fmla="*/ 21 h 50"/>
                  <a:gd name="T16" fmla="*/ 65 w 92"/>
                  <a:gd name="T17" fmla="*/ 13 h 50"/>
                  <a:gd name="T18" fmla="*/ 19 w 92"/>
                  <a:gd name="T19" fmla="*/ 43 h 50"/>
                  <a:gd name="T20" fmla="*/ 11 w 92"/>
                  <a:gd name="T21" fmla="*/ 49 h 50"/>
                  <a:gd name="T22" fmla="*/ 7 w 92"/>
                  <a:gd name="T23" fmla="*/ 50 h 50"/>
                  <a:gd name="T24" fmla="*/ 7 w 92"/>
                  <a:gd name="T25" fmla="*/ 50 h 50"/>
                  <a:gd name="T26" fmla="*/ 7 w 92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50">
                    <a:moveTo>
                      <a:pt x="7" y="50"/>
                    </a:moveTo>
                    <a:cubicBezTo>
                      <a:pt x="5" y="50"/>
                      <a:pt x="3" y="49"/>
                      <a:pt x="2" y="47"/>
                    </a:cubicBezTo>
                    <a:cubicBezTo>
                      <a:pt x="0" y="45"/>
                      <a:pt x="1" y="41"/>
                      <a:pt x="4" y="39"/>
                    </a:cubicBezTo>
                    <a:cubicBezTo>
                      <a:pt x="6" y="37"/>
                      <a:pt x="9" y="35"/>
                      <a:pt x="12" y="33"/>
                    </a:cubicBezTo>
                    <a:cubicBezTo>
                      <a:pt x="39" y="13"/>
                      <a:pt x="55" y="2"/>
                      <a:pt x="63" y="1"/>
                    </a:cubicBezTo>
                    <a:cubicBezTo>
                      <a:pt x="68" y="0"/>
                      <a:pt x="75" y="3"/>
                      <a:pt x="88" y="10"/>
                    </a:cubicBezTo>
                    <a:cubicBezTo>
                      <a:pt x="91" y="12"/>
                      <a:pt x="92" y="16"/>
                      <a:pt x="90" y="19"/>
                    </a:cubicBezTo>
                    <a:cubicBezTo>
                      <a:pt x="88" y="22"/>
                      <a:pt x="84" y="23"/>
                      <a:pt x="81" y="21"/>
                    </a:cubicBezTo>
                    <a:cubicBezTo>
                      <a:pt x="69" y="14"/>
                      <a:pt x="66" y="13"/>
                      <a:pt x="65" y="13"/>
                    </a:cubicBezTo>
                    <a:cubicBezTo>
                      <a:pt x="58" y="14"/>
                      <a:pt x="30" y="35"/>
                      <a:pt x="19" y="43"/>
                    </a:cubicBezTo>
                    <a:cubicBezTo>
                      <a:pt x="16" y="45"/>
                      <a:pt x="13" y="48"/>
                      <a:pt x="11" y="49"/>
                    </a:cubicBezTo>
                    <a:cubicBezTo>
                      <a:pt x="10" y="50"/>
                      <a:pt x="9" y="50"/>
                      <a:pt x="7" y="50"/>
                    </a:cubicBezTo>
                    <a:close/>
                    <a:moveTo>
                      <a:pt x="7" y="50"/>
                    </a:moveTo>
                    <a:cubicBezTo>
                      <a:pt x="7" y="50"/>
                      <a:pt x="7" y="50"/>
                      <a:pt x="7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9" name="Freeform 20"/>
              <p:cNvSpPr>
                <a:spLocks noEditPoints="1"/>
              </p:cNvSpPr>
              <p:nvPr/>
            </p:nvSpPr>
            <p:spPr bwMode="auto">
              <a:xfrm>
                <a:off x="3949" y="2108"/>
                <a:ext cx="72" cy="77"/>
              </a:xfrm>
              <a:custGeom>
                <a:avLst/>
                <a:gdLst>
                  <a:gd name="T0" fmla="*/ 1 w 40"/>
                  <a:gd name="T1" fmla="*/ 11 h 43"/>
                  <a:gd name="T2" fmla="*/ 30 w 40"/>
                  <a:gd name="T3" fmla="*/ 41 h 43"/>
                  <a:gd name="T4" fmla="*/ 38 w 40"/>
                  <a:gd name="T5" fmla="*/ 39 h 43"/>
                  <a:gd name="T6" fmla="*/ 36 w 40"/>
                  <a:gd name="T7" fmla="*/ 31 h 43"/>
                  <a:gd name="T8" fmla="*/ 21 w 40"/>
                  <a:gd name="T9" fmla="*/ 23 h 43"/>
                  <a:gd name="T10" fmla="*/ 13 w 40"/>
                  <a:gd name="T11" fmla="*/ 7 h 43"/>
                  <a:gd name="T12" fmla="*/ 1 w 40"/>
                  <a:gd name="T13" fmla="*/ 11 h 43"/>
                  <a:gd name="T14" fmla="*/ 1 w 40"/>
                  <a:gd name="T15" fmla="*/ 11 h 43"/>
                  <a:gd name="T16" fmla="*/ 1 w 40"/>
                  <a:gd name="T17" fmla="*/ 1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43">
                    <a:moveTo>
                      <a:pt x="1" y="11"/>
                    </a:moveTo>
                    <a:cubicBezTo>
                      <a:pt x="4" y="27"/>
                      <a:pt x="15" y="36"/>
                      <a:pt x="30" y="41"/>
                    </a:cubicBezTo>
                    <a:cubicBezTo>
                      <a:pt x="33" y="43"/>
                      <a:pt x="36" y="42"/>
                      <a:pt x="38" y="39"/>
                    </a:cubicBezTo>
                    <a:cubicBezTo>
                      <a:pt x="40" y="37"/>
                      <a:pt x="39" y="32"/>
                      <a:pt x="36" y="31"/>
                    </a:cubicBezTo>
                    <a:cubicBezTo>
                      <a:pt x="31" y="29"/>
                      <a:pt x="25" y="26"/>
                      <a:pt x="21" y="23"/>
                    </a:cubicBezTo>
                    <a:cubicBezTo>
                      <a:pt x="16" y="19"/>
                      <a:pt x="14" y="13"/>
                      <a:pt x="13" y="7"/>
                    </a:cubicBezTo>
                    <a:cubicBezTo>
                      <a:pt x="12" y="0"/>
                      <a:pt x="0" y="3"/>
                      <a:pt x="1" y="11"/>
                    </a:cubicBezTo>
                    <a:close/>
                    <a:moveTo>
                      <a:pt x="1" y="11"/>
                    </a:moveTo>
                    <a:cubicBezTo>
                      <a:pt x="1" y="11"/>
                      <a:pt x="1" y="11"/>
                      <a:pt x="1" y="1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70" name="Freeform 21"/>
              <p:cNvSpPr>
                <a:spLocks noEditPoints="1"/>
              </p:cNvSpPr>
              <p:nvPr/>
            </p:nvSpPr>
            <p:spPr bwMode="auto">
              <a:xfrm>
                <a:off x="3906" y="2160"/>
                <a:ext cx="99" cy="86"/>
              </a:xfrm>
              <a:custGeom>
                <a:avLst/>
                <a:gdLst>
                  <a:gd name="T0" fmla="*/ 1 w 55"/>
                  <a:gd name="T1" fmla="*/ 8 h 48"/>
                  <a:gd name="T2" fmla="*/ 44 w 55"/>
                  <a:gd name="T3" fmla="*/ 46 h 48"/>
                  <a:gd name="T4" fmla="*/ 48 w 55"/>
                  <a:gd name="T5" fmla="*/ 34 h 48"/>
                  <a:gd name="T6" fmla="*/ 35 w 55"/>
                  <a:gd name="T7" fmla="*/ 28 h 48"/>
                  <a:gd name="T8" fmla="*/ 13 w 55"/>
                  <a:gd name="T9" fmla="*/ 5 h 48"/>
                  <a:gd name="T10" fmla="*/ 6 w 55"/>
                  <a:gd name="T11" fmla="*/ 1 h 48"/>
                  <a:gd name="T12" fmla="*/ 1 w 55"/>
                  <a:gd name="T13" fmla="*/ 8 h 48"/>
                  <a:gd name="T14" fmla="*/ 1 w 55"/>
                  <a:gd name="T15" fmla="*/ 8 h 48"/>
                  <a:gd name="T16" fmla="*/ 1 w 55"/>
                  <a:gd name="T17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48">
                    <a:moveTo>
                      <a:pt x="1" y="8"/>
                    </a:moveTo>
                    <a:cubicBezTo>
                      <a:pt x="9" y="27"/>
                      <a:pt x="26" y="40"/>
                      <a:pt x="44" y="46"/>
                    </a:cubicBezTo>
                    <a:cubicBezTo>
                      <a:pt x="52" y="48"/>
                      <a:pt x="55" y="36"/>
                      <a:pt x="48" y="34"/>
                    </a:cubicBezTo>
                    <a:cubicBezTo>
                      <a:pt x="43" y="33"/>
                      <a:pt x="40" y="31"/>
                      <a:pt x="35" y="28"/>
                    </a:cubicBezTo>
                    <a:cubicBezTo>
                      <a:pt x="26" y="23"/>
                      <a:pt x="17" y="15"/>
                      <a:pt x="13" y="5"/>
                    </a:cubicBezTo>
                    <a:cubicBezTo>
                      <a:pt x="12" y="2"/>
                      <a:pt x="9" y="0"/>
                      <a:pt x="6" y="1"/>
                    </a:cubicBezTo>
                    <a:cubicBezTo>
                      <a:pt x="3" y="2"/>
                      <a:pt x="0" y="5"/>
                      <a:pt x="1" y="8"/>
                    </a:cubicBezTo>
                    <a:close/>
                    <a:moveTo>
                      <a:pt x="1" y="8"/>
                    </a:moveTo>
                    <a:cubicBezTo>
                      <a:pt x="1" y="8"/>
                      <a:pt x="1" y="8"/>
                      <a:pt x="1" y="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</p:grpSp>
        <p:grpSp>
          <p:nvGrpSpPr>
            <p:cNvPr id="44" name="Group 15"/>
            <p:cNvGrpSpPr>
              <a:grpSpLocks noChangeAspect="1"/>
            </p:cNvGrpSpPr>
            <p:nvPr userDrawn="1"/>
          </p:nvGrpSpPr>
          <p:grpSpPr bwMode="auto">
            <a:xfrm>
              <a:off x="702225" y="267251"/>
              <a:ext cx="94846" cy="95277"/>
              <a:chOff x="4843" y="2141"/>
              <a:chExt cx="220" cy="221"/>
            </a:xfrm>
            <a:solidFill>
              <a:schemeClr val="bg1"/>
            </a:solidFill>
          </p:grpSpPr>
          <p:sp>
            <p:nvSpPr>
              <p:cNvPr id="47" name="Freeform 16"/>
              <p:cNvSpPr>
                <a:spLocks/>
              </p:cNvSpPr>
              <p:nvPr/>
            </p:nvSpPr>
            <p:spPr bwMode="auto">
              <a:xfrm>
                <a:off x="4843" y="2298"/>
                <a:ext cx="184" cy="64"/>
              </a:xfrm>
              <a:custGeom>
                <a:avLst/>
                <a:gdLst>
                  <a:gd name="T0" fmla="*/ 584 w 1371"/>
                  <a:gd name="T1" fmla="*/ 473 h 473"/>
                  <a:gd name="T2" fmla="*/ 489 w 1371"/>
                  <a:gd name="T3" fmla="*/ 464 h 473"/>
                  <a:gd name="T4" fmla="*/ 142 w 1371"/>
                  <a:gd name="T5" fmla="*/ 375 h 473"/>
                  <a:gd name="T6" fmla="*/ 18 w 1371"/>
                  <a:gd name="T7" fmla="*/ 273 h 473"/>
                  <a:gd name="T8" fmla="*/ 0 w 1371"/>
                  <a:gd name="T9" fmla="*/ 213 h 473"/>
                  <a:gd name="T10" fmla="*/ 0 w 1371"/>
                  <a:gd name="T11" fmla="*/ 17 h 473"/>
                  <a:gd name="T12" fmla="*/ 13 w 1371"/>
                  <a:gd name="T13" fmla="*/ 8 h 473"/>
                  <a:gd name="T14" fmla="*/ 285 w 1371"/>
                  <a:gd name="T15" fmla="*/ 107 h 473"/>
                  <a:gd name="T16" fmla="*/ 769 w 1371"/>
                  <a:gd name="T17" fmla="*/ 141 h 473"/>
                  <a:gd name="T18" fmla="*/ 1176 w 1371"/>
                  <a:gd name="T19" fmla="*/ 85 h 473"/>
                  <a:gd name="T20" fmla="*/ 1352 w 1371"/>
                  <a:gd name="T21" fmla="*/ 10 h 473"/>
                  <a:gd name="T22" fmla="*/ 1365 w 1371"/>
                  <a:gd name="T23" fmla="*/ 5 h 473"/>
                  <a:gd name="T24" fmla="*/ 1369 w 1371"/>
                  <a:gd name="T25" fmla="*/ 20 h 473"/>
                  <a:gd name="T26" fmla="*/ 1369 w 1371"/>
                  <a:gd name="T27" fmla="*/ 218 h 473"/>
                  <a:gd name="T28" fmla="*/ 1333 w 1371"/>
                  <a:gd name="T29" fmla="*/ 298 h 473"/>
                  <a:gd name="T30" fmla="*/ 1178 w 1371"/>
                  <a:gd name="T31" fmla="*/ 396 h 473"/>
                  <a:gd name="T32" fmla="*/ 876 w 1371"/>
                  <a:gd name="T33" fmla="*/ 464 h 473"/>
                  <a:gd name="T34" fmla="*/ 786 w 1371"/>
                  <a:gd name="T35" fmla="*/ 473 h 473"/>
                  <a:gd name="T36" fmla="*/ 584 w 1371"/>
                  <a:gd name="T37" fmla="*/ 473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71" h="473">
                    <a:moveTo>
                      <a:pt x="584" y="473"/>
                    </a:moveTo>
                    <a:cubicBezTo>
                      <a:pt x="552" y="470"/>
                      <a:pt x="520" y="467"/>
                      <a:pt x="489" y="464"/>
                    </a:cubicBezTo>
                    <a:cubicBezTo>
                      <a:pt x="369" y="450"/>
                      <a:pt x="252" y="427"/>
                      <a:pt x="142" y="375"/>
                    </a:cubicBezTo>
                    <a:cubicBezTo>
                      <a:pt x="93" y="351"/>
                      <a:pt x="47" y="322"/>
                      <a:pt x="18" y="273"/>
                    </a:cubicBezTo>
                    <a:cubicBezTo>
                      <a:pt x="7" y="255"/>
                      <a:pt x="0" y="235"/>
                      <a:pt x="0" y="213"/>
                    </a:cubicBezTo>
                    <a:cubicBezTo>
                      <a:pt x="1" y="148"/>
                      <a:pt x="1" y="82"/>
                      <a:pt x="0" y="17"/>
                    </a:cubicBezTo>
                    <a:cubicBezTo>
                      <a:pt x="0" y="8"/>
                      <a:pt x="1" y="0"/>
                      <a:pt x="13" y="8"/>
                    </a:cubicBezTo>
                    <a:cubicBezTo>
                      <a:pt x="97" y="61"/>
                      <a:pt x="190" y="87"/>
                      <a:pt x="285" y="107"/>
                    </a:cubicBezTo>
                    <a:cubicBezTo>
                      <a:pt x="445" y="140"/>
                      <a:pt x="607" y="146"/>
                      <a:pt x="769" y="141"/>
                    </a:cubicBezTo>
                    <a:cubicBezTo>
                      <a:pt x="906" y="137"/>
                      <a:pt x="1043" y="123"/>
                      <a:pt x="1176" y="85"/>
                    </a:cubicBezTo>
                    <a:cubicBezTo>
                      <a:pt x="1238" y="67"/>
                      <a:pt x="1298" y="45"/>
                      <a:pt x="1352" y="10"/>
                    </a:cubicBezTo>
                    <a:cubicBezTo>
                      <a:pt x="1356" y="8"/>
                      <a:pt x="1360" y="3"/>
                      <a:pt x="1365" y="5"/>
                    </a:cubicBezTo>
                    <a:cubicBezTo>
                      <a:pt x="1371" y="8"/>
                      <a:pt x="1369" y="15"/>
                      <a:pt x="1369" y="20"/>
                    </a:cubicBezTo>
                    <a:cubicBezTo>
                      <a:pt x="1369" y="86"/>
                      <a:pt x="1369" y="152"/>
                      <a:pt x="1369" y="218"/>
                    </a:cubicBezTo>
                    <a:cubicBezTo>
                      <a:pt x="1368" y="249"/>
                      <a:pt x="1353" y="275"/>
                      <a:pt x="1333" y="298"/>
                    </a:cubicBezTo>
                    <a:cubicBezTo>
                      <a:pt x="1291" y="346"/>
                      <a:pt x="1236" y="373"/>
                      <a:pt x="1178" y="396"/>
                    </a:cubicBezTo>
                    <a:cubicBezTo>
                      <a:pt x="1081" y="434"/>
                      <a:pt x="979" y="453"/>
                      <a:pt x="876" y="464"/>
                    </a:cubicBezTo>
                    <a:cubicBezTo>
                      <a:pt x="846" y="467"/>
                      <a:pt x="816" y="470"/>
                      <a:pt x="786" y="473"/>
                    </a:cubicBezTo>
                    <a:cubicBezTo>
                      <a:pt x="718" y="473"/>
                      <a:pt x="651" y="473"/>
                      <a:pt x="584" y="4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Freeform 17"/>
              <p:cNvSpPr>
                <a:spLocks/>
              </p:cNvSpPr>
              <p:nvPr/>
            </p:nvSpPr>
            <p:spPr bwMode="auto">
              <a:xfrm>
                <a:off x="4894" y="2141"/>
                <a:ext cx="169" cy="56"/>
              </a:xfrm>
              <a:custGeom>
                <a:avLst/>
                <a:gdLst>
                  <a:gd name="T0" fmla="*/ 1263 w 1263"/>
                  <a:gd name="T1" fmla="*/ 314 h 416"/>
                  <a:gd name="T2" fmla="*/ 1114 w 1263"/>
                  <a:gd name="T3" fmla="*/ 395 h 416"/>
                  <a:gd name="T4" fmla="*/ 1056 w 1263"/>
                  <a:gd name="T5" fmla="*/ 413 h 416"/>
                  <a:gd name="T6" fmla="*/ 1042 w 1263"/>
                  <a:gd name="T7" fmla="*/ 403 h 416"/>
                  <a:gd name="T8" fmla="*/ 943 w 1263"/>
                  <a:gd name="T9" fmla="*/ 233 h 416"/>
                  <a:gd name="T10" fmla="*/ 696 w 1263"/>
                  <a:gd name="T11" fmla="*/ 132 h 416"/>
                  <a:gd name="T12" fmla="*/ 462 w 1263"/>
                  <a:gd name="T13" fmla="*/ 99 h 416"/>
                  <a:gd name="T14" fmla="*/ 243 w 1263"/>
                  <a:gd name="T15" fmla="*/ 97 h 416"/>
                  <a:gd name="T16" fmla="*/ 15 w 1263"/>
                  <a:gd name="T17" fmla="*/ 124 h 416"/>
                  <a:gd name="T18" fmla="*/ 0 w 1263"/>
                  <a:gd name="T19" fmla="*/ 122 h 416"/>
                  <a:gd name="T20" fmla="*/ 47 w 1263"/>
                  <a:gd name="T21" fmla="*/ 96 h 416"/>
                  <a:gd name="T22" fmla="*/ 354 w 1263"/>
                  <a:gd name="T23" fmla="*/ 15 h 416"/>
                  <a:gd name="T24" fmla="*/ 648 w 1263"/>
                  <a:gd name="T25" fmla="*/ 3 h 416"/>
                  <a:gd name="T26" fmla="*/ 1057 w 1263"/>
                  <a:gd name="T27" fmla="*/ 72 h 416"/>
                  <a:gd name="T28" fmla="*/ 1213 w 1263"/>
                  <a:gd name="T29" fmla="*/ 162 h 416"/>
                  <a:gd name="T30" fmla="*/ 1263 w 1263"/>
                  <a:gd name="T31" fmla="*/ 237 h 416"/>
                  <a:gd name="T32" fmla="*/ 1263 w 1263"/>
                  <a:gd name="T33" fmla="*/ 314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63" h="416">
                    <a:moveTo>
                      <a:pt x="1263" y="314"/>
                    </a:moveTo>
                    <a:cubicBezTo>
                      <a:pt x="1221" y="355"/>
                      <a:pt x="1168" y="375"/>
                      <a:pt x="1114" y="395"/>
                    </a:cubicBezTo>
                    <a:cubicBezTo>
                      <a:pt x="1095" y="402"/>
                      <a:pt x="1075" y="407"/>
                      <a:pt x="1056" y="413"/>
                    </a:cubicBezTo>
                    <a:cubicBezTo>
                      <a:pt x="1046" y="416"/>
                      <a:pt x="1041" y="413"/>
                      <a:pt x="1042" y="403"/>
                    </a:cubicBezTo>
                    <a:cubicBezTo>
                      <a:pt x="1048" y="323"/>
                      <a:pt x="1001" y="274"/>
                      <a:pt x="943" y="233"/>
                    </a:cubicBezTo>
                    <a:cubicBezTo>
                      <a:pt x="868" y="181"/>
                      <a:pt x="783" y="153"/>
                      <a:pt x="696" y="132"/>
                    </a:cubicBezTo>
                    <a:cubicBezTo>
                      <a:pt x="619" y="114"/>
                      <a:pt x="541" y="105"/>
                      <a:pt x="462" y="99"/>
                    </a:cubicBezTo>
                    <a:cubicBezTo>
                      <a:pt x="389" y="94"/>
                      <a:pt x="316" y="95"/>
                      <a:pt x="243" y="97"/>
                    </a:cubicBezTo>
                    <a:cubicBezTo>
                      <a:pt x="166" y="100"/>
                      <a:pt x="90" y="109"/>
                      <a:pt x="15" y="124"/>
                    </a:cubicBezTo>
                    <a:cubicBezTo>
                      <a:pt x="11" y="124"/>
                      <a:pt x="7" y="126"/>
                      <a:pt x="0" y="122"/>
                    </a:cubicBezTo>
                    <a:cubicBezTo>
                      <a:pt x="17" y="113"/>
                      <a:pt x="31" y="104"/>
                      <a:pt x="47" y="96"/>
                    </a:cubicBezTo>
                    <a:cubicBezTo>
                      <a:pt x="144" y="51"/>
                      <a:pt x="248" y="29"/>
                      <a:pt x="354" y="15"/>
                    </a:cubicBezTo>
                    <a:cubicBezTo>
                      <a:pt x="452" y="2"/>
                      <a:pt x="550" y="0"/>
                      <a:pt x="648" y="3"/>
                    </a:cubicBezTo>
                    <a:cubicBezTo>
                      <a:pt x="787" y="7"/>
                      <a:pt x="925" y="23"/>
                      <a:pt x="1057" y="72"/>
                    </a:cubicBezTo>
                    <a:cubicBezTo>
                      <a:pt x="1114" y="93"/>
                      <a:pt x="1168" y="120"/>
                      <a:pt x="1213" y="162"/>
                    </a:cubicBezTo>
                    <a:cubicBezTo>
                      <a:pt x="1236" y="183"/>
                      <a:pt x="1251" y="209"/>
                      <a:pt x="1263" y="237"/>
                    </a:cubicBezTo>
                    <a:cubicBezTo>
                      <a:pt x="1263" y="262"/>
                      <a:pt x="1263" y="288"/>
                      <a:pt x="1263" y="3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Freeform 18"/>
              <p:cNvSpPr>
                <a:spLocks/>
              </p:cNvSpPr>
              <p:nvPr/>
            </p:nvSpPr>
            <p:spPr bwMode="auto">
              <a:xfrm>
                <a:off x="5034" y="2192"/>
                <a:ext cx="29" cy="48"/>
              </a:xfrm>
              <a:custGeom>
                <a:avLst/>
                <a:gdLst>
                  <a:gd name="T0" fmla="*/ 221 w 221"/>
                  <a:gd name="T1" fmla="*/ 259 h 360"/>
                  <a:gd name="T2" fmla="*/ 52 w 221"/>
                  <a:gd name="T3" fmla="*/ 345 h 360"/>
                  <a:gd name="T4" fmla="*/ 13 w 221"/>
                  <a:gd name="T5" fmla="*/ 357 h 360"/>
                  <a:gd name="T6" fmla="*/ 0 w 221"/>
                  <a:gd name="T7" fmla="*/ 347 h 360"/>
                  <a:gd name="T8" fmla="*/ 0 w 221"/>
                  <a:gd name="T9" fmla="*/ 338 h 360"/>
                  <a:gd name="T10" fmla="*/ 0 w 221"/>
                  <a:gd name="T11" fmla="*/ 106 h 360"/>
                  <a:gd name="T12" fmla="*/ 19 w 221"/>
                  <a:gd name="T13" fmla="*/ 80 h 360"/>
                  <a:gd name="T14" fmla="*/ 215 w 221"/>
                  <a:gd name="T15" fmla="*/ 1 h 360"/>
                  <a:gd name="T16" fmla="*/ 221 w 221"/>
                  <a:gd name="T17" fmla="*/ 0 h 360"/>
                  <a:gd name="T18" fmla="*/ 221 w 221"/>
                  <a:gd name="T19" fmla="*/ 259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1" h="360">
                    <a:moveTo>
                      <a:pt x="221" y="259"/>
                    </a:moveTo>
                    <a:cubicBezTo>
                      <a:pt x="172" y="302"/>
                      <a:pt x="113" y="326"/>
                      <a:pt x="52" y="345"/>
                    </a:cubicBezTo>
                    <a:cubicBezTo>
                      <a:pt x="39" y="349"/>
                      <a:pt x="26" y="353"/>
                      <a:pt x="13" y="357"/>
                    </a:cubicBezTo>
                    <a:cubicBezTo>
                      <a:pt x="4" y="360"/>
                      <a:pt x="0" y="356"/>
                      <a:pt x="0" y="347"/>
                    </a:cubicBezTo>
                    <a:cubicBezTo>
                      <a:pt x="0" y="344"/>
                      <a:pt x="0" y="341"/>
                      <a:pt x="0" y="338"/>
                    </a:cubicBezTo>
                    <a:cubicBezTo>
                      <a:pt x="0" y="260"/>
                      <a:pt x="0" y="183"/>
                      <a:pt x="0" y="106"/>
                    </a:cubicBezTo>
                    <a:cubicBezTo>
                      <a:pt x="0" y="91"/>
                      <a:pt x="4" y="84"/>
                      <a:pt x="19" y="80"/>
                    </a:cubicBezTo>
                    <a:cubicBezTo>
                      <a:pt x="87" y="62"/>
                      <a:pt x="154" y="39"/>
                      <a:pt x="215" y="1"/>
                    </a:cubicBezTo>
                    <a:cubicBezTo>
                      <a:pt x="217" y="0"/>
                      <a:pt x="219" y="0"/>
                      <a:pt x="221" y="0"/>
                    </a:cubicBezTo>
                    <a:cubicBezTo>
                      <a:pt x="221" y="86"/>
                      <a:pt x="221" y="172"/>
                      <a:pt x="221" y="2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Freeform 19"/>
              <p:cNvSpPr>
                <a:spLocks/>
              </p:cNvSpPr>
              <p:nvPr/>
            </p:nvSpPr>
            <p:spPr bwMode="auto">
              <a:xfrm>
                <a:off x="5034" y="2235"/>
                <a:ext cx="29" cy="49"/>
              </a:xfrm>
              <a:custGeom>
                <a:avLst/>
                <a:gdLst>
                  <a:gd name="T0" fmla="*/ 221 w 221"/>
                  <a:gd name="T1" fmla="*/ 262 h 362"/>
                  <a:gd name="T2" fmla="*/ 19 w 221"/>
                  <a:gd name="T3" fmla="*/ 357 h 362"/>
                  <a:gd name="T4" fmla="*/ 0 w 221"/>
                  <a:gd name="T5" fmla="*/ 344 h 362"/>
                  <a:gd name="T6" fmla="*/ 0 w 221"/>
                  <a:gd name="T7" fmla="*/ 111 h 362"/>
                  <a:gd name="T8" fmla="*/ 17 w 221"/>
                  <a:gd name="T9" fmla="*/ 87 h 362"/>
                  <a:gd name="T10" fmla="*/ 179 w 221"/>
                  <a:gd name="T11" fmla="*/ 23 h 362"/>
                  <a:gd name="T12" fmla="*/ 221 w 221"/>
                  <a:gd name="T13" fmla="*/ 0 h 362"/>
                  <a:gd name="T14" fmla="*/ 221 w 221"/>
                  <a:gd name="T15" fmla="*/ 2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1" h="362">
                    <a:moveTo>
                      <a:pt x="221" y="262"/>
                    </a:moveTo>
                    <a:cubicBezTo>
                      <a:pt x="162" y="311"/>
                      <a:pt x="91" y="336"/>
                      <a:pt x="19" y="357"/>
                    </a:cubicBezTo>
                    <a:cubicBezTo>
                      <a:pt x="2" y="362"/>
                      <a:pt x="0" y="361"/>
                      <a:pt x="0" y="344"/>
                    </a:cubicBezTo>
                    <a:cubicBezTo>
                      <a:pt x="0" y="266"/>
                      <a:pt x="0" y="188"/>
                      <a:pt x="0" y="111"/>
                    </a:cubicBezTo>
                    <a:cubicBezTo>
                      <a:pt x="0" y="97"/>
                      <a:pt x="5" y="91"/>
                      <a:pt x="17" y="87"/>
                    </a:cubicBezTo>
                    <a:cubicBezTo>
                      <a:pt x="72" y="68"/>
                      <a:pt x="128" y="51"/>
                      <a:pt x="179" y="23"/>
                    </a:cubicBezTo>
                    <a:cubicBezTo>
                      <a:pt x="193" y="16"/>
                      <a:pt x="207" y="8"/>
                      <a:pt x="221" y="0"/>
                    </a:cubicBezTo>
                    <a:cubicBezTo>
                      <a:pt x="221" y="87"/>
                      <a:pt x="221" y="175"/>
                      <a:pt x="221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Freeform 20"/>
              <p:cNvSpPr>
                <a:spLocks/>
              </p:cNvSpPr>
              <p:nvPr/>
            </p:nvSpPr>
            <p:spPr bwMode="auto">
              <a:xfrm>
                <a:off x="5034" y="2279"/>
                <a:ext cx="29" cy="54"/>
              </a:xfrm>
              <a:custGeom>
                <a:avLst/>
                <a:gdLst>
                  <a:gd name="T0" fmla="*/ 216 w 216"/>
                  <a:gd name="T1" fmla="*/ 237 h 402"/>
                  <a:gd name="T2" fmla="*/ 39 w 216"/>
                  <a:gd name="T3" fmla="*/ 388 h 402"/>
                  <a:gd name="T4" fmla="*/ 10 w 216"/>
                  <a:gd name="T5" fmla="*/ 400 h 402"/>
                  <a:gd name="T6" fmla="*/ 4 w 216"/>
                  <a:gd name="T7" fmla="*/ 393 h 402"/>
                  <a:gd name="T8" fmla="*/ 23 w 216"/>
                  <a:gd name="T9" fmla="*/ 269 h 402"/>
                  <a:gd name="T10" fmla="*/ 23 w 216"/>
                  <a:gd name="T11" fmla="*/ 106 h 402"/>
                  <a:gd name="T12" fmla="*/ 33 w 216"/>
                  <a:gd name="T13" fmla="*/ 84 h 402"/>
                  <a:gd name="T14" fmla="*/ 211 w 216"/>
                  <a:gd name="T15" fmla="*/ 1 h 402"/>
                  <a:gd name="T16" fmla="*/ 216 w 216"/>
                  <a:gd name="T17" fmla="*/ 0 h 402"/>
                  <a:gd name="T18" fmla="*/ 216 w 216"/>
                  <a:gd name="T19" fmla="*/ 237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6" h="402">
                    <a:moveTo>
                      <a:pt x="216" y="237"/>
                    </a:moveTo>
                    <a:cubicBezTo>
                      <a:pt x="185" y="320"/>
                      <a:pt x="113" y="355"/>
                      <a:pt x="39" y="388"/>
                    </a:cubicBezTo>
                    <a:cubicBezTo>
                      <a:pt x="30" y="393"/>
                      <a:pt x="20" y="396"/>
                      <a:pt x="10" y="400"/>
                    </a:cubicBezTo>
                    <a:cubicBezTo>
                      <a:pt x="3" y="402"/>
                      <a:pt x="0" y="399"/>
                      <a:pt x="4" y="393"/>
                    </a:cubicBezTo>
                    <a:cubicBezTo>
                      <a:pt x="28" y="354"/>
                      <a:pt x="23" y="311"/>
                      <a:pt x="23" y="269"/>
                    </a:cubicBezTo>
                    <a:cubicBezTo>
                      <a:pt x="23" y="214"/>
                      <a:pt x="23" y="160"/>
                      <a:pt x="23" y="106"/>
                    </a:cubicBezTo>
                    <a:cubicBezTo>
                      <a:pt x="23" y="97"/>
                      <a:pt x="23" y="89"/>
                      <a:pt x="33" y="84"/>
                    </a:cubicBezTo>
                    <a:cubicBezTo>
                      <a:pt x="93" y="57"/>
                      <a:pt x="152" y="29"/>
                      <a:pt x="211" y="1"/>
                    </a:cubicBezTo>
                    <a:cubicBezTo>
                      <a:pt x="213" y="0"/>
                      <a:pt x="214" y="0"/>
                      <a:pt x="216" y="0"/>
                    </a:cubicBezTo>
                    <a:cubicBezTo>
                      <a:pt x="216" y="79"/>
                      <a:pt x="216" y="158"/>
                      <a:pt x="216" y="2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Freeform 21"/>
              <p:cNvSpPr>
                <a:spLocks/>
              </p:cNvSpPr>
              <p:nvPr/>
            </p:nvSpPr>
            <p:spPr bwMode="auto">
              <a:xfrm>
                <a:off x="4843" y="2161"/>
                <a:ext cx="184" cy="63"/>
              </a:xfrm>
              <a:custGeom>
                <a:avLst/>
                <a:gdLst>
                  <a:gd name="T0" fmla="*/ 689 w 1377"/>
                  <a:gd name="T1" fmla="*/ 0 h 468"/>
                  <a:gd name="T2" fmla="*/ 1073 w 1377"/>
                  <a:gd name="T3" fmla="*/ 42 h 468"/>
                  <a:gd name="T4" fmla="*/ 1298 w 1377"/>
                  <a:gd name="T5" fmla="*/ 141 h 468"/>
                  <a:gd name="T6" fmla="*/ 1369 w 1377"/>
                  <a:gd name="T7" fmla="*/ 235 h 468"/>
                  <a:gd name="T8" fmla="*/ 1372 w 1377"/>
                  <a:gd name="T9" fmla="*/ 308 h 468"/>
                  <a:gd name="T10" fmla="*/ 1350 w 1377"/>
                  <a:gd name="T11" fmla="*/ 330 h 468"/>
                  <a:gd name="T12" fmla="*/ 1252 w 1377"/>
                  <a:gd name="T13" fmla="*/ 383 h 468"/>
                  <a:gd name="T14" fmla="*/ 965 w 1377"/>
                  <a:gd name="T15" fmla="*/ 450 h 468"/>
                  <a:gd name="T16" fmla="*/ 703 w 1377"/>
                  <a:gd name="T17" fmla="*/ 468 h 468"/>
                  <a:gd name="T18" fmla="*/ 472 w 1377"/>
                  <a:gd name="T19" fmla="*/ 457 h 468"/>
                  <a:gd name="T20" fmla="*/ 204 w 1377"/>
                  <a:gd name="T21" fmla="*/ 409 h 468"/>
                  <a:gd name="T22" fmla="*/ 30 w 1377"/>
                  <a:gd name="T23" fmla="*/ 333 h 468"/>
                  <a:gd name="T24" fmla="*/ 4 w 1377"/>
                  <a:gd name="T25" fmla="*/ 284 h 468"/>
                  <a:gd name="T26" fmla="*/ 75 w 1377"/>
                  <a:gd name="T27" fmla="*/ 143 h 468"/>
                  <a:gd name="T28" fmla="*/ 304 w 1377"/>
                  <a:gd name="T29" fmla="*/ 42 h 468"/>
                  <a:gd name="T30" fmla="*/ 584 w 1377"/>
                  <a:gd name="T31" fmla="*/ 3 h 468"/>
                  <a:gd name="T32" fmla="*/ 689 w 1377"/>
                  <a:gd name="T33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7" h="468">
                    <a:moveTo>
                      <a:pt x="689" y="0"/>
                    </a:moveTo>
                    <a:cubicBezTo>
                      <a:pt x="819" y="0"/>
                      <a:pt x="947" y="10"/>
                      <a:pt x="1073" y="42"/>
                    </a:cubicBezTo>
                    <a:cubicBezTo>
                      <a:pt x="1153" y="62"/>
                      <a:pt x="1231" y="90"/>
                      <a:pt x="1298" y="141"/>
                    </a:cubicBezTo>
                    <a:cubicBezTo>
                      <a:pt x="1331" y="165"/>
                      <a:pt x="1357" y="195"/>
                      <a:pt x="1369" y="235"/>
                    </a:cubicBezTo>
                    <a:cubicBezTo>
                      <a:pt x="1377" y="259"/>
                      <a:pt x="1373" y="283"/>
                      <a:pt x="1372" y="308"/>
                    </a:cubicBezTo>
                    <a:cubicBezTo>
                      <a:pt x="1371" y="318"/>
                      <a:pt x="1359" y="324"/>
                      <a:pt x="1350" y="330"/>
                    </a:cubicBezTo>
                    <a:cubicBezTo>
                      <a:pt x="1320" y="353"/>
                      <a:pt x="1287" y="369"/>
                      <a:pt x="1252" y="383"/>
                    </a:cubicBezTo>
                    <a:cubicBezTo>
                      <a:pt x="1159" y="418"/>
                      <a:pt x="1063" y="437"/>
                      <a:pt x="965" y="450"/>
                    </a:cubicBezTo>
                    <a:cubicBezTo>
                      <a:pt x="878" y="462"/>
                      <a:pt x="791" y="467"/>
                      <a:pt x="703" y="468"/>
                    </a:cubicBezTo>
                    <a:cubicBezTo>
                      <a:pt x="626" y="468"/>
                      <a:pt x="549" y="465"/>
                      <a:pt x="472" y="457"/>
                    </a:cubicBezTo>
                    <a:cubicBezTo>
                      <a:pt x="381" y="448"/>
                      <a:pt x="292" y="434"/>
                      <a:pt x="204" y="409"/>
                    </a:cubicBezTo>
                    <a:cubicBezTo>
                      <a:pt x="143" y="391"/>
                      <a:pt x="83" y="370"/>
                      <a:pt x="30" y="333"/>
                    </a:cubicBezTo>
                    <a:cubicBezTo>
                      <a:pt x="12" y="321"/>
                      <a:pt x="5" y="307"/>
                      <a:pt x="4" y="284"/>
                    </a:cubicBezTo>
                    <a:cubicBezTo>
                      <a:pt x="0" y="222"/>
                      <a:pt x="30" y="179"/>
                      <a:pt x="75" y="143"/>
                    </a:cubicBezTo>
                    <a:cubicBezTo>
                      <a:pt x="143" y="90"/>
                      <a:pt x="222" y="63"/>
                      <a:pt x="304" y="42"/>
                    </a:cubicBezTo>
                    <a:cubicBezTo>
                      <a:pt x="396" y="19"/>
                      <a:pt x="489" y="7"/>
                      <a:pt x="584" y="3"/>
                    </a:cubicBezTo>
                    <a:cubicBezTo>
                      <a:pt x="619" y="1"/>
                      <a:pt x="654" y="1"/>
                      <a:pt x="68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Freeform 22"/>
              <p:cNvSpPr>
                <a:spLocks/>
              </p:cNvSpPr>
              <p:nvPr/>
            </p:nvSpPr>
            <p:spPr bwMode="auto">
              <a:xfrm>
                <a:off x="4843" y="2211"/>
                <a:ext cx="184" cy="56"/>
              </a:xfrm>
              <a:custGeom>
                <a:avLst/>
                <a:gdLst>
                  <a:gd name="T0" fmla="*/ 1 w 1370"/>
                  <a:gd name="T1" fmla="*/ 131 h 418"/>
                  <a:gd name="T2" fmla="*/ 1 w 1370"/>
                  <a:gd name="T3" fmla="*/ 15 h 418"/>
                  <a:gd name="T4" fmla="*/ 14 w 1370"/>
                  <a:gd name="T5" fmla="*/ 7 h 418"/>
                  <a:gd name="T6" fmla="*/ 261 w 1370"/>
                  <a:gd name="T7" fmla="*/ 96 h 418"/>
                  <a:gd name="T8" fmla="*/ 523 w 1370"/>
                  <a:gd name="T9" fmla="*/ 133 h 418"/>
                  <a:gd name="T10" fmla="*/ 761 w 1370"/>
                  <a:gd name="T11" fmla="*/ 138 h 418"/>
                  <a:gd name="T12" fmla="*/ 1236 w 1370"/>
                  <a:gd name="T13" fmla="*/ 62 h 418"/>
                  <a:gd name="T14" fmla="*/ 1354 w 1370"/>
                  <a:gd name="T15" fmla="*/ 8 h 418"/>
                  <a:gd name="T16" fmla="*/ 1370 w 1370"/>
                  <a:gd name="T17" fmla="*/ 17 h 418"/>
                  <a:gd name="T18" fmla="*/ 1370 w 1370"/>
                  <a:gd name="T19" fmla="*/ 245 h 418"/>
                  <a:gd name="T20" fmla="*/ 1357 w 1370"/>
                  <a:gd name="T21" fmla="*/ 270 h 418"/>
                  <a:gd name="T22" fmla="*/ 1220 w 1370"/>
                  <a:gd name="T23" fmla="*/ 341 h 418"/>
                  <a:gd name="T24" fmla="*/ 890 w 1370"/>
                  <a:gd name="T25" fmla="*/ 406 h 418"/>
                  <a:gd name="T26" fmla="*/ 610 w 1370"/>
                  <a:gd name="T27" fmla="*/ 415 h 418"/>
                  <a:gd name="T28" fmla="*/ 160 w 1370"/>
                  <a:gd name="T29" fmla="*/ 344 h 418"/>
                  <a:gd name="T30" fmla="*/ 21 w 1370"/>
                  <a:gd name="T31" fmla="*/ 277 h 418"/>
                  <a:gd name="T32" fmla="*/ 1 w 1370"/>
                  <a:gd name="T33" fmla="*/ 237 h 418"/>
                  <a:gd name="T34" fmla="*/ 1 w 1370"/>
                  <a:gd name="T35" fmla="*/ 131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70" h="418">
                    <a:moveTo>
                      <a:pt x="1" y="131"/>
                    </a:moveTo>
                    <a:cubicBezTo>
                      <a:pt x="2" y="92"/>
                      <a:pt x="2" y="54"/>
                      <a:pt x="1" y="15"/>
                    </a:cubicBezTo>
                    <a:cubicBezTo>
                      <a:pt x="1" y="5"/>
                      <a:pt x="4" y="0"/>
                      <a:pt x="14" y="7"/>
                    </a:cubicBezTo>
                    <a:cubicBezTo>
                      <a:pt x="90" y="54"/>
                      <a:pt x="175" y="78"/>
                      <a:pt x="261" y="96"/>
                    </a:cubicBezTo>
                    <a:cubicBezTo>
                      <a:pt x="347" y="115"/>
                      <a:pt x="435" y="126"/>
                      <a:pt x="523" y="133"/>
                    </a:cubicBezTo>
                    <a:cubicBezTo>
                      <a:pt x="603" y="139"/>
                      <a:pt x="682" y="141"/>
                      <a:pt x="761" y="138"/>
                    </a:cubicBezTo>
                    <a:cubicBezTo>
                      <a:pt x="923" y="131"/>
                      <a:pt x="1082" y="113"/>
                      <a:pt x="1236" y="62"/>
                    </a:cubicBezTo>
                    <a:cubicBezTo>
                      <a:pt x="1277" y="48"/>
                      <a:pt x="1317" y="31"/>
                      <a:pt x="1354" y="8"/>
                    </a:cubicBezTo>
                    <a:cubicBezTo>
                      <a:pt x="1367" y="0"/>
                      <a:pt x="1370" y="1"/>
                      <a:pt x="1370" y="17"/>
                    </a:cubicBezTo>
                    <a:cubicBezTo>
                      <a:pt x="1370" y="93"/>
                      <a:pt x="1370" y="169"/>
                      <a:pt x="1370" y="245"/>
                    </a:cubicBezTo>
                    <a:cubicBezTo>
                      <a:pt x="1370" y="256"/>
                      <a:pt x="1366" y="264"/>
                      <a:pt x="1357" y="270"/>
                    </a:cubicBezTo>
                    <a:cubicBezTo>
                      <a:pt x="1316" y="304"/>
                      <a:pt x="1269" y="324"/>
                      <a:pt x="1220" y="341"/>
                    </a:cubicBezTo>
                    <a:cubicBezTo>
                      <a:pt x="1113" y="377"/>
                      <a:pt x="1002" y="396"/>
                      <a:pt x="890" y="406"/>
                    </a:cubicBezTo>
                    <a:cubicBezTo>
                      <a:pt x="797" y="415"/>
                      <a:pt x="704" y="418"/>
                      <a:pt x="610" y="415"/>
                    </a:cubicBezTo>
                    <a:cubicBezTo>
                      <a:pt x="458" y="409"/>
                      <a:pt x="307" y="392"/>
                      <a:pt x="160" y="344"/>
                    </a:cubicBezTo>
                    <a:cubicBezTo>
                      <a:pt x="111" y="328"/>
                      <a:pt x="64" y="308"/>
                      <a:pt x="21" y="277"/>
                    </a:cubicBezTo>
                    <a:cubicBezTo>
                      <a:pt x="7" y="267"/>
                      <a:pt x="0" y="255"/>
                      <a:pt x="1" y="237"/>
                    </a:cubicBezTo>
                    <a:cubicBezTo>
                      <a:pt x="3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23"/>
              <p:cNvSpPr>
                <a:spLocks/>
              </p:cNvSpPr>
              <p:nvPr/>
            </p:nvSpPr>
            <p:spPr bwMode="auto">
              <a:xfrm>
                <a:off x="4843" y="2255"/>
                <a:ext cx="184" cy="56"/>
              </a:xfrm>
              <a:custGeom>
                <a:avLst/>
                <a:gdLst>
                  <a:gd name="T0" fmla="*/ 1 w 1370"/>
                  <a:gd name="T1" fmla="*/ 131 h 419"/>
                  <a:gd name="T2" fmla="*/ 1 w 1370"/>
                  <a:gd name="T3" fmla="*/ 14 h 419"/>
                  <a:gd name="T4" fmla="*/ 14 w 1370"/>
                  <a:gd name="T5" fmla="*/ 7 h 419"/>
                  <a:gd name="T6" fmla="*/ 307 w 1370"/>
                  <a:gd name="T7" fmla="*/ 107 h 419"/>
                  <a:gd name="T8" fmla="*/ 615 w 1370"/>
                  <a:gd name="T9" fmla="*/ 138 h 419"/>
                  <a:gd name="T10" fmla="*/ 1137 w 1370"/>
                  <a:gd name="T11" fmla="*/ 91 h 419"/>
                  <a:gd name="T12" fmla="*/ 1357 w 1370"/>
                  <a:gd name="T13" fmla="*/ 6 h 419"/>
                  <a:gd name="T14" fmla="*/ 1370 w 1370"/>
                  <a:gd name="T15" fmla="*/ 14 h 419"/>
                  <a:gd name="T16" fmla="*/ 1370 w 1370"/>
                  <a:gd name="T17" fmla="*/ 248 h 419"/>
                  <a:gd name="T18" fmla="*/ 1355 w 1370"/>
                  <a:gd name="T19" fmla="*/ 272 h 419"/>
                  <a:gd name="T20" fmla="*/ 1238 w 1370"/>
                  <a:gd name="T21" fmla="*/ 334 h 419"/>
                  <a:gd name="T22" fmla="*/ 943 w 1370"/>
                  <a:gd name="T23" fmla="*/ 401 h 419"/>
                  <a:gd name="T24" fmla="*/ 637 w 1370"/>
                  <a:gd name="T25" fmla="*/ 416 h 419"/>
                  <a:gd name="T26" fmla="*/ 167 w 1370"/>
                  <a:gd name="T27" fmla="*/ 347 h 419"/>
                  <a:gd name="T28" fmla="*/ 21 w 1370"/>
                  <a:gd name="T29" fmla="*/ 277 h 419"/>
                  <a:gd name="T30" fmla="*/ 1 w 1370"/>
                  <a:gd name="T31" fmla="*/ 238 h 419"/>
                  <a:gd name="T32" fmla="*/ 1 w 1370"/>
                  <a:gd name="T33" fmla="*/ 131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0" h="419">
                    <a:moveTo>
                      <a:pt x="1" y="131"/>
                    </a:moveTo>
                    <a:cubicBezTo>
                      <a:pt x="1" y="92"/>
                      <a:pt x="2" y="53"/>
                      <a:pt x="1" y="14"/>
                    </a:cubicBezTo>
                    <a:cubicBezTo>
                      <a:pt x="1" y="3"/>
                      <a:pt x="4" y="1"/>
                      <a:pt x="14" y="7"/>
                    </a:cubicBezTo>
                    <a:cubicBezTo>
                      <a:pt x="104" y="62"/>
                      <a:pt x="205" y="88"/>
                      <a:pt x="307" y="107"/>
                    </a:cubicBezTo>
                    <a:cubicBezTo>
                      <a:pt x="409" y="127"/>
                      <a:pt x="512" y="135"/>
                      <a:pt x="615" y="138"/>
                    </a:cubicBezTo>
                    <a:cubicBezTo>
                      <a:pt x="791" y="143"/>
                      <a:pt x="966" y="133"/>
                      <a:pt x="1137" y="91"/>
                    </a:cubicBezTo>
                    <a:cubicBezTo>
                      <a:pt x="1214" y="73"/>
                      <a:pt x="1289" y="49"/>
                      <a:pt x="1357" y="6"/>
                    </a:cubicBezTo>
                    <a:cubicBezTo>
                      <a:pt x="1367" y="0"/>
                      <a:pt x="1370" y="4"/>
                      <a:pt x="1370" y="14"/>
                    </a:cubicBezTo>
                    <a:cubicBezTo>
                      <a:pt x="1370" y="92"/>
                      <a:pt x="1370" y="170"/>
                      <a:pt x="1370" y="248"/>
                    </a:cubicBezTo>
                    <a:cubicBezTo>
                      <a:pt x="1370" y="260"/>
                      <a:pt x="1363" y="266"/>
                      <a:pt x="1355" y="272"/>
                    </a:cubicBezTo>
                    <a:cubicBezTo>
                      <a:pt x="1320" y="301"/>
                      <a:pt x="1280" y="319"/>
                      <a:pt x="1238" y="334"/>
                    </a:cubicBezTo>
                    <a:cubicBezTo>
                      <a:pt x="1143" y="370"/>
                      <a:pt x="1044" y="389"/>
                      <a:pt x="943" y="401"/>
                    </a:cubicBezTo>
                    <a:cubicBezTo>
                      <a:pt x="841" y="413"/>
                      <a:pt x="739" y="419"/>
                      <a:pt x="637" y="416"/>
                    </a:cubicBezTo>
                    <a:cubicBezTo>
                      <a:pt x="477" y="411"/>
                      <a:pt x="320" y="395"/>
                      <a:pt x="167" y="347"/>
                    </a:cubicBezTo>
                    <a:cubicBezTo>
                      <a:pt x="115" y="330"/>
                      <a:pt x="65" y="310"/>
                      <a:pt x="21" y="277"/>
                    </a:cubicBezTo>
                    <a:cubicBezTo>
                      <a:pt x="7" y="267"/>
                      <a:pt x="0" y="256"/>
                      <a:pt x="1" y="238"/>
                    </a:cubicBezTo>
                    <a:cubicBezTo>
                      <a:pt x="2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45" name="Рисунок 44"/>
            <p:cNvPicPr>
              <a:picLocks noChangeAspect="1"/>
            </p:cNvPicPr>
            <p:nvPr userDrawn="1"/>
          </p:nvPicPr>
          <p:blipFill>
            <a:blip r:embed="rId6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964" y="255927"/>
              <a:ext cx="132047" cy="120941"/>
            </a:xfrm>
            <a:prstGeom prst="rect">
              <a:avLst/>
            </a:prstGeom>
          </p:spPr>
        </p:pic>
        <p:sp>
          <p:nvSpPr>
            <p:cNvPr id="46" name="Freeform 413"/>
            <p:cNvSpPr>
              <a:spLocks noEditPoints="1"/>
            </p:cNvSpPr>
            <p:nvPr userDrawn="1"/>
          </p:nvSpPr>
          <p:spPr bwMode="auto">
            <a:xfrm>
              <a:off x="467432" y="411832"/>
              <a:ext cx="136834" cy="109909"/>
            </a:xfrm>
            <a:custGeom>
              <a:avLst/>
              <a:gdLst/>
              <a:ahLst/>
              <a:cxnLst>
                <a:cxn ang="0">
                  <a:pos x="235" y="365"/>
                </a:cxn>
                <a:cxn ang="0">
                  <a:pos x="246" y="344"/>
                </a:cxn>
                <a:cxn ang="0">
                  <a:pos x="226" y="329"/>
                </a:cxn>
                <a:cxn ang="0">
                  <a:pos x="217" y="320"/>
                </a:cxn>
                <a:cxn ang="0">
                  <a:pos x="206" y="328"/>
                </a:cxn>
                <a:cxn ang="0">
                  <a:pos x="142" y="348"/>
                </a:cxn>
                <a:cxn ang="0">
                  <a:pos x="31" y="237"/>
                </a:cxn>
                <a:cxn ang="0">
                  <a:pos x="106" y="133"/>
                </a:cxn>
                <a:cxn ang="0">
                  <a:pos x="106" y="132"/>
                </a:cxn>
                <a:cxn ang="0">
                  <a:pos x="144" y="127"/>
                </a:cxn>
                <a:cxn ang="0">
                  <a:pos x="201" y="141"/>
                </a:cxn>
                <a:cxn ang="0">
                  <a:pos x="132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6" y="104"/>
                </a:cxn>
                <a:cxn ang="0">
                  <a:pos x="49" y="130"/>
                </a:cxn>
                <a:cxn ang="0">
                  <a:pos x="49" y="129"/>
                </a:cxn>
                <a:cxn ang="0">
                  <a:pos x="0" y="237"/>
                </a:cxn>
                <a:cxn ang="0">
                  <a:pos x="142" y="380"/>
                </a:cxn>
                <a:cxn ang="0">
                  <a:pos x="214" y="360"/>
                </a:cxn>
                <a:cxn ang="0">
                  <a:pos x="231" y="371"/>
                </a:cxn>
                <a:cxn ang="0">
                  <a:pos x="235" y="365"/>
                </a:cxn>
                <a:cxn ang="0">
                  <a:pos x="453" y="183"/>
                </a:cxn>
                <a:cxn ang="0">
                  <a:pos x="454" y="175"/>
                </a:cxn>
                <a:cxn ang="0">
                  <a:pos x="348" y="70"/>
                </a:cxn>
                <a:cxn ang="0">
                  <a:pos x="327" y="72"/>
                </a:cxn>
                <a:cxn ang="0">
                  <a:pos x="212" y="0"/>
                </a:cxn>
                <a:cxn ang="0">
                  <a:pos x="90" y="89"/>
                </a:cxn>
                <a:cxn ang="0">
                  <a:pos x="125" y="86"/>
                </a:cxn>
                <a:cxn ang="0">
                  <a:pos x="212" y="32"/>
                </a:cxn>
                <a:cxn ang="0">
                  <a:pos x="302" y="96"/>
                </a:cxn>
                <a:cxn ang="0">
                  <a:pos x="308" y="112"/>
                </a:cxn>
                <a:cxn ang="0">
                  <a:pos x="323" y="106"/>
                </a:cxn>
                <a:cxn ang="0">
                  <a:pos x="348" y="101"/>
                </a:cxn>
                <a:cxn ang="0">
                  <a:pos x="422" y="175"/>
                </a:cxn>
                <a:cxn ang="0">
                  <a:pos x="420" y="192"/>
                </a:cxn>
                <a:cxn ang="0">
                  <a:pos x="416" y="209"/>
                </a:cxn>
                <a:cxn ang="0">
                  <a:pos x="434" y="211"/>
                </a:cxn>
                <a:cxn ang="0">
                  <a:pos x="492" y="275"/>
                </a:cxn>
                <a:cxn ang="0">
                  <a:pos x="428" y="338"/>
                </a:cxn>
                <a:cxn ang="0">
                  <a:pos x="394" y="329"/>
                </a:cxn>
                <a:cxn ang="0">
                  <a:pos x="384" y="322"/>
                </a:cxn>
                <a:cxn ang="0">
                  <a:pos x="375" y="330"/>
                </a:cxn>
                <a:cxn ang="0">
                  <a:pos x="358" y="343"/>
                </a:cxn>
                <a:cxn ang="0">
                  <a:pos x="352" y="359"/>
                </a:cxn>
                <a:cxn ang="0">
                  <a:pos x="342" y="384"/>
                </a:cxn>
                <a:cxn ang="0">
                  <a:pos x="387" y="361"/>
                </a:cxn>
                <a:cxn ang="0">
                  <a:pos x="428" y="370"/>
                </a:cxn>
                <a:cxn ang="0">
                  <a:pos x="523" y="275"/>
                </a:cxn>
                <a:cxn ang="0">
                  <a:pos x="453" y="183"/>
                </a:cxn>
                <a:cxn ang="0">
                  <a:pos x="383" y="292"/>
                </a:cxn>
                <a:cxn ang="0">
                  <a:pos x="313" y="171"/>
                </a:cxn>
                <a:cxn ang="0">
                  <a:pos x="244" y="292"/>
                </a:cxn>
                <a:cxn ang="0">
                  <a:pos x="282" y="292"/>
                </a:cxn>
                <a:cxn ang="0">
                  <a:pos x="220" y="420"/>
                </a:cxn>
                <a:cxn ang="0">
                  <a:pos x="297" y="420"/>
                </a:cxn>
                <a:cxn ang="0">
                  <a:pos x="343" y="292"/>
                </a:cxn>
                <a:cxn ang="0">
                  <a:pos x="383" y="292"/>
                </a:cxn>
              </a:cxnLst>
              <a:rect l="0" t="0" r="r" b="b"/>
              <a:pathLst>
                <a:path w="523" h="420">
                  <a:moveTo>
                    <a:pt x="235" y="365"/>
                  </a:moveTo>
                  <a:cubicBezTo>
                    <a:pt x="239" y="358"/>
                    <a:pt x="243" y="351"/>
                    <a:pt x="246" y="344"/>
                  </a:cubicBezTo>
                  <a:cubicBezTo>
                    <a:pt x="239" y="340"/>
                    <a:pt x="232" y="335"/>
                    <a:pt x="226" y="329"/>
                  </a:cubicBezTo>
                  <a:cubicBezTo>
                    <a:pt x="217" y="320"/>
                    <a:pt x="217" y="320"/>
                    <a:pt x="217" y="320"/>
                  </a:cubicBezTo>
                  <a:cubicBezTo>
                    <a:pt x="206" y="328"/>
                    <a:pt x="206" y="328"/>
                    <a:pt x="206" y="328"/>
                  </a:cubicBezTo>
                  <a:cubicBezTo>
                    <a:pt x="187" y="341"/>
                    <a:pt x="165" y="348"/>
                    <a:pt x="142" y="348"/>
                  </a:cubicBezTo>
                  <a:cubicBezTo>
                    <a:pt x="81" y="348"/>
                    <a:pt x="31" y="299"/>
                    <a:pt x="31" y="237"/>
                  </a:cubicBezTo>
                  <a:cubicBezTo>
                    <a:pt x="31" y="190"/>
                    <a:pt x="61" y="148"/>
                    <a:pt x="106" y="133"/>
                  </a:cubicBezTo>
                  <a:cubicBezTo>
                    <a:pt x="106" y="132"/>
                    <a:pt x="106" y="132"/>
                    <a:pt x="106" y="132"/>
                  </a:cubicBezTo>
                  <a:cubicBezTo>
                    <a:pt x="117" y="129"/>
                    <a:pt x="129" y="127"/>
                    <a:pt x="144" y="127"/>
                  </a:cubicBezTo>
                  <a:cubicBezTo>
                    <a:pt x="167" y="127"/>
                    <a:pt x="187" y="132"/>
                    <a:pt x="201" y="141"/>
                  </a:cubicBezTo>
                  <a:cubicBezTo>
                    <a:pt x="208" y="131"/>
                    <a:pt x="195" y="103"/>
                    <a:pt x="132" y="103"/>
                  </a:cubicBezTo>
                  <a:cubicBezTo>
                    <a:pt x="127" y="103"/>
                    <a:pt x="123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8" y="103"/>
                    <a:pt x="117" y="104"/>
                    <a:pt x="116" y="104"/>
                  </a:cubicBezTo>
                  <a:cubicBezTo>
                    <a:pt x="77" y="107"/>
                    <a:pt x="49" y="130"/>
                    <a:pt x="49" y="130"/>
                  </a:cubicBezTo>
                  <a:cubicBezTo>
                    <a:pt x="49" y="129"/>
                    <a:pt x="49" y="129"/>
                    <a:pt x="49" y="129"/>
                  </a:cubicBezTo>
                  <a:cubicBezTo>
                    <a:pt x="18" y="156"/>
                    <a:pt x="0" y="195"/>
                    <a:pt x="0" y="237"/>
                  </a:cubicBezTo>
                  <a:cubicBezTo>
                    <a:pt x="0" y="316"/>
                    <a:pt x="63" y="380"/>
                    <a:pt x="142" y="380"/>
                  </a:cubicBezTo>
                  <a:cubicBezTo>
                    <a:pt x="168" y="380"/>
                    <a:pt x="192" y="373"/>
                    <a:pt x="214" y="360"/>
                  </a:cubicBezTo>
                  <a:cubicBezTo>
                    <a:pt x="220" y="364"/>
                    <a:pt x="225" y="368"/>
                    <a:pt x="231" y="371"/>
                  </a:cubicBezTo>
                  <a:lnTo>
                    <a:pt x="235" y="365"/>
                  </a:lnTo>
                  <a:close/>
                  <a:moveTo>
                    <a:pt x="453" y="183"/>
                  </a:moveTo>
                  <a:cubicBezTo>
                    <a:pt x="454" y="180"/>
                    <a:pt x="454" y="178"/>
                    <a:pt x="454" y="175"/>
                  </a:cubicBezTo>
                  <a:cubicBezTo>
                    <a:pt x="454" y="117"/>
                    <a:pt x="407" y="70"/>
                    <a:pt x="348" y="70"/>
                  </a:cubicBezTo>
                  <a:cubicBezTo>
                    <a:pt x="341" y="70"/>
                    <a:pt x="334" y="71"/>
                    <a:pt x="327" y="72"/>
                  </a:cubicBezTo>
                  <a:cubicBezTo>
                    <a:pt x="305" y="29"/>
                    <a:pt x="261" y="0"/>
                    <a:pt x="212" y="0"/>
                  </a:cubicBezTo>
                  <a:cubicBezTo>
                    <a:pt x="155" y="0"/>
                    <a:pt x="106" y="37"/>
                    <a:pt x="90" y="89"/>
                  </a:cubicBezTo>
                  <a:cubicBezTo>
                    <a:pt x="103" y="86"/>
                    <a:pt x="116" y="85"/>
                    <a:pt x="125" y="86"/>
                  </a:cubicBezTo>
                  <a:cubicBezTo>
                    <a:pt x="141" y="53"/>
                    <a:pt x="174" y="32"/>
                    <a:pt x="212" y="32"/>
                  </a:cubicBezTo>
                  <a:cubicBezTo>
                    <a:pt x="253" y="32"/>
                    <a:pt x="289" y="58"/>
                    <a:pt x="302" y="96"/>
                  </a:cubicBezTo>
                  <a:cubicBezTo>
                    <a:pt x="308" y="112"/>
                    <a:pt x="308" y="112"/>
                    <a:pt x="308" y="112"/>
                  </a:cubicBezTo>
                  <a:cubicBezTo>
                    <a:pt x="323" y="106"/>
                    <a:pt x="323" y="106"/>
                    <a:pt x="323" y="106"/>
                  </a:cubicBezTo>
                  <a:cubicBezTo>
                    <a:pt x="331" y="103"/>
                    <a:pt x="340" y="101"/>
                    <a:pt x="348" y="101"/>
                  </a:cubicBezTo>
                  <a:cubicBezTo>
                    <a:pt x="389" y="101"/>
                    <a:pt x="422" y="135"/>
                    <a:pt x="422" y="175"/>
                  </a:cubicBezTo>
                  <a:cubicBezTo>
                    <a:pt x="422" y="181"/>
                    <a:pt x="421" y="186"/>
                    <a:pt x="420" y="192"/>
                  </a:cubicBezTo>
                  <a:cubicBezTo>
                    <a:pt x="416" y="209"/>
                    <a:pt x="416" y="209"/>
                    <a:pt x="416" y="209"/>
                  </a:cubicBezTo>
                  <a:cubicBezTo>
                    <a:pt x="434" y="211"/>
                    <a:pt x="434" y="211"/>
                    <a:pt x="434" y="211"/>
                  </a:cubicBezTo>
                  <a:cubicBezTo>
                    <a:pt x="467" y="214"/>
                    <a:pt x="492" y="242"/>
                    <a:pt x="492" y="275"/>
                  </a:cubicBezTo>
                  <a:cubicBezTo>
                    <a:pt x="492" y="310"/>
                    <a:pt x="463" y="338"/>
                    <a:pt x="428" y="338"/>
                  </a:cubicBezTo>
                  <a:cubicBezTo>
                    <a:pt x="416" y="338"/>
                    <a:pt x="404" y="335"/>
                    <a:pt x="394" y="329"/>
                  </a:cubicBezTo>
                  <a:cubicBezTo>
                    <a:pt x="384" y="322"/>
                    <a:pt x="384" y="322"/>
                    <a:pt x="384" y="322"/>
                  </a:cubicBezTo>
                  <a:cubicBezTo>
                    <a:pt x="375" y="330"/>
                    <a:pt x="375" y="330"/>
                    <a:pt x="375" y="330"/>
                  </a:cubicBezTo>
                  <a:cubicBezTo>
                    <a:pt x="370" y="335"/>
                    <a:pt x="364" y="339"/>
                    <a:pt x="358" y="343"/>
                  </a:cubicBezTo>
                  <a:cubicBezTo>
                    <a:pt x="356" y="348"/>
                    <a:pt x="354" y="354"/>
                    <a:pt x="352" y="359"/>
                  </a:cubicBezTo>
                  <a:cubicBezTo>
                    <a:pt x="349" y="367"/>
                    <a:pt x="346" y="376"/>
                    <a:pt x="342" y="384"/>
                  </a:cubicBezTo>
                  <a:cubicBezTo>
                    <a:pt x="358" y="379"/>
                    <a:pt x="374" y="371"/>
                    <a:pt x="387" y="361"/>
                  </a:cubicBezTo>
                  <a:cubicBezTo>
                    <a:pt x="400" y="367"/>
                    <a:pt x="414" y="370"/>
                    <a:pt x="428" y="370"/>
                  </a:cubicBezTo>
                  <a:cubicBezTo>
                    <a:pt x="481" y="370"/>
                    <a:pt x="523" y="327"/>
                    <a:pt x="523" y="275"/>
                  </a:cubicBezTo>
                  <a:cubicBezTo>
                    <a:pt x="523" y="231"/>
                    <a:pt x="494" y="194"/>
                    <a:pt x="453" y="183"/>
                  </a:cubicBezTo>
                  <a:close/>
                  <a:moveTo>
                    <a:pt x="383" y="292"/>
                  </a:moveTo>
                  <a:cubicBezTo>
                    <a:pt x="313" y="171"/>
                    <a:pt x="313" y="171"/>
                    <a:pt x="313" y="171"/>
                  </a:cubicBezTo>
                  <a:cubicBezTo>
                    <a:pt x="244" y="292"/>
                    <a:pt x="244" y="292"/>
                    <a:pt x="244" y="292"/>
                  </a:cubicBezTo>
                  <a:cubicBezTo>
                    <a:pt x="282" y="292"/>
                    <a:pt x="282" y="292"/>
                    <a:pt x="282" y="292"/>
                  </a:cubicBezTo>
                  <a:cubicBezTo>
                    <a:pt x="274" y="341"/>
                    <a:pt x="252" y="385"/>
                    <a:pt x="220" y="420"/>
                  </a:cubicBezTo>
                  <a:cubicBezTo>
                    <a:pt x="297" y="420"/>
                    <a:pt x="297" y="420"/>
                    <a:pt x="297" y="420"/>
                  </a:cubicBezTo>
                  <a:cubicBezTo>
                    <a:pt x="321" y="382"/>
                    <a:pt x="338" y="338"/>
                    <a:pt x="343" y="292"/>
                  </a:cubicBezTo>
                  <a:lnTo>
                    <a:pt x="383" y="29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</p:grpSp>
      <p:sp>
        <p:nvSpPr>
          <p:cNvPr id="81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11790055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2537997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Авата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066147C5-186D-4E4C-9242-8148410B3D18}"/>
              </a:ext>
            </a:extLst>
          </p:cNvPr>
          <p:cNvSpPr/>
          <p:nvPr userDrawn="1"/>
        </p:nvSpPr>
        <p:spPr>
          <a:xfrm>
            <a:off x="0" y="-18878"/>
            <a:ext cx="12192000" cy="6876879"/>
          </a:xfrm>
          <a:prstGeom prst="rect">
            <a:avLst/>
          </a:prstGeom>
          <a:gradFill flip="none" rotWithShape="1">
            <a:gsLst>
              <a:gs pos="18000">
                <a:schemeClr val="accent6">
                  <a:lumMod val="67000"/>
                </a:schemeClr>
              </a:gs>
              <a:gs pos="100000">
                <a:schemeClr val="accent6"/>
              </a:gs>
            </a:gsLst>
            <a:lin ang="162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5FCFC23A-FBBD-1442-BC6B-7AACBBDF17DB}"/>
              </a:ext>
            </a:extLst>
          </p:cNvPr>
          <p:cNvGrpSpPr/>
          <p:nvPr userDrawn="1"/>
        </p:nvGrpSpPr>
        <p:grpSpPr>
          <a:xfrm>
            <a:off x="0" y="-18879"/>
            <a:ext cx="12192000" cy="675904"/>
            <a:chOff x="0" y="4267200"/>
            <a:chExt cx="12192000" cy="675904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A96D3F2C-5F04-B84F-B9D5-D61433C77E05}"/>
                </a:ext>
              </a:extLst>
            </p:cNvPr>
            <p:cNvSpPr/>
            <p:nvPr userDrawn="1"/>
          </p:nvSpPr>
          <p:spPr>
            <a:xfrm>
              <a:off x="122213" y="4435305"/>
              <a:ext cx="11951853" cy="4294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dist="88900" dir="5400000" sx="97000" sy="97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xmlns="" id="{4BCEF6D8-1372-DA4D-AAD1-0712D4C4C8D4}"/>
                </a:ext>
              </a:extLst>
            </p:cNvPr>
            <p:cNvSpPr/>
            <p:nvPr userDrawn="1"/>
          </p:nvSpPr>
          <p:spPr>
            <a:xfrm>
              <a:off x="0" y="4267200"/>
              <a:ext cx="12192000" cy="675904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3E5CDD5-3156-47A9-A019-94E8642F4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7" y="162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14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F3E5CDD5-3156-47A9-A019-94E8642F4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62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"/>
          <p:cNvSpPr>
            <a:spLocks noGrp="1"/>
          </p:cNvSpPr>
          <p:nvPr>
            <p:ph type="title" hasCustomPrompt="1"/>
          </p:nvPr>
        </p:nvSpPr>
        <p:spPr>
          <a:xfrm>
            <a:off x="1602515" y="177110"/>
            <a:ext cx="9905376" cy="30780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000" kern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45780014-60AD-4D4C-B6BB-A0DF121B2FEB}"/>
              </a:ext>
            </a:extLst>
          </p:cNvPr>
          <p:cNvSpPr>
            <a:spLocks/>
          </p:cNvSpPr>
          <p:nvPr userDrawn="1"/>
        </p:nvSpPr>
        <p:spPr bwMode="auto">
          <a:xfrm>
            <a:off x="11662261" y="161564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102572" tIns="102572" rIns="102572" bIns="102572" rtlCol="0" anchor="ctr"/>
          <a:lstStyle/>
          <a:p>
            <a:pPr marL="0" marR="0" lvl="0" indent="0" algn="ctr" defTabSz="121866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>
              <a:ln>
                <a:noFill/>
              </a:ln>
              <a:solidFill>
                <a:srgbClr val="787E7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29" name="Группа 28"/>
          <p:cNvGrpSpPr/>
          <p:nvPr userDrawn="1"/>
        </p:nvGrpSpPr>
        <p:grpSpPr>
          <a:xfrm>
            <a:off x="1033528" y="89951"/>
            <a:ext cx="463083" cy="453900"/>
            <a:chOff x="4852424" y="3399256"/>
            <a:chExt cx="681227" cy="667720"/>
          </a:xfrm>
        </p:grpSpPr>
        <p:sp>
          <p:nvSpPr>
            <p:cNvPr id="30" name="Oval 100"/>
            <p:cNvSpPr/>
            <p:nvPr/>
          </p:nvSpPr>
          <p:spPr>
            <a:xfrm flipH="1">
              <a:off x="4852424" y="3399256"/>
              <a:ext cx="681227" cy="667720"/>
            </a:xfrm>
            <a:prstGeom prst="ellipse">
              <a:avLst/>
            </a:prstGeom>
            <a:solidFill>
              <a:schemeClr val="accent6"/>
            </a:solidFill>
            <a:ln w="19050" cap="rnd" cmpd="sng" algn="ctr">
              <a:solidFill>
                <a:schemeClr val="accent2"/>
              </a:solidFill>
              <a:prstDash val="solid"/>
            </a:ln>
            <a:effectLst/>
          </p:spPr>
          <p:txBody>
            <a:bodyPr lIns="40500" tIns="40500" rIns="40500" bIns="40500" rtlCol="0" anchor="ctr"/>
            <a:lstStyle/>
            <a:p>
              <a:pPr algn="ctr" defTabSz="685783">
                <a:defRPr/>
              </a:pPr>
              <a:endParaRPr lang="en-US" sz="751" kern="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31" name="Group 2"/>
            <p:cNvGrpSpPr/>
            <p:nvPr/>
          </p:nvGrpSpPr>
          <p:grpSpPr>
            <a:xfrm>
              <a:off x="4969657" y="3445759"/>
              <a:ext cx="461575" cy="538163"/>
              <a:chOff x="6670675" y="3513137"/>
              <a:chExt cx="1071561" cy="1249363"/>
            </a:xfrm>
            <a:solidFill>
              <a:schemeClr val="accent2"/>
            </a:solidFill>
          </p:grpSpPr>
          <p:grpSp>
            <p:nvGrpSpPr>
              <p:cNvPr id="32" name="Group 115"/>
              <p:cNvGrpSpPr/>
              <p:nvPr/>
            </p:nvGrpSpPr>
            <p:grpSpPr>
              <a:xfrm>
                <a:off x="6670675" y="3513137"/>
                <a:ext cx="700087" cy="1249363"/>
                <a:chOff x="-2524125" y="-798513"/>
                <a:chExt cx="700087" cy="1249363"/>
              </a:xfrm>
              <a:grpFill/>
            </p:grpSpPr>
            <p:sp>
              <p:nvSpPr>
                <p:cNvPr id="34" name="Oval 273"/>
                <p:cNvSpPr>
                  <a:spLocks noChangeArrowheads="1"/>
                </p:cNvSpPr>
                <p:nvPr/>
              </p:nvSpPr>
              <p:spPr bwMode="auto">
                <a:xfrm>
                  <a:off x="-2268538" y="-798513"/>
                  <a:ext cx="200025" cy="23812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35" name="Freeform 274"/>
                <p:cNvSpPr>
                  <a:spLocks noEditPoints="1"/>
                </p:cNvSpPr>
                <p:nvPr/>
              </p:nvSpPr>
              <p:spPr bwMode="auto">
                <a:xfrm>
                  <a:off x="-2524125" y="-536575"/>
                  <a:ext cx="700087" cy="987425"/>
                </a:xfrm>
                <a:custGeom>
                  <a:avLst/>
                  <a:gdLst/>
                  <a:ahLst/>
                  <a:cxnLst>
                    <a:cxn ang="0">
                      <a:pos x="123" y="27"/>
                    </a:cxn>
                    <a:cxn ang="0">
                      <a:pos x="122" y="26"/>
                    </a:cxn>
                    <a:cxn ang="0">
                      <a:pos x="116" y="22"/>
                    </a:cxn>
                    <a:cxn ang="0">
                      <a:pos x="91" y="3"/>
                    </a:cxn>
                    <a:cxn ang="0">
                      <a:pos x="85" y="1"/>
                    </a:cxn>
                    <a:cxn ang="0">
                      <a:pos x="77" y="1"/>
                    </a:cxn>
                    <a:cxn ang="0">
                      <a:pos x="75" y="11"/>
                    </a:cxn>
                    <a:cxn ang="0">
                      <a:pos x="68" y="43"/>
                    </a:cxn>
                    <a:cxn ang="0">
                      <a:pos x="68" y="7"/>
                    </a:cxn>
                    <a:cxn ang="0">
                      <a:pos x="59" y="0"/>
                    </a:cxn>
                    <a:cxn ang="0">
                      <a:pos x="59" y="9"/>
                    </a:cxn>
                    <a:cxn ang="0">
                      <a:pos x="46" y="18"/>
                    </a:cxn>
                    <a:cxn ang="0">
                      <a:pos x="41" y="7"/>
                    </a:cxn>
                    <a:cxn ang="0">
                      <a:pos x="48" y="0"/>
                    </a:cxn>
                    <a:cxn ang="0">
                      <a:pos x="39" y="1"/>
                    </a:cxn>
                    <a:cxn ang="0">
                      <a:pos x="3" y="36"/>
                    </a:cxn>
                    <a:cxn ang="0">
                      <a:pos x="3" y="36"/>
                    </a:cxn>
                    <a:cxn ang="0">
                      <a:pos x="1" y="49"/>
                    </a:cxn>
                    <a:cxn ang="0">
                      <a:pos x="1" y="49"/>
                    </a:cxn>
                    <a:cxn ang="0">
                      <a:pos x="2" y="51"/>
                    </a:cxn>
                    <a:cxn ang="0">
                      <a:pos x="6" y="58"/>
                    </a:cxn>
                    <a:cxn ang="0">
                      <a:pos x="20" y="86"/>
                    </a:cxn>
                    <a:cxn ang="0">
                      <a:pos x="33" y="91"/>
                    </a:cxn>
                    <a:cxn ang="0">
                      <a:pos x="35" y="92"/>
                    </a:cxn>
                    <a:cxn ang="0">
                      <a:pos x="61" y="174"/>
                    </a:cxn>
                    <a:cxn ang="0">
                      <a:pos x="57" y="112"/>
                    </a:cxn>
                    <a:cxn ang="0">
                      <a:pos x="91" y="34"/>
                    </a:cxn>
                    <a:cxn ang="0">
                      <a:pos x="95" y="32"/>
                    </a:cxn>
                    <a:cxn ang="0">
                      <a:pos x="77" y="46"/>
                    </a:cxn>
                    <a:cxn ang="0">
                      <a:pos x="91" y="34"/>
                    </a:cxn>
                    <a:cxn ang="0">
                      <a:pos x="31" y="56"/>
                    </a:cxn>
                    <a:cxn ang="0">
                      <a:pos x="24" y="44"/>
                    </a:cxn>
                    <a:cxn ang="0">
                      <a:pos x="34" y="61"/>
                    </a:cxn>
                  </a:cxnLst>
                  <a:rect l="0" t="0" r="r" b="b"/>
                  <a:pathLst>
                    <a:path w="123" h="174">
                      <a:moveTo>
                        <a:pt x="122" y="42"/>
                      </a:moveTo>
                      <a:cubicBezTo>
                        <a:pt x="122" y="35"/>
                        <a:pt x="123" y="24"/>
                        <a:pt x="123" y="27"/>
                      </a:cubicBezTo>
                      <a:cubicBezTo>
                        <a:pt x="123" y="26"/>
                        <a:pt x="123" y="26"/>
                        <a:pt x="123" y="26"/>
                      </a:cubicBezTo>
                      <a:cubicBezTo>
                        <a:pt x="122" y="26"/>
                        <a:pt x="122" y="26"/>
                        <a:pt x="122" y="26"/>
                      </a:cubicBezTo>
                      <a:cubicBezTo>
                        <a:pt x="120" y="25"/>
                        <a:pt x="120" y="25"/>
                        <a:pt x="120" y="25"/>
                      </a:cubicBezTo>
                      <a:cubicBezTo>
                        <a:pt x="116" y="22"/>
                        <a:pt x="116" y="22"/>
                        <a:pt x="116" y="22"/>
                      </a:cubicBezTo>
                      <a:cubicBezTo>
                        <a:pt x="108" y="15"/>
                        <a:pt x="108" y="15"/>
                        <a:pt x="108" y="15"/>
                      </a:cubicBezTo>
                      <a:cubicBezTo>
                        <a:pt x="91" y="3"/>
                        <a:pt x="91" y="3"/>
                        <a:pt x="91" y="3"/>
                      </a:cubicBezTo>
                      <a:cubicBezTo>
                        <a:pt x="90" y="2"/>
                        <a:pt x="88" y="1"/>
                        <a:pt x="86" y="1"/>
                      </a:cubicBezTo>
                      <a:cubicBezTo>
                        <a:pt x="85" y="1"/>
                        <a:pt x="85" y="1"/>
                        <a:pt x="85" y="1"/>
                      </a:cubicBezTo>
                      <a:cubicBezTo>
                        <a:pt x="83" y="1"/>
                        <a:pt x="80" y="1"/>
                        <a:pt x="77" y="0"/>
                      </a:cubicBez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84" y="7"/>
                        <a:pt x="84" y="7"/>
                        <a:pt x="84" y="7"/>
                      </a:cubicBezTo>
                      <a:cubicBezTo>
                        <a:pt x="75" y="11"/>
                        <a:pt x="75" y="11"/>
                        <a:pt x="75" y="11"/>
                      </a:cubicBezTo>
                      <a:cubicBezTo>
                        <a:pt x="80" y="18"/>
                        <a:pt x="80" y="18"/>
                        <a:pt x="80" y="18"/>
                      </a:cubicBezTo>
                      <a:cubicBezTo>
                        <a:pt x="68" y="43"/>
                        <a:pt x="68" y="43"/>
                        <a:pt x="68" y="43"/>
                      </a:cubicBezTo>
                      <a:cubicBezTo>
                        <a:pt x="67" y="9"/>
                        <a:pt x="67" y="9"/>
                        <a:pt x="67" y="9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7" y="7"/>
                        <a:pt x="57" y="7"/>
                        <a:pt x="57" y="7"/>
                      </a:cubicBezTo>
                      <a:cubicBezTo>
                        <a:pt x="59" y="9"/>
                        <a:pt x="59" y="9"/>
                        <a:pt x="59" y="9"/>
                      </a:cubicBezTo>
                      <a:cubicBezTo>
                        <a:pt x="57" y="43"/>
                        <a:pt x="57" y="43"/>
                        <a:pt x="57" y="43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50" y="11"/>
                        <a:pt x="50" y="11"/>
                        <a:pt x="50" y="11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8" y="1"/>
                        <a:pt x="48" y="1"/>
                        <a:pt x="48" y="1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5" y="1"/>
                        <a:pt x="43" y="1"/>
                        <a:pt x="40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6" y="1"/>
                        <a:pt x="34" y="3"/>
                        <a:pt x="32" y="5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0" y="61"/>
                        <a:pt x="2" y="43"/>
                        <a:pt x="1" y="48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2" y="49"/>
                        <a:pt x="2" y="49"/>
                        <a:pt x="2" y="49"/>
                      </a:cubicBezTo>
                      <a:cubicBezTo>
                        <a:pt x="2" y="51"/>
                        <a:pt x="2" y="51"/>
                        <a:pt x="2" y="51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6" y="58"/>
                        <a:pt x="6" y="58"/>
                        <a:pt x="6" y="58"/>
                      </a:cubicBezTo>
                      <a:cubicBezTo>
                        <a:pt x="11" y="67"/>
                        <a:pt x="11" y="67"/>
                        <a:pt x="11" y="67"/>
                      </a:cubicBezTo>
                      <a:cubicBezTo>
                        <a:pt x="20" y="86"/>
                        <a:pt x="20" y="86"/>
                        <a:pt x="20" y="86"/>
                      </a:cubicBezTo>
                      <a:cubicBezTo>
                        <a:pt x="25" y="84"/>
                        <a:pt x="29" y="82"/>
                        <a:pt x="33" y="79"/>
                      </a:cubicBezTo>
                      <a:cubicBezTo>
                        <a:pt x="33" y="83"/>
                        <a:pt x="33" y="87"/>
                        <a:pt x="33" y="91"/>
                      </a:cubicBezTo>
                      <a:cubicBezTo>
                        <a:pt x="33" y="92"/>
                        <a:pt x="33" y="92"/>
                        <a:pt x="33" y="92"/>
                      </a:cubicBezTo>
                      <a:cubicBezTo>
                        <a:pt x="35" y="92"/>
                        <a:pt x="35" y="92"/>
                        <a:pt x="35" y="92"/>
                      </a:cubicBezTo>
                      <a:cubicBezTo>
                        <a:pt x="38" y="174"/>
                        <a:pt x="38" y="174"/>
                        <a:pt x="38" y="174"/>
                      </a:cubicBezTo>
                      <a:cubicBezTo>
                        <a:pt x="61" y="174"/>
                        <a:pt x="61" y="174"/>
                        <a:pt x="61" y="174"/>
                      </a:cubicBezTo>
                      <a:cubicBezTo>
                        <a:pt x="62" y="163"/>
                        <a:pt x="62" y="150"/>
                        <a:pt x="62" y="137"/>
                      </a:cubicBezTo>
                      <a:cubicBezTo>
                        <a:pt x="59" y="129"/>
                        <a:pt x="57" y="121"/>
                        <a:pt x="57" y="112"/>
                      </a:cubicBezTo>
                      <a:cubicBezTo>
                        <a:pt x="57" y="75"/>
                        <a:pt x="86" y="45"/>
                        <a:pt x="122" y="42"/>
                      </a:cubicBezTo>
                      <a:close/>
                      <a:moveTo>
                        <a:pt x="91" y="34"/>
                      </a:moveTo>
                      <a:cubicBezTo>
                        <a:pt x="91" y="32"/>
                        <a:pt x="91" y="30"/>
                        <a:pt x="90" y="28"/>
                      </a:cubicBezTo>
                      <a:cubicBezTo>
                        <a:pt x="95" y="32"/>
                        <a:pt x="95" y="32"/>
                        <a:pt x="95" y="32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ubicBezTo>
                        <a:pt x="77" y="46"/>
                        <a:pt x="77" y="46"/>
                        <a:pt x="77" y="46"/>
                      </a:cubicBezTo>
                      <a:cubicBezTo>
                        <a:pt x="75" y="43"/>
                        <a:pt x="75" y="43"/>
                        <a:pt x="75" y="43"/>
                      </a:cubicBezTo>
                      <a:lnTo>
                        <a:pt x="91" y="34"/>
                      </a:lnTo>
                      <a:close/>
                      <a:moveTo>
                        <a:pt x="34" y="61"/>
                      </a:moveTo>
                      <a:cubicBezTo>
                        <a:pt x="31" y="56"/>
                        <a:pt x="31" y="56"/>
                        <a:pt x="31" y="56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4" y="44"/>
                        <a:pt x="24" y="44"/>
                        <a:pt x="24" y="44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cubicBezTo>
                        <a:pt x="34" y="41"/>
                        <a:pt x="34" y="51"/>
                        <a:pt x="34" y="6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36" name="Freeform 275"/>
                <p:cNvSpPr>
                  <a:spLocks/>
                </p:cNvSpPr>
                <p:nvPr/>
              </p:nvSpPr>
              <p:spPr bwMode="auto">
                <a:xfrm>
                  <a:off x="-2154238" y="287337"/>
                  <a:ext cx="141287" cy="1635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" y="29"/>
                    </a:cxn>
                    <a:cxn ang="0">
                      <a:pos x="25" y="29"/>
                    </a:cxn>
                    <a:cxn ang="0">
                      <a:pos x="25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5" h="29">
                      <a:moveTo>
                        <a:pt x="0" y="0"/>
                      </a:move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25" y="29"/>
                        <a:pt x="25" y="29"/>
                        <a:pt x="25" y="29"/>
                      </a:cubicBezTo>
                      <a:cubicBezTo>
                        <a:pt x="25" y="28"/>
                        <a:pt x="25" y="27"/>
                        <a:pt x="25" y="26"/>
                      </a:cubicBezTo>
                      <a:cubicBezTo>
                        <a:pt x="15" y="19"/>
                        <a:pt x="6" y="10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</p:grpSp>
          <p:sp>
            <p:nvSpPr>
              <p:cNvPr id="33" name="Freeform 209"/>
              <p:cNvSpPr>
                <a:spLocks noEditPoints="1"/>
              </p:cNvSpPr>
              <p:nvPr/>
            </p:nvSpPr>
            <p:spPr bwMode="auto">
              <a:xfrm>
                <a:off x="7032625" y="4046538"/>
                <a:ext cx="709611" cy="709611"/>
              </a:xfrm>
              <a:custGeom>
                <a:avLst/>
                <a:gdLst/>
                <a:ahLst/>
                <a:cxnLst>
                  <a:cxn ang="0">
                    <a:pos x="114" y="40"/>
                  </a:cxn>
                  <a:cxn ang="0">
                    <a:pos x="109" y="41"/>
                  </a:cxn>
                  <a:cxn ang="0">
                    <a:pos x="103" y="34"/>
                  </a:cxn>
                  <a:cxn ang="0">
                    <a:pos x="109" y="25"/>
                  </a:cxn>
                  <a:cxn ang="0">
                    <a:pos x="96" y="16"/>
                  </a:cxn>
                  <a:cxn ang="0">
                    <a:pos x="88" y="19"/>
                  </a:cxn>
                  <a:cxn ang="0">
                    <a:pos x="87" y="10"/>
                  </a:cxn>
                  <a:cxn ang="0">
                    <a:pos x="74" y="2"/>
                  </a:cxn>
                  <a:cxn ang="0">
                    <a:pos x="70" y="3"/>
                  </a:cxn>
                  <a:cxn ang="0">
                    <a:pos x="59" y="10"/>
                  </a:cxn>
                  <a:cxn ang="0">
                    <a:pos x="55" y="0"/>
                  </a:cxn>
                  <a:cxn ang="0">
                    <a:pos x="47" y="2"/>
                  </a:cxn>
                  <a:cxn ang="0">
                    <a:pos x="45" y="2"/>
                  </a:cxn>
                  <a:cxn ang="0">
                    <a:pos x="40" y="6"/>
                  </a:cxn>
                  <a:cxn ang="0">
                    <a:pos x="34" y="16"/>
                  </a:cxn>
                  <a:cxn ang="0">
                    <a:pos x="26" y="11"/>
                  </a:cxn>
                  <a:cxn ang="0">
                    <a:pos x="16" y="19"/>
                  </a:cxn>
                  <a:cxn ang="0">
                    <a:pos x="21" y="29"/>
                  </a:cxn>
                  <a:cxn ang="0">
                    <a:pos x="14" y="34"/>
                  </a:cxn>
                  <a:cxn ang="0">
                    <a:pos x="6" y="34"/>
                  </a:cxn>
                  <a:cxn ang="0">
                    <a:pos x="2" y="46"/>
                  </a:cxn>
                  <a:cxn ang="0">
                    <a:pos x="10" y="52"/>
                  </a:cxn>
                  <a:cxn ang="0">
                    <a:pos x="3" y="61"/>
                  </a:cxn>
                  <a:cxn ang="0">
                    <a:pos x="2" y="77"/>
                  </a:cxn>
                  <a:cxn ang="0">
                    <a:pos x="13" y="78"/>
                  </a:cxn>
                  <a:cxn ang="0">
                    <a:pos x="11" y="89"/>
                  </a:cxn>
                  <a:cxn ang="0">
                    <a:pos x="19" y="103"/>
                  </a:cxn>
                  <a:cxn ang="0">
                    <a:pos x="29" y="99"/>
                  </a:cxn>
                  <a:cxn ang="0">
                    <a:pos x="33" y="110"/>
                  </a:cxn>
                  <a:cxn ang="0">
                    <a:pos x="46" y="118"/>
                  </a:cxn>
                  <a:cxn ang="0">
                    <a:pos x="52" y="109"/>
                  </a:cxn>
                  <a:cxn ang="0">
                    <a:pos x="61" y="117"/>
                  </a:cxn>
                  <a:cxn ang="0">
                    <a:pos x="77" y="117"/>
                  </a:cxn>
                  <a:cxn ang="0">
                    <a:pos x="78" y="106"/>
                  </a:cxn>
                  <a:cxn ang="0">
                    <a:pos x="90" y="108"/>
                  </a:cxn>
                  <a:cxn ang="0">
                    <a:pos x="103" y="101"/>
                  </a:cxn>
                  <a:cxn ang="0">
                    <a:pos x="99" y="91"/>
                  </a:cxn>
                  <a:cxn ang="0">
                    <a:pos x="110" y="87"/>
                  </a:cxn>
                  <a:cxn ang="0">
                    <a:pos x="118" y="73"/>
                  </a:cxn>
                  <a:cxn ang="0">
                    <a:pos x="109" y="67"/>
                  </a:cxn>
                  <a:cxn ang="0">
                    <a:pos x="117" y="58"/>
                  </a:cxn>
                  <a:cxn ang="0">
                    <a:pos x="117" y="44"/>
                  </a:cxn>
                  <a:cxn ang="0">
                    <a:pos x="23" y="67"/>
                  </a:cxn>
                  <a:cxn ang="0">
                    <a:pos x="24" y="47"/>
                  </a:cxn>
                  <a:cxn ang="0">
                    <a:pos x="50" y="23"/>
                  </a:cxn>
                  <a:cxn ang="0">
                    <a:pos x="51" y="39"/>
                  </a:cxn>
                  <a:cxn ang="0">
                    <a:pos x="47" y="41"/>
                  </a:cxn>
                  <a:cxn ang="0">
                    <a:pos x="37" y="60"/>
                  </a:cxn>
                  <a:cxn ang="0">
                    <a:pos x="66" y="97"/>
                  </a:cxn>
                  <a:cxn ang="0">
                    <a:pos x="48" y="79"/>
                  </a:cxn>
                  <a:cxn ang="0">
                    <a:pos x="68" y="81"/>
                  </a:cxn>
                  <a:cxn ang="0">
                    <a:pos x="66" y="97"/>
                  </a:cxn>
                  <a:cxn ang="0">
                    <a:pos x="82" y="64"/>
                  </a:cxn>
                  <a:cxn ang="0">
                    <a:pos x="74" y="42"/>
                  </a:cxn>
                  <a:cxn ang="0">
                    <a:pos x="74" y="25"/>
                  </a:cxn>
                  <a:cxn ang="0">
                    <a:pos x="89" y="36"/>
                  </a:cxn>
                  <a:cxn ang="0">
                    <a:pos x="97" y="53"/>
                  </a:cxn>
                </a:cxnLst>
                <a:rect l="0" t="0" r="r" b="b"/>
                <a:pathLst>
                  <a:path w="119" h="119">
                    <a:moveTo>
                      <a:pt x="117" y="42"/>
                    </a:moveTo>
                    <a:cubicBezTo>
                      <a:pt x="117" y="41"/>
                      <a:pt x="115" y="40"/>
                      <a:pt x="114" y="40"/>
                    </a:cubicBezTo>
                    <a:cubicBezTo>
                      <a:pt x="114" y="40"/>
                      <a:pt x="113" y="40"/>
                      <a:pt x="113" y="40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6" y="41"/>
                      <a:pt x="106" y="41"/>
                      <a:pt x="106" y="41"/>
                    </a:cubicBezTo>
                    <a:cubicBezTo>
                      <a:pt x="105" y="39"/>
                      <a:pt x="104" y="37"/>
                      <a:pt x="103" y="34"/>
                    </a:cubicBezTo>
                    <a:cubicBezTo>
                      <a:pt x="108" y="30"/>
                      <a:pt x="108" y="30"/>
                      <a:pt x="108" y="30"/>
                    </a:cubicBezTo>
                    <a:cubicBezTo>
                      <a:pt x="110" y="29"/>
                      <a:pt x="110" y="27"/>
                      <a:pt x="109" y="25"/>
                    </a:cubicBezTo>
                    <a:cubicBezTo>
                      <a:pt x="101" y="16"/>
                      <a:pt x="101" y="16"/>
                      <a:pt x="101" y="16"/>
                    </a:cubicBezTo>
                    <a:cubicBezTo>
                      <a:pt x="100" y="15"/>
                      <a:pt x="98" y="15"/>
                      <a:pt x="96" y="16"/>
                    </a:cubicBezTo>
                    <a:cubicBezTo>
                      <a:pt x="91" y="21"/>
                      <a:pt x="91" y="21"/>
                      <a:pt x="91" y="21"/>
                    </a:cubicBezTo>
                    <a:cubicBezTo>
                      <a:pt x="90" y="20"/>
                      <a:pt x="89" y="19"/>
                      <a:pt x="88" y="19"/>
                    </a:cubicBezTo>
                    <a:cubicBezTo>
                      <a:pt x="87" y="18"/>
                      <a:pt x="86" y="17"/>
                      <a:pt x="84" y="16"/>
                    </a:cubicBezTo>
                    <a:cubicBezTo>
                      <a:pt x="87" y="10"/>
                      <a:pt x="87" y="10"/>
                      <a:pt x="87" y="10"/>
                    </a:cubicBezTo>
                    <a:cubicBezTo>
                      <a:pt x="87" y="8"/>
                      <a:pt x="87" y="6"/>
                      <a:pt x="85" y="6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2" y="1"/>
                      <a:pt x="70" y="2"/>
                      <a:pt x="70" y="3"/>
                    </a:cubicBezTo>
                    <a:cubicBezTo>
                      <a:pt x="67" y="10"/>
                      <a:pt x="67" y="10"/>
                      <a:pt x="67" y="10"/>
                    </a:cubicBezTo>
                    <a:cubicBezTo>
                      <a:pt x="65" y="10"/>
                      <a:pt x="62" y="10"/>
                      <a:pt x="59" y="10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58" y="1"/>
                      <a:pt x="56" y="0"/>
                      <a:pt x="55" y="0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1" y="3"/>
                      <a:pt x="40" y="4"/>
                      <a:pt x="40" y="6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9" y="14"/>
                      <a:pt x="37" y="15"/>
                      <a:pt x="34" y="16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10"/>
                      <a:pt x="27" y="10"/>
                      <a:pt x="26" y="11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5" y="20"/>
                      <a:pt x="15" y="22"/>
                      <a:pt x="16" y="23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19" y="31"/>
                      <a:pt x="18" y="33"/>
                      <a:pt x="16" y="35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8" y="32"/>
                      <a:pt x="6" y="33"/>
                      <a:pt x="6" y="3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1" y="47"/>
                      <a:pt x="2" y="49"/>
                      <a:pt x="3" y="50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0" y="55"/>
                      <a:pt x="10" y="57"/>
                      <a:pt x="10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0" y="63"/>
                      <a:pt x="0" y="65"/>
                    </a:cubicBezTo>
                    <a:cubicBezTo>
                      <a:pt x="2" y="77"/>
                      <a:pt x="2" y="77"/>
                      <a:pt x="2" y="77"/>
                    </a:cubicBezTo>
                    <a:cubicBezTo>
                      <a:pt x="3" y="78"/>
                      <a:pt x="4" y="80"/>
                      <a:pt x="6" y="79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4" y="80"/>
                      <a:pt x="15" y="83"/>
                      <a:pt x="17" y="85"/>
                    </a:cubicBezTo>
                    <a:cubicBezTo>
                      <a:pt x="11" y="89"/>
                      <a:pt x="11" y="89"/>
                      <a:pt x="11" y="89"/>
                    </a:cubicBezTo>
                    <a:cubicBezTo>
                      <a:pt x="10" y="91"/>
                      <a:pt x="10" y="92"/>
                      <a:pt x="11" y="94"/>
                    </a:cubicBezTo>
                    <a:cubicBezTo>
                      <a:pt x="19" y="103"/>
                      <a:pt x="19" y="103"/>
                      <a:pt x="19" y="103"/>
                    </a:cubicBezTo>
                    <a:cubicBezTo>
                      <a:pt x="20" y="104"/>
                      <a:pt x="22" y="105"/>
                      <a:pt x="23" y="103"/>
                    </a:cubicBezTo>
                    <a:cubicBezTo>
                      <a:pt x="29" y="99"/>
                      <a:pt x="29" y="99"/>
                      <a:pt x="29" y="99"/>
                    </a:cubicBezTo>
                    <a:cubicBezTo>
                      <a:pt x="31" y="100"/>
                      <a:pt x="33" y="102"/>
                      <a:pt x="35" y="103"/>
                    </a:cubicBezTo>
                    <a:cubicBezTo>
                      <a:pt x="33" y="110"/>
                      <a:pt x="33" y="110"/>
                      <a:pt x="33" y="110"/>
                    </a:cubicBezTo>
                    <a:cubicBezTo>
                      <a:pt x="32" y="111"/>
                      <a:pt x="33" y="113"/>
                      <a:pt x="34" y="114"/>
                    </a:cubicBezTo>
                    <a:cubicBezTo>
                      <a:pt x="46" y="118"/>
                      <a:pt x="46" y="118"/>
                      <a:pt x="46" y="118"/>
                    </a:cubicBezTo>
                    <a:cubicBezTo>
                      <a:pt x="48" y="118"/>
                      <a:pt x="49" y="118"/>
                      <a:pt x="50" y="116"/>
                    </a:cubicBezTo>
                    <a:cubicBezTo>
                      <a:pt x="52" y="109"/>
                      <a:pt x="52" y="109"/>
                      <a:pt x="52" y="109"/>
                    </a:cubicBezTo>
                    <a:cubicBezTo>
                      <a:pt x="55" y="109"/>
                      <a:pt x="57" y="110"/>
                      <a:pt x="60" y="110"/>
                    </a:cubicBezTo>
                    <a:cubicBezTo>
                      <a:pt x="61" y="117"/>
                      <a:pt x="61" y="117"/>
                      <a:pt x="61" y="117"/>
                    </a:cubicBezTo>
                    <a:cubicBezTo>
                      <a:pt x="62" y="118"/>
                      <a:pt x="63" y="119"/>
                      <a:pt x="65" y="119"/>
                    </a:cubicBezTo>
                    <a:cubicBezTo>
                      <a:pt x="77" y="117"/>
                      <a:pt x="77" y="117"/>
                      <a:pt x="77" y="117"/>
                    </a:cubicBezTo>
                    <a:cubicBezTo>
                      <a:pt x="79" y="117"/>
                      <a:pt x="80" y="115"/>
                      <a:pt x="79" y="113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80" y="105"/>
                      <a:pt x="83" y="104"/>
                      <a:pt x="85" y="103"/>
                    </a:cubicBezTo>
                    <a:cubicBezTo>
                      <a:pt x="90" y="108"/>
                      <a:pt x="90" y="108"/>
                      <a:pt x="90" y="108"/>
                    </a:cubicBezTo>
                    <a:cubicBezTo>
                      <a:pt x="91" y="109"/>
                      <a:pt x="93" y="110"/>
                      <a:pt x="94" y="108"/>
                    </a:cubicBezTo>
                    <a:cubicBezTo>
                      <a:pt x="103" y="101"/>
                      <a:pt x="103" y="101"/>
                      <a:pt x="103" y="101"/>
                    </a:cubicBezTo>
                    <a:cubicBezTo>
                      <a:pt x="104" y="100"/>
                      <a:pt x="105" y="98"/>
                      <a:pt x="104" y="96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0" y="89"/>
                      <a:pt x="102" y="87"/>
                      <a:pt x="103" y="84"/>
                    </a:cubicBezTo>
                    <a:cubicBezTo>
                      <a:pt x="110" y="87"/>
                      <a:pt x="110" y="87"/>
                      <a:pt x="110" y="87"/>
                    </a:cubicBezTo>
                    <a:cubicBezTo>
                      <a:pt x="111" y="87"/>
                      <a:pt x="113" y="86"/>
                      <a:pt x="114" y="85"/>
                    </a:cubicBezTo>
                    <a:cubicBezTo>
                      <a:pt x="118" y="73"/>
                      <a:pt x="118" y="73"/>
                      <a:pt x="118" y="73"/>
                    </a:cubicBezTo>
                    <a:cubicBezTo>
                      <a:pt x="118" y="72"/>
                      <a:pt x="118" y="70"/>
                      <a:pt x="116" y="69"/>
                    </a:cubicBezTo>
                    <a:cubicBezTo>
                      <a:pt x="109" y="67"/>
                      <a:pt x="109" y="67"/>
                      <a:pt x="109" y="67"/>
                    </a:cubicBezTo>
                    <a:cubicBezTo>
                      <a:pt x="110" y="64"/>
                      <a:pt x="110" y="62"/>
                      <a:pt x="110" y="59"/>
                    </a:cubicBezTo>
                    <a:cubicBezTo>
                      <a:pt x="117" y="58"/>
                      <a:pt x="117" y="58"/>
                      <a:pt x="117" y="58"/>
                    </a:cubicBezTo>
                    <a:cubicBezTo>
                      <a:pt x="118" y="58"/>
                      <a:pt x="119" y="56"/>
                      <a:pt x="119" y="54"/>
                    </a:cubicBezTo>
                    <a:cubicBezTo>
                      <a:pt x="117" y="44"/>
                      <a:pt x="117" y="44"/>
                      <a:pt x="117" y="44"/>
                    </a:cubicBezTo>
                    <a:lnTo>
                      <a:pt x="117" y="42"/>
                    </a:lnTo>
                    <a:close/>
                    <a:moveTo>
                      <a:pt x="23" y="67"/>
                    </a:moveTo>
                    <a:cubicBezTo>
                      <a:pt x="23" y="66"/>
                      <a:pt x="23" y="66"/>
                      <a:pt x="23" y="66"/>
                    </a:cubicBezTo>
                    <a:cubicBezTo>
                      <a:pt x="22" y="60"/>
                      <a:pt x="22" y="53"/>
                      <a:pt x="24" y="47"/>
                    </a:cubicBezTo>
                    <a:cubicBezTo>
                      <a:pt x="28" y="37"/>
                      <a:pt x="36" y="28"/>
                      <a:pt x="47" y="24"/>
                    </a:cubicBezTo>
                    <a:cubicBezTo>
                      <a:pt x="48" y="24"/>
                      <a:pt x="49" y="24"/>
                      <a:pt x="50" y="23"/>
                    </a:cubicBezTo>
                    <a:cubicBezTo>
                      <a:pt x="51" y="23"/>
                      <a:pt x="52" y="23"/>
                      <a:pt x="52" y="23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49" y="39"/>
                      <a:pt x="48" y="40"/>
                      <a:pt x="47" y="41"/>
                    </a:cubicBezTo>
                    <a:cubicBezTo>
                      <a:pt x="42" y="44"/>
                      <a:pt x="39" y="50"/>
                      <a:pt x="38" y="56"/>
                    </a:cubicBezTo>
                    <a:cubicBezTo>
                      <a:pt x="37" y="57"/>
                      <a:pt x="37" y="59"/>
                      <a:pt x="37" y="60"/>
                    </a:cubicBezTo>
                    <a:lnTo>
                      <a:pt x="23" y="67"/>
                    </a:lnTo>
                    <a:close/>
                    <a:moveTo>
                      <a:pt x="66" y="97"/>
                    </a:moveTo>
                    <a:cubicBezTo>
                      <a:pt x="54" y="99"/>
                      <a:pt x="41" y="95"/>
                      <a:pt x="33" y="86"/>
                    </a:cubicBezTo>
                    <a:cubicBezTo>
                      <a:pt x="48" y="79"/>
                      <a:pt x="48" y="79"/>
                      <a:pt x="48" y="79"/>
                    </a:cubicBezTo>
                    <a:cubicBezTo>
                      <a:pt x="52" y="82"/>
                      <a:pt x="58" y="83"/>
                      <a:pt x="64" y="82"/>
                    </a:cubicBezTo>
                    <a:cubicBezTo>
                      <a:pt x="65" y="82"/>
                      <a:pt x="67" y="81"/>
                      <a:pt x="68" y="81"/>
                    </a:cubicBezTo>
                    <a:cubicBezTo>
                      <a:pt x="82" y="90"/>
                      <a:pt x="82" y="90"/>
                      <a:pt x="82" y="90"/>
                    </a:cubicBezTo>
                    <a:cubicBezTo>
                      <a:pt x="77" y="93"/>
                      <a:pt x="72" y="96"/>
                      <a:pt x="66" y="97"/>
                    </a:cubicBezTo>
                    <a:close/>
                    <a:moveTo>
                      <a:pt x="95" y="73"/>
                    </a:moveTo>
                    <a:cubicBezTo>
                      <a:pt x="82" y="64"/>
                      <a:pt x="82" y="64"/>
                      <a:pt x="82" y="64"/>
                    </a:cubicBezTo>
                    <a:cubicBezTo>
                      <a:pt x="82" y="62"/>
                      <a:pt x="83" y="59"/>
                      <a:pt x="82" y="56"/>
                    </a:cubicBezTo>
                    <a:cubicBezTo>
                      <a:pt x="81" y="50"/>
                      <a:pt x="78" y="45"/>
                      <a:pt x="74" y="42"/>
                    </a:cubicBezTo>
                    <a:cubicBezTo>
                      <a:pt x="73" y="42"/>
                      <a:pt x="73" y="41"/>
                      <a:pt x="72" y="41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80" y="27"/>
                      <a:pt x="85" y="31"/>
                      <a:pt x="89" y="36"/>
                    </a:cubicBezTo>
                    <a:cubicBezTo>
                      <a:pt x="91" y="38"/>
                      <a:pt x="93" y="41"/>
                      <a:pt x="94" y="44"/>
                    </a:cubicBezTo>
                    <a:cubicBezTo>
                      <a:pt x="95" y="47"/>
                      <a:pt x="96" y="50"/>
                      <a:pt x="97" y="53"/>
                    </a:cubicBezTo>
                    <a:cubicBezTo>
                      <a:pt x="98" y="60"/>
                      <a:pt x="97" y="67"/>
                      <a:pt x="95" y="7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</p:grpSp>
      </p:grpSp>
      <p:grpSp>
        <p:nvGrpSpPr>
          <p:cNvPr id="78" name="Группа 77"/>
          <p:cNvGrpSpPr/>
          <p:nvPr userDrawn="1"/>
        </p:nvGrpSpPr>
        <p:grpSpPr>
          <a:xfrm>
            <a:off x="146651" y="90377"/>
            <a:ext cx="802256" cy="446347"/>
            <a:chOff x="146650" y="90376"/>
            <a:chExt cx="802256" cy="446347"/>
          </a:xfrm>
        </p:grpSpPr>
        <p:grpSp>
          <p:nvGrpSpPr>
            <p:cNvPr id="79" name="Группа 78"/>
            <p:cNvGrpSpPr/>
            <p:nvPr userDrawn="1"/>
          </p:nvGrpSpPr>
          <p:grpSpPr>
            <a:xfrm>
              <a:off x="146650" y="90376"/>
              <a:ext cx="802256" cy="446347"/>
              <a:chOff x="3215754" y="3239215"/>
              <a:chExt cx="5277696" cy="2936328"/>
            </a:xfrm>
            <a:solidFill>
              <a:schemeClr val="accent6"/>
            </a:solidFill>
          </p:grpSpPr>
          <p:sp>
            <p:nvSpPr>
              <p:cNvPr id="114" name="Round Diagonal Corner Rectangle 73"/>
              <p:cNvSpPr/>
              <p:nvPr/>
            </p:nvSpPr>
            <p:spPr>
              <a:xfrm rot="16200000" flipV="1">
                <a:off x="4045695" y="2409275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2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115" name="Round Diagonal Corner Rectangle 73"/>
              <p:cNvSpPr/>
              <p:nvPr/>
            </p:nvSpPr>
            <p:spPr>
              <a:xfrm rot="16200000" flipV="1">
                <a:off x="6763017" y="2409276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116" name="Round Diagonal Corner Rectangle 73"/>
              <p:cNvSpPr/>
              <p:nvPr/>
            </p:nvSpPr>
            <p:spPr>
              <a:xfrm rot="16200000" flipV="1">
                <a:off x="4045695" y="3427192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117" name="Round Diagonal Corner Rectangle 73"/>
              <p:cNvSpPr/>
              <p:nvPr/>
            </p:nvSpPr>
            <p:spPr>
              <a:xfrm rot="16200000" flipV="1">
                <a:off x="6763017" y="3427193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118" name="Round Diagonal Corner Rectangle 73"/>
              <p:cNvSpPr/>
              <p:nvPr/>
            </p:nvSpPr>
            <p:spPr>
              <a:xfrm rot="16200000" flipV="1">
                <a:off x="5404355" y="3086448"/>
                <a:ext cx="900494" cy="527769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6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</p:grpSp>
        <p:grpSp>
          <p:nvGrpSpPr>
            <p:cNvPr id="80" name="Group 2"/>
            <p:cNvGrpSpPr/>
            <p:nvPr userDrawn="1"/>
          </p:nvGrpSpPr>
          <p:grpSpPr>
            <a:xfrm>
              <a:off x="298733" y="103728"/>
              <a:ext cx="90401" cy="105401"/>
              <a:chOff x="6670675" y="3513137"/>
              <a:chExt cx="1071561" cy="1249363"/>
            </a:xfrm>
            <a:solidFill>
              <a:schemeClr val="bg1"/>
            </a:solidFill>
          </p:grpSpPr>
          <p:grpSp>
            <p:nvGrpSpPr>
              <p:cNvPr id="109" name="Group 115"/>
              <p:cNvGrpSpPr/>
              <p:nvPr/>
            </p:nvGrpSpPr>
            <p:grpSpPr>
              <a:xfrm>
                <a:off x="6670675" y="3513137"/>
                <a:ext cx="700087" cy="1249363"/>
                <a:chOff x="-2524125" y="-798513"/>
                <a:chExt cx="700087" cy="1249363"/>
              </a:xfrm>
              <a:grpFill/>
            </p:grpSpPr>
            <p:sp>
              <p:nvSpPr>
                <p:cNvPr id="111" name="Oval 273"/>
                <p:cNvSpPr>
                  <a:spLocks noChangeArrowheads="1"/>
                </p:cNvSpPr>
                <p:nvPr/>
              </p:nvSpPr>
              <p:spPr bwMode="auto">
                <a:xfrm>
                  <a:off x="-2268538" y="-798513"/>
                  <a:ext cx="200025" cy="23812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112" name="Freeform 274"/>
                <p:cNvSpPr>
                  <a:spLocks noEditPoints="1"/>
                </p:cNvSpPr>
                <p:nvPr/>
              </p:nvSpPr>
              <p:spPr bwMode="auto">
                <a:xfrm>
                  <a:off x="-2524125" y="-536575"/>
                  <a:ext cx="700087" cy="987425"/>
                </a:xfrm>
                <a:custGeom>
                  <a:avLst/>
                  <a:gdLst/>
                  <a:ahLst/>
                  <a:cxnLst>
                    <a:cxn ang="0">
                      <a:pos x="123" y="27"/>
                    </a:cxn>
                    <a:cxn ang="0">
                      <a:pos x="122" y="26"/>
                    </a:cxn>
                    <a:cxn ang="0">
                      <a:pos x="116" y="22"/>
                    </a:cxn>
                    <a:cxn ang="0">
                      <a:pos x="91" y="3"/>
                    </a:cxn>
                    <a:cxn ang="0">
                      <a:pos x="85" y="1"/>
                    </a:cxn>
                    <a:cxn ang="0">
                      <a:pos x="77" y="1"/>
                    </a:cxn>
                    <a:cxn ang="0">
                      <a:pos x="75" y="11"/>
                    </a:cxn>
                    <a:cxn ang="0">
                      <a:pos x="68" y="43"/>
                    </a:cxn>
                    <a:cxn ang="0">
                      <a:pos x="68" y="7"/>
                    </a:cxn>
                    <a:cxn ang="0">
                      <a:pos x="59" y="0"/>
                    </a:cxn>
                    <a:cxn ang="0">
                      <a:pos x="59" y="9"/>
                    </a:cxn>
                    <a:cxn ang="0">
                      <a:pos x="46" y="18"/>
                    </a:cxn>
                    <a:cxn ang="0">
                      <a:pos x="41" y="7"/>
                    </a:cxn>
                    <a:cxn ang="0">
                      <a:pos x="48" y="0"/>
                    </a:cxn>
                    <a:cxn ang="0">
                      <a:pos x="39" y="1"/>
                    </a:cxn>
                    <a:cxn ang="0">
                      <a:pos x="3" y="36"/>
                    </a:cxn>
                    <a:cxn ang="0">
                      <a:pos x="3" y="36"/>
                    </a:cxn>
                    <a:cxn ang="0">
                      <a:pos x="1" y="49"/>
                    </a:cxn>
                    <a:cxn ang="0">
                      <a:pos x="1" y="49"/>
                    </a:cxn>
                    <a:cxn ang="0">
                      <a:pos x="2" y="51"/>
                    </a:cxn>
                    <a:cxn ang="0">
                      <a:pos x="6" y="58"/>
                    </a:cxn>
                    <a:cxn ang="0">
                      <a:pos x="20" y="86"/>
                    </a:cxn>
                    <a:cxn ang="0">
                      <a:pos x="33" y="91"/>
                    </a:cxn>
                    <a:cxn ang="0">
                      <a:pos x="35" y="92"/>
                    </a:cxn>
                    <a:cxn ang="0">
                      <a:pos x="61" y="174"/>
                    </a:cxn>
                    <a:cxn ang="0">
                      <a:pos x="57" y="112"/>
                    </a:cxn>
                    <a:cxn ang="0">
                      <a:pos x="91" y="34"/>
                    </a:cxn>
                    <a:cxn ang="0">
                      <a:pos x="95" y="32"/>
                    </a:cxn>
                    <a:cxn ang="0">
                      <a:pos x="77" y="46"/>
                    </a:cxn>
                    <a:cxn ang="0">
                      <a:pos x="91" y="34"/>
                    </a:cxn>
                    <a:cxn ang="0">
                      <a:pos x="31" y="56"/>
                    </a:cxn>
                    <a:cxn ang="0">
                      <a:pos x="24" y="44"/>
                    </a:cxn>
                    <a:cxn ang="0">
                      <a:pos x="34" y="61"/>
                    </a:cxn>
                  </a:cxnLst>
                  <a:rect l="0" t="0" r="r" b="b"/>
                  <a:pathLst>
                    <a:path w="123" h="174">
                      <a:moveTo>
                        <a:pt x="122" y="42"/>
                      </a:moveTo>
                      <a:cubicBezTo>
                        <a:pt x="122" y="35"/>
                        <a:pt x="123" y="24"/>
                        <a:pt x="123" y="27"/>
                      </a:cubicBezTo>
                      <a:cubicBezTo>
                        <a:pt x="123" y="26"/>
                        <a:pt x="123" y="26"/>
                        <a:pt x="123" y="26"/>
                      </a:cubicBezTo>
                      <a:cubicBezTo>
                        <a:pt x="122" y="26"/>
                        <a:pt x="122" y="26"/>
                        <a:pt x="122" y="26"/>
                      </a:cubicBezTo>
                      <a:cubicBezTo>
                        <a:pt x="120" y="25"/>
                        <a:pt x="120" y="25"/>
                        <a:pt x="120" y="25"/>
                      </a:cubicBezTo>
                      <a:cubicBezTo>
                        <a:pt x="116" y="22"/>
                        <a:pt x="116" y="22"/>
                        <a:pt x="116" y="22"/>
                      </a:cubicBezTo>
                      <a:cubicBezTo>
                        <a:pt x="108" y="15"/>
                        <a:pt x="108" y="15"/>
                        <a:pt x="108" y="15"/>
                      </a:cubicBezTo>
                      <a:cubicBezTo>
                        <a:pt x="91" y="3"/>
                        <a:pt x="91" y="3"/>
                        <a:pt x="91" y="3"/>
                      </a:cubicBezTo>
                      <a:cubicBezTo>
                        <a:pt x="90" y="2"/>
                        <a:pt x="88" y="1"/>
                        <a:pt x="86" y="1"/>
                      </a:cubicBezTo>
                      <a:cubicBezTo>
                        <a:pt x="85" y="1"/>
                        <a:pt x="85" y="1"/>
                        <a:pt x="85" y="1"/>
                      </a:cubicBezTo>
                      <a:cubicBezTo>
                        <a:pt x="83" y="1"/>
                        <a:pt x="80" y="1"/>
                        <a:pt x="77" y="0"/>
                      </a:cubicBez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84" y="7"/>
                        <a:pt x="84" y="7"/>
                        <a:pt x="84" y="7"/>
                      </a:cubicBezTo>
                      <a:cubicBezTo>
                        <a:pt x="75" y="11"/>
                        <a:pt x="75" y="11"/>
                        <a:pt x="75" y="11"/>
                      </a:cubicBezTo>
                      <a:cubicBezTo>
                        <a:pt x="80" y="18"/>
                        <a:pt x="80" y="18"/>
                        <a:pt x="80" y="18"/>
                      </a:cubicBezTo>
                      <a:cubicBezTo>
                        <a:pt x="68" y="43"/>
                        <a:pt x="68" y="43"/>
                        <a:pt x="68" y="43"/>
                      </a:cubicBezTo>
                      <a:cubicBezTo>
                        <a:pt x="67" y="9"/>
                        <a:pt x="67" y="9"/>
                        <a:pt x="67" y="9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7" y="7"/>
                        <a:pt x="57" y="7"/>
                        <a:pt x="57" y="7"/>
                      </a:cubicBezTo>
                      <a:cubicBezTo>
                        <a:pt x="59" y="9"/>
                        <a:pt x="59" y="9"/>
                        <a:pt x="59" y="9"/>
                      </a:cubicBezTo>
                      <a:cubicBezTo>
                        <a:pt x="57" y="43"/>
                        <a:pt x="57" y="43"/>
                        <a:pt x="57" y="43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50" y="11"/>
                        <a:pt x="50" y="11"/>
                        <a:pt x="50" y="11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8" y="1"/>
                        <a:pt x="48" y="1"/>
                        <a:pt x="48" y="1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5" y="1"/>
                        <a:pt x="43" y="1"/>
                        <a:pt x="40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6" y="1"/>
                        <a:pt x="34" y="3"/>
                        <a:pt x="32" y="5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0" y="61"/>
                        <a:pt x="2" y="43"/>
                        <a:pt x="1" y="48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2" y="49"/>
                        <a:pt x="2" y="49"/>
                        <a:pt x="2" y="49"/>
                      </a:cubicBezTo>
                      <a:cubicBezTo>
                        <a:pt x="2" y="51"/>
                        <a:pt x="2" y="51"/>
                        <a:pt x="2" y="51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6" y="58"/>
                        <a:pt x="6" y="58"/>
                        <a:pt x="6" y="58"/>
                      </a:cubicBezTo>
                      <a:cubicBezTo>
                        <a:pt x="11" y="67"/>
                        <a:pt x="11" y="67"/>
                        <a:pt x="11" y="67"/>
                      </a:cubicBezTo>
                      <a:cubicBezTo>
                        <a:pt x="20" y="86"/>
                        <a:pt x="20" y="86"/>
                        <a:pt x="20" y="86"/>
                      </a:cubicBezTo>
                      <a:cubicBezTo>
                        <a:pt x="25" y="84"/>
                        <a:pt x="29" y="82"/>
                        <a:pt x="33" y="79"/>
                      </a:cubicBezTo>
                      <a:cubicBezTo>
                        <a:pt x="33" y="83"/>
                        <a:pt x="33" y="87"/>
                        <a:pt x="33" y="91"/>
                      </a:cubicBezTo>
                      <a:cubicBezTo>
                        <a:pt x="33" y="92"/>
                        <a:pt x="33" y="92"/>
                        <a:pt x="33" y="92"/>
                      </a:cubicBezTo>
                      <a:cubicBezTo>
                        <a:pt x="35" y="92"/>
                        <a:pt x="35" y="92"/>
                        <a:pt x="35" y="92"/>
                      </a:cubicBezTo>
                      <a:cubicBezTo>
                        <a:pt x="38" y="174"/>
                        <a:pt x="38" y="174"/>
                        <a:pt x="38" y="174"/>
                      </a:cubicBezTo>
                      <a:cubicBezTo>
                        <a:pt x="61" y="174"/>
                        <a:pt x="61" y="174"/>
                        <a:pt x="61" y="174"/>
                      </a:cubicBezTo>
                      <a:cubicBezTo>
                        <a:pt x="62" y="163"/>
                        <a:pt x="62" y="150"/>
                        <a:pt x="62" y="137"/>
                      </a:cubicBezTo>
                      <a:cubicBezTo>
                        <a:pt x="59" y="129"/>
                        <a:pt x="57" y="121"/>
                        <a:pt x="57" y="112"/>
                      </a:cubicBezTo>
                      <a:cubicBezTo>
                        <a:pt x="57" y="75"/>
                        <a:pt x="86" y="45"/>
                        <a:pt x="122" y="42"/>
                      </a:cubicBezTo>
                      <a:close/>
                      <a:moveTo>
                        <a:pt x="91" y="34"/>
                      </a:moveTo>
                      <a:cubicBezTo>
                        <a:pt x="91" y="32"/>
                        <a:pt x="91" y="30"/>
                        <a:pt x="90" y="28"/>
                      </a:cubicBezTo>
                      <a:cubicBezTo>
                        <a:pt x="95" y="32"/>
                        <a:pt x="95" y="32"/>
                        <a:pt x="95" y="32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ubicBezTo>
                        <a:pt x="77" y="46"/>
                        <a:pt x="77" y="46"/>
                        <a:pt x="77" y="46"/>
                      </a:cubicBezTo>
                      <a:cubicBezTo>
                        <a:pt x="75" y="43"/>
                        <a:pt x="75" y="43"/>
                        <a:pt x="75" y="43"/>
                      </a:cubicBezTo>
                      <a:lnTo>
                        <a:pt x="91" y="34"/>
                      </a:lnTo>
                      <a:close/>
                      <a:moveTo>
                        <a:pt x="34" y="61"/>
                      </a:moveTo>
                      <a:cubicBezTo>
                        <a:pt x="31" y="56"/>
                        <a:pt x="31" y="56"/>
                        <a:pt x="31" y="56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4" y="44"/>
                        <a:pt x="24" y="44"/>
                        <a:pt x="24" y="44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cubicBezTo>
                        <a:pt x="34" y="41"/>
                        <a:pt x="34" y="51"/>
                        <a:pt x="34" y="6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113" name="Freeform 275"/>
                <p:cNvSpPr>
                  <a:spLocks/>
                </p:cNvSpPr>
                <p:nvPr/>
              </p:nvSpPr>
              <p:spPr bwMode="auto">
                <a:xfrm>
                  <a:off x="-2154238" y="287337"/>
                  <a:ext cx="141287" cy="1635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" y="29"/>
                    </a:cxn>
                    <a:cxn ang="0">
                      <a:pos x="25" y="29"/>
                    </a:cxn>
                    <a:cxn ang="0">
                      <a:pos x="25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5" h="29">
                      <a:moveTo>
                        <a:pt x="0" y="0"/>
                      </a:move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25" y="29"/>
                        <a:pt x="25" y="29"/>
                        <a:pt x="25" y="29"/>
                      </a:cubicBezTo>
                      <a:cubicBezTo>
                        <a:pt x="25" y="28"/>
                        <a:pt x="25" y="27"/>
                        <a:pt x="25" y="26"/>
                      </a:cubicBezTo>
                      <a:cubicBezTo>
                        <a:pt x="15" y="19"/>
                        <a:pt x="6" y="10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</p:grpSp>
          <p:sp>
            <p:nvSpPr>
              <p:cNvPr id="110" name="Freeform 209"/>
              <p:cNvSpPr>
                <a:spLocks noEditPoints="1"/>
              </p:cNvSpPr>
              <p:nvPr/>
            </p:nvSpPr>
            <p:spPr bwMode="auto">
              <a:xfrm>
                <a:off x="7032625" y="4046538"/>
                <a:ext cx="709611" cy="709611"/>
              </a:xfrm>
              <a:custGeom>
                <a:avLst/>
                <a:gdLst/>
                <a:ahLst/>
                <a:cxnLst>
                  <a:cxn ang="0">
                    <a:pos x="114" y="40"/>
                  </a:cxn>
                  <a:cxn ang="0">
                    <a:pos x="109" y="41"/>
                  </a:cxn>
                  <a:cxn ang="0">
                    <a:pos x="103" y="34"/>
                  </a:cxn>
                  <a:cxn ang="0">
                    <a:pos x="109" y="25"/>
                  </a:cxn>
                  <a:cxn ang="0">
                    <a:pos x="96" y="16"/>
                  </a:cxn>
                  <a:cxn ang="0">
                    <a:pos x="88" y="19"/>
                  </a:cxn>
                  <a:cxn ang="0">
                    <a:pos x="87" y="10"/>
                  </a:cxn>
                  <a:cxn ang="0">
                    <a:pos x="74" y="2"/>
                  </a:cxn>
                  <a:cxn ang="0">
                    <a:pos x="70" y="3"/>
                  </a:cxn>
                  <a:cxn ang="0">
                    <a:pos x="59" y="10"/>
                  </a:cxn>
                  <a:cxn ang="0">
                    <a:pos x="55" y="0"/>
                  </a:cxn>
                  <a:cxn ang="0">
                    <a:pos x="47" y="2"/>
                  </a:cxn>
                  <a:cxn ang="0">
                    <a:pos x="45" y="2"/>
                  </a:cxn>
                  <a:cxn ang="0">
                    <a:pos x="40" y="6"/>
                  </a:cxn>
                  <a:cxn ang="0">
                    <a:pos x="34" y="16"/>
                  </a:cxn>
                  <a:cxn ang="0">
                    <a:pos x="26" y="11"/>
                  </a:cxn>
                  <a:cxn ang="0">
                    <a:pos x="16" y="19"/>
                  </a:cxn>
                  <a:cxn ang="0">
                    <a:pos x="21" y="29"/>
                  </a:cxn>
                  <a:cxn ang="0">
                    <a:pos x="14" y="34"/>
                  </a:cxn>
                  <a:cxn ang="0">
                    <a:pos x="6" y="34"/>
                  </a:cxn>
                  <a:cxn ang="0">
                    <a:pos x="2" y="46"/>
                  </a:cxn>
                  <a:cxn ang="0">
                    <a:pos x="10" y="52"/>
                  </a:cxn>
                  <a:cxn ang="0">
                    <a:pos x="3" y="61"/>
                  </a:cxn>
                  <a:cxn ang="0">
                    <a:pos x="2" y="77"/>
                  </a:cxn>
                  <a:cxn ang="0">
                    <a:pos x="13" y="78"/>
                  </a:cxn>
                  <a:cxn ang="0">
                    <a:pos x="11" y="89"/>
                  </a:cxn>
                  <a:cxn ang="0">
                    <a:pos x="19" y="103"/>
                  </a:cxn>
                  <a:cxn ang="0">
                    <a:pos x="29" y="99"/>
                  </a:cxn>
                  <a:cxn ang="0">
                    <a:pos x="33" y="110"/>
                  </a:cxn>
                  <a:cxn ang="0">
                    <a:pos x="46" y="118"/>
                  </a:cxn>
                  <a:cxn ang="0">
                    <a:pos x="52" y="109"/>
                  </a:cxn>
                  <a:cxn ang="0">
                    <a:pos x="61" y="117"/>
                  </a:cxn>
                  <a:cxn ang="0">
                    <a:pos x="77" y="117"/>
                  </a:cxn>
                  <a:cxn ang="0">
                    <a:pos x="78" y="106"/>
                  </a:cxn>
                  <a:cxn ang="0">
                    <a:pos x="90" y="108"/>
                  </a:cxn>
                  <a:cxn ang="0">
                    <a:pos x="103" y="101"/>
                  </a:cxn>
                  <a:cxn ang="0">
                    <a:pos x="99" y="91"/>
                  </a:cxn>
                  <a:cxn ang="0">
                    <a:pos x="110" y="87"/>
                  </a:cxn>
                  <a:cxn ang="0">
                    <a:pos x="118" y="73"/>
                  </a:cxn>
                  <a:cxn ang="0">
                    <a:pos x="109" y="67"/>
                  </a:cxn>
                  <a:cxn ang="0">
                    <a:pos x="117" y="58"/>
                  </a:cxn>
                  <a:cxn ang="0">
                    <a:pos x="117" y="44"/>
                  </a:cxn>
                  <a:cxn ang="0">
                    <a:pos x="23" y="67"/>
                  </a:cxn>
                  <a:cxn ang="0">
                    <a:pos x="24" y="47"/>
                  </a:cxn>
                  <a:cxn ang="0">
                    <a:pos x="50" y="23"/>
                  </a:cxn>
                  <a:cxn ang="0">
                    <a:pos x="51" y="39"/>
                  </a:cxn>
                  <a:cxn ang="0">
                    <a:pos x="47" y="41"/>
                  </a:cxn>
                  <a:cxn ang="0">
                    <a:pos x="37" y="60"/>
                  </a:cxn>
                  <a:cxn ang="0">
                    <a:pos x="66" y="97"/>
                  </a:cxn>
                  <a:cxn ang="0">
                    <a:pos x="48" y="79"/>
                  </a:cxn>
                  <a:cxn ang="0">
                    <a:pos x="68" y="81"/>
                  </a:cxn>
                  <a:cxn ang="0">
                    <a:pos x="66" y="97"/>
                  </a:cxn>
                  <a:cxn ang="0">
                    <a:pos x="82" y="64"/>
                  </a:cxn>
                  <a:cxn ang="0">
                    <a:pos x="74" y="42"/>
                  </a:cxn>
                  <a:cxn ang="0">
                    <a:pos x="74" y="25"/>
                  </a:cxn>
                  <a:cxn ang="0">
                    <a:pos x="89" y="36"/>
                  </a:cxn>
                  <a:cxn ang="0">
                    <a:pos x="97" y="53"/>
                  </a:cxn>
                </a:cxnLst>
                <a:rect l="0" t="0" r="r" b="b"/>
                <a:pathLst>
                  <a:path w="119" h="119">
                    <a:moveTo>
                      <a:pt x="117" y="42"/>
                    </a:moveTo>
                    <a:cubicBezTo>
                      <a:pt x="117" y="41"/>
                      <a:pt x="115" y="40"/>
                      <a:pt x="114" y="40"/>
                    </a:cubicBezTo>
                    <a:cubicBezTo>
                      <a:pt x="114" y="40"/>
                      <a:pt x="113" y="40"/>
                      <a:pt x="113" y="40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6" y="41"/>
                      <a:pt x="106" y="41"/>
                      <a:pt x="106" y="41"/>
                    </a:cubicBezTo>
                    <a:cubicBezTo>
                      <a:pt x="105" y="39"/>
                      <a:pt x="104" y="37"/>
                      <a:pt x="103" y="34"/>
                    </a:cubicBezTo>
                    <a:cubicBezTo>
                      <a:pt x="108" y="30"/>
                      <a:pt x="108" y="30"/>
                      <a:pt x="108" y="30"/>
                    </a:cubicBezTo>
                    <a:cubicBezTo>
                      <a:pt x="110" y="29"/>
                      <a:pt x="110" y="27"/>
                      <a:pt x="109" y="25"/>
                    </a:cubicBezTo>
                    <a:cubicBezTo>
                      <a:pt x="101" y="16"/>
                      <a:pt x="101" y="16"/>
                      <a:pt x="101" y="16"/>
                    </a:cubicBezTo>
                    <a:cubicBezTo>
                      <a:pt x="100" y="15"/>
                      <a:pt x="98" y="15"/>
                      <a:pt x="96" y="16"/>
                    </a:cubicBezTo>
                    <a:cubicBezTo>
                      <a:pt x="91" y="21"/>
                      <a:pt x="91" y="21"/>
                      <a:pt x="91" y="21"/>
                    </a:cubicBezTo>
                    <a:cubicBezTo>
                      <a:pt x="90" y="20"/>
                      <a:pt x="89" y="19"/>
                      <a:pt x="88" y="19"/>
                    </a:cubicBezTo>
                    <a:cubicBezTo>
                      <a:pt x="87" y="18"/>
                      <a:pt x="86" y="17"/>
                      <a:pt x="84" y="16"/>
                    </a:cubicBezTo>
                    <a:cubicBezTo>
                      <a:pt x="87" y="10"/>
                      <a:pt x="87" y="10"/>
                      <a:pt x="87" y="10"/>
                    </a:cubicBezTo>
                    <a:cubicBezTo>
                      <a:pt x="87" y="8"/>
                      <a:pt x="87" y="6"/>
                      <a:pt x="85" y="6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2" y="1"/>
                      <a:pt x="70" y="2"/>
                      <a:pt x="70" y="3"/>
                    </a:cubicBezTo>
                    <a:cubicBezTo>
                      <a:pt x="67" y="10"/>
                      <a:pt x="67" y="10"/>
                      <a:pt x="67" y="10"/>
                    </a:cubicBezTo>
                    <a:cubicBezTo>
                      <a:pt x="65" y="10"/>
                      <a:pt x="62" y="10"/>
                      <a:pt x="59" y="10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58" y="1"/>
                      <a:pt x="56" y="0"/>
                      <a:pt x="55" y="0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1" y="3"/>
                      <a:pt x="40" y="4"/>
                      <a:pt x="40" y="6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9" y="14"/>
                      <a:pt x="37" y="15"/>
                      <a:pt x="34" y="16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10"/>
                      <a:pt x="27" y="10"/>
                      <a:pt x="26" y="11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5" y="20"/>
                      <a:pt x="15" y="22"/>
                      <a:pt x="16" y="23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19" y="31"/>
                      <a:pt x="18" y="33"/>
                      <a:pt x="16" y="35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8" y="32"/>
                      <a:pt x="6" y="33"/>
                      <a:pt x="6" y="3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1" y="47"/>
                      <a:pt x="2" y="49"/>
                      <a:pt x="3" y="50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0" y="55"/>
                      <a:pt x="10" y="57"/>
                      <a:pt x="10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0" y="63"/>
                      <a:pt x="0" y="65"/>
                    </a:cubicBezTo>
                    <a:cubicBezTo>
                      <a:pt x="2" y="77"/>
                      <a:pt x="2" y="77"/>
                      <a:pt x="2" y="77"/>
                    </a:cubicBezTo>
                    <a:cubicBezTo>
                      <a:pt x="3" y="78"/>
                      <a:pt x="4" y="80"/>
                      <a:pt x="6" y="79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4" y="80"/>
                      <a:pt x="15" y="83"/>
                      <a:pt x="17" y="85"/>
                    </a:cubicBezTo>
                    <a:cubicBezTo>
                      <a:pt x="11" y="89"/>
                      <a:pt x="11" y="89"/>
                      <a:pt x="11" y="89"/>
                    </a:cubicBezTo>
                    <a:cubicBezTo>
                      <a:pt x="10" y="91"/>
                      <a:pt x="10" y="92"/>
                      <a:pt x="11" y="94"/>
                    </a:cubicBezTo>
                    <a:cubicBezTo>
                      <a:pt x="19" y="103"/>
                      <a:pt x="19" y="103"/>
                      <a:pt x="19" y="103"/>
                    </a:cubicBezTo>
                    <a:cubicBezTo>
                      <a:pt x="20" y="104"/>
                      <a:pt x="22" y="105"/>
                      <a:pt x="23" y="103"/>
                    </a:cubicBezTo>
                    <a:cubicBezTo>
                      <a:pt x="29" y="99"/>
                      <a:pt x="29" y="99"/>
                      <a:pt x="29" y="99"/>
                    </a:cubicBezTo>
                    <a:cubicBezTo>
                      <a:pt x="31" y="100"/>
                      <a:pt x="33" y="102"/>
                      <a:pt x="35" y="103"/>
                    </a:cubicBezTo>
                    <a:cubicBezTo>
                      <a:pt x="33" y="110"/>
                      <a:pt x="33" y="110"/>
                      <a:pt x="33" y="110"/>
                    </a:cubicBezTo>
                    <a:cubicBezTo>
                      <a:pt x="32" y="111"/>
                      <a:pt x="33" y="113"/>
                      <a:pt x="34" y="114"/>
                    </a:cubicBezTo>
                    <a:cubicBezTo>
                      <a:pt x="46" y="118"/>
                      <a:pt x="46" y="118"/>
                      <a:pt x="46" y="118"/>
                    </a:cubicBezTo>
                    <a:cubicBezTo>
                      <a:pt x="48" y="118"/>
                      <a:pt x="49" y="118"/>
                      <a:pt x="50" y="116"/>
                    </a:cubicBezTo>
                    <a:cubicBezTo>
                      <a:pt x="52" y="109"/>
                      <a:pt x="52" y="109"/>
                      <a:pt x="52" y="109"/>
                    </a:cubicBezTo>
                    <a:cubicBezTo>
                      <a:pt x="55" y="109"/>
                      <a:pt x="57" y="110"/>
                      <a:pt x="60" y="110"/>
                    </a:cubicBezTo>
                    <a:cubicBezTo>
                      <a:pt x="61" y="117"/>
                      <a:pt x="61" y="117"/>
                      <a:pt x="61" y="117"/>
                    </a:cubicBezTo>
                    <a:cubicBezTo>
                      <a:pt x="62" y="118"/>
                      <a:pt x="63" y="119"/>
                      <a:pt x="65" y="119"/>
                    </a:cubicBezTo>
                    <a:cubicBezTo>
                      <a:pt x="77" y="117"/>
                      <a:pt x="77" y="117"/>
                      <a:pt x="77" y="117"/>
                    </a:cubicBezTo>
                    <a:cubicBezTo>
                      <a:pt x="79" y="117"/>
                      <a:pt x="80" y="115"/>
                      <a:pt x="79" y="113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80" y="105"/>
                      <a:pt x="83" y="104"/>
                      <a:pt x="85" y="103"/>
                    </a:cubicBezTo>
                    <a:cubicBezTo>
                      <a:pt x="90" y="108"/>
                      <a:pt x="90" y="108"/>
                      <a:pt x="90" y="108"/>
                    </a:cubicBezTo>
                    <a:cubicBezTo>
                      <a:pt x="91" y="109"/>
                      <a:pt x="93" y="110"/>
                      <a:pt x="94" y="108"/>
                    </a:cubicBezTo>
                    <a:cubicBezTo>
                      <a:pt x="103" y="101"/>
                      <a:pt x="103" y="101"/>
                      <a:pt x="103" y="101"/>
                    </a:cubicBezTo>
                    <a:cubicBezTo>
                      <a:pt x="104" y="100"/>
                      <a:pt x="105" y="98"/>
                      <a:pt x="104" y="96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0" y="89"/>
                      <a:pt x="102" y="87"/>
                      <a:pt x="103" y="84"/>
                    </a:cubicBezTo>
                    <a:cubicBezTo>
                      <a:pt x="110" y="87"/>
                      <a:pt x="110" y="87"/>
                      <a:pt x="110" y="87"/>
                    </a:cubicBezTo>
                    <a:cubicBezTo>
                      <a:pt x="111" y="87"/>
                      <a:pt x="113" y="86"/>
                      <a:pt x="114" y="85"/>
                    </a:cubicBezTo>
                    <a:cubicBezTo>
                      <a:pt x="118" y="73"/>
                      <a:pt x="118" y="73"/>
                      <a:pt x="118" y="73"/>
                    </a:cubicBezTo>
                    <a:cubicBezTo>
                      <a:pt x="118" y="72"/>
                      <a:pt x="118" y="70"/>
                      <a:pt x="116" y="69"/>
                    </a:cubicBezTo>
                    <a:cubicBezTo>
                      <a:pt x="109" y="67"/>
                      <a:pt x="109" y="67"/>
                      <a:pt x="109" y="67"/>
                    </a:cubicBezTo>
                    <a:cubicBezTo>
                      <a:pt x="110" y="64"/>
                      <a:pt x="110" y="62"/>
                      <a:pt x="110" y="59"/>
                    </a:cubicBezTo>
                    <a:cubicBezTo>
                      <a:pt x="117" y="58"/>
                      <a:pt x="117" y="58"/>
                      <a:pt x="117" y="58"/>
                    </a:cubicBezTo>
                    <a:cubicBezTo>
                      <a:pt x="118" y="58"/>
                      <a:pt x="119" y="56"/>
                      <a:pt x="119" y="54"/>
                    </a:cubicBezTo>
                    <a:cubicBezTo>
                      <a:pt x="117" y="44"/>
                      <a:pt x="117" y="44"/>
                      <a:pt x="117" y="44"/>
                    </a:cubicBezTo>
                    <a:lnTo>
                      <a:pt x="117" y="42"/>
                    </a:lnTo>
                    <a:close/>
                    <a:moveTo>
                      <a:pt x="23" y="67"/>
                    </a:moveTo>
                    <a:cubicBezTo>
                      <a:pt x="23" y="66"/>
                      <a:pt x="23" y="66"/>
                      <a:pt x="23" y="66"/>
                    </a:cubicBezTo>
                    <a:cubicBezTo>
                      <a:pt x="22" y="60"/>
                      <a:pt x="22" y="53"/>
                      <a:pt x="24" y="47"/>
                    </a:cubicBezTo>
                    <a:cubicBezTo>
                      <a:pt x="28" y="37"/>
                      <a:pt x="36" y="28"/>
                      <a:pt x="47" y="24"/>
                    </a:cubicBezTo>
                    <a:cubicBezTo>
                      <a:pt x="48" y="24"/>
                      <a:pt x="49" y="24"/>
                      <a:pt x="50" y="23"/>
                    </a:cubicBezTo>
                    <a:cubicBezTo>
                      <a:pt x="51" y="23"/>
                      <a:pt x="52" y="23"/>
                      <a:pt x="52" y="23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49" y="39"/>
                      <a:pt x="48" y="40"/>
                      <a:pt x="47" y="41"/>
                    </a:cubicBezTo>
                    <a:cubicBezTo>
                      <a:pt x="42" y="44"/>
                      <a:pt x="39" y="50"/>
                      <a:pt x="38" y="56"/>
                    </a:cubicBezTo>
                    <a:cubicBezTo>
                      <a:pt x="37" y="57"/>
                      <a:pt x="37" y="59"/>
                      <a:pt x="37" y="60"/>
                    </a:cubicBezTo>
                    <a:lnTo>
                      <a:pt x="23" y="67"/>
                    </a:lnTo>
                    <a:close/>
                    <a:moveTo>
                      <a:pt x="66" y="97"/>
                    </a:moveTo>
                    <a:cubicBezTo>
                      <a:pt x="54" y="99"/>
                      <a:pt x="41" y="95"/>
                      <a:pt x="33" y="86"/>
                    </a:cubicBezTo>
                    <a:cubicBezTo>
                      <a:pt x="48" y="79"/>
                      <a:pt x="48" y="79"/>
                      <a:pt x="48" y="79"/>
                    </a:cubicBezTo>
                    <a:cubicBezTo>
                      <a:pt x="52" y="82"/>
                      <a:pt x="58" y="83"/>
                      <a:pt x="64" y="82"/>
                    </a:cubicBezTo>
                    <a:cubicBezTo>
                      <a:pt x="65" y="82"/>
                      <a:pt x="67" y="81"/>
                      <a:pt x="68" y="81"/>
                    </a:cubicBezTo>
                    <a:cubicBezTo>
                      <a:pt x="82" y="90"/>
                      <a:pt x="82" y="90"/>
                      <a:pt x="82" y="90"/>
                    </a:cubicBezTo>
                    <a:cubicBezTo>
                      <a:pt x="77" y="93"/>
                      <a:pt x="72" y="96"/>
                      <a:pt x="66" y="97"/>
                    </a:cubicBezTo>
                    <a:close/>
                    <a:moveTo>
                      <a:pt x="95" y="73"/>
                    </a:moveTo>
                    <a:cubicBezTo>
                      <a:pt x="82" y="64"/>
                      <a:pt x="82" y="64"/>
                      <a:pt x="82" y="64"/>
                    </a:cubicBezTo>
                    <a:cubicBezTo>
                      <a:pt x="82" y="62"/>
                      <a:pt x="83" y="59"/>
                      <a:pt x="82" y="56"/>
                    </a:cubicBezTo>
                    <a:cubicBezTo>
                      <a:pt x="81" y="50"/>
                      <a:pt x="78" y="45"/>
                      <a:pt x="74" y="42"/>
                    </a:cubicBezTo>
                    <a:cubicBezTo>
                      <a:pt x="73" y="42"/>
                      <a:pt x="73" y="41"/>
                      <a:pt x="72" y="41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80" y="27"/>
                      <a:pt x="85" y="31"/>
                      <a:pt x="89" y="36"/>
                    </a:cubicBezTo>
                    <a:cubicBezTo>
                      <a:pt x="91" y="38"/>
                      <a:pt x="93" y="41"/>
                      <a:pt x="94" y="44"/>
                    </a:cubicBezTo>
                    <a:cubicBezTo>
                      <a:pt x="95" y="47"/>
                      <a:pt x="96" y="50"/>
                      <a:pt x="97" y="53"/>
                    </a:cubicBezTo>
                    <a:cubicBezTo>
                      <a:pt x="98" y="60"/>
                      <a:pt x="97" y="67"/>
                      <a:pt x="95" y="7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</p:grpSp>
        <p:grpSp>
          <p:nvGrpSpPr>
            <p:cNvPr id="81" name="Group 4"/>
            <p:cNvGrpSpPr>
              <a:grpSpLocks noChangeAspect="1"/>
            </p:cNvGrpSpPr>
            <p:nvPr userDrawn="1"/>
          </p:nvGrpSpPr>
          <p:grpSpPr bwMode="auto">
            <a:xfrm>
              <a:off x="713661" y="113741"/>
              <a:ext cx="69318" cy="90152"/>
              <a:chOff x="3655" y="1900"/>
              <a:chExt cx="366" cy="476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93" name="Freeform 5"/>
              <p:cNvSpPr>
                <a:spLocks noEditPoints="1"/>
              </p:cNvSpPr>
              <p:nvPr/>
            </p:nvSpPr>
            <p:spPr bwMode="auto">
              <a:xfrm>
                <a:off x="3953" y="1971"/>
                <a:ext cx="68" cy="132"/>
              </a:xfrm>
              <a:custGeom>
                <a:avLst/>
                <a:gdLst>
                  <a:gd name="T0" fmla="*/ 31 w 38"/>
                  <a:gd name="T1" fmla="*/ 74 h 74"/>
                  <a:gd name="T2" fmla="*/ 27 w 38"/>
                  <a:gd name="T3" fmla="*/ 73 h 74"/>
                  <a:gd name="T4" fmla="*/ 18 w 38"/>
                  <a:gd name="T5" fmla="*/ 52 h 74"/>
                  <a:gd name="T6" fmla="*/ 17 w 38"/>
                  <a:gd name="T7" fmla="*/ 49 h 74"/>
                  <a:gd name="T8" fmla="*/ 2 w 38"/>
                  <a:gd name="T9" fmla="*/ 10 h 74"/>
                  <a:gd name="T10" fmla="*/ 4 w 38"/>
                  <a:gd name="T11" fmla="*/ 2 h 74"/>
                  <a:gd name="T12" fmla="*/ 12 w 38"/>
                  <a:gd name="T13" fmla="*/ 4 h 74"/>
                  <a:gd name="T14" fmla="*/ 29 w 38"/>
                  <a:gd name="T15" fmla="*/ 46 h 74"/>
                  <a:gd name="T16" fmla="*/ 29 w 38"/>
                  <a:gd name="T17" fmla="*/ 48 h 74"/>
                  <a:gd name="T18" fmla="*/ 30 w 38"/>
                  <a:gd name="T19" fmla="*/ 49 h 74"/>
                  <a:gd name="T20" fmla="*/ 34 w 38"/>
                  <a:gd name="T21" fmla="*/ 63 h 74"/>
                  <a:gd name="T22" fmla="*/ 36 w 38"/>
                  <a:gd name="T23" fmla="*/ 72 h 74"/>
                  <a:gd name="T24" fmla="*/ 31 w 38"/>
                  <a:gd name="T25" fmla="*/ 74 h 74"/>
                  <a:gd name="T26" fmla="*/ 31 w 38"/>
                  <a:gd name="T27" fmla="*/ 74 h 74"/>
                  <a:gd name="T28" fmla="*/ 31 w 38"/>
                  <a:gd name="T2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74">
                    <a:moveTo>
                      <a:pt x="31" y="74"/>
                    </a:moveTo>
                    <a:cubicBezTo>
                      <a:pt x="29" y="74"/>
                      <a:pt x="28" y="74"/>
                      <a:pt x="27" y="73"/>
                    </a:cubicBezTo>
                    <a:cubicBezTo>
                      <a:pt x="23" y="70"/>
                      <a:pt x="19" y="60"/>
                      <a:pt x="18" y="52"/>
                    </a:cubicBezTo>
                    <a:cubicBezTo>
                      <a:pt x="17" y="52"/>
                      <a:pt x="17" y="51"/>
                      <a:pt x="17" y="49"/>
                    </a:cubicBezTo>
                    <a:cubicBezTo>
                      <a:pt x="15" y="43"/>
                      <a:pt x="11" y="26"/>
                      <a:pt x="2" y="10"/>
                    </a:cubicBezTo>
                    <a:cubicBezTo>
                      <a:pt x="0" y="7"/>
                      <a:pt x="1" y="3"/>
                      <a:pt x="4" y="2"/>
                    </a:cubicBezTo>
                    <a:cubicBezTo>
                      <a:pt x="7" y="0"/>
                      <a:pt x="11" y="1"/>
                      <a:pt x="12" y="4"/>
                    </a:cubicBezTo>
                    <a:cubicBezTo>
                      <a:pt x="23" y="21"/>
                      <a:pt x="27" y="39"/>
                      <a:pt x="29" y="46"/>
                    </a:cubicBezTo>
                    <a:cubicBezTo>
                      <a:pt x="29" y="47"/>
                      <a:pt x="29" y="48"/>
                      <a:pt x="29" y="48"/>
                    </a:cubicBezTo>
                    <a:cubicBezTo>
                      <a:pt x="29" y="48"/>
                      <a:pt x="30" y="49"/>
                      <a:pt x="30" y="49"/>
                    </a:cubicBezTo>
                    <a:cubicBezTo>
                      <a:pt x="31" y="55"/>
                      <a:pt x="33" y="62"/>
                      <a:pt x="34" y="63"/>
                    </a:cubicBezTo>
                    <a:cubicBezTo>
                      <a:pt x="37" y="65"/>
                      <a:pt x="38" y="69"/>
                      <a:pt x="36" y="72"/>
                    </a:cubicBezTo>
                    <a:cubicBezTo>
                      <a:pt x="34" y="73"/>
                      <a:pt x="32" y="74"/>
                      <a:pt x="31" y="74"/>
                    </a:cubicBezTo>
                    <a:close/>
                    <a:moveTo>
                      <a:pt x="31" y="74"/>
                    </a:moveTo>
                    <a:cubicBezTo>
                      <a:pt x="31" y="74"/>
                      <a:pt x="31" y="74"/>
                      <a:pt x="31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94" name="Freeform 6"/>
              <p:cNvSpPr>
                <a:spLocks noEditPoints="1"/>
              </p:cNvSpPr>
              <p:nvPr/>
            </p:nvSpPr>
            <p:spPr bwMode="auto">
              <a:xfrm>
                <a:off x="3810" y="1900"/>
                <a:ext cx="143" cy="62"/>
              </a:xfrm>
              <a:custGeom>
                <a:avLst/>
                <a:gdLst>
                  <a:gd name="T0" fmla="*/ 74 w 80"/>
                  <a:gd name="T1" fmla="*/ 35 h 35"/>
                  <a:gd name="T2" fmla="*/ 69 w 80"/>
                  <a:gd name="T3" fmla="*/ 34 h 35"/>
                  <a:gd name="T4" fmla="*/ 25 w 80"/>
                  <a:gd name="T5" fmla="*/ 12 h 35"/>
                  <a:gd name="T6" fmla="*/ 8 w 80"/>
                  <a:gd name="T7" fmla="*/ 14 h 35"/>
                  <a:gd name="T8" fmla="*/ 1 w 80"/>
                  <a:gd name="T9" fmla="*/ 9 h 35"/>
                  <a:gd name="T10" fmla="*/ 6 w 80"/>
                  <a:gd name="T11" fmla="*/ 2 h 35"/>
                  <a:gd name="T12" fmla="*/ 26 w 80"/>
                  <a:gd name="T13" fmla="*/ 0 h 35"/>
                  <a:gd name="T14" fmla="*/ 26 w 80"/>
                  <a:gd name="T15" fmla="*/ 0 h 35"/>
                  <a:gd name="T16" fmla="*/ 78 w 80"/>
                  <a:gd name="T17" fmla="*/ 25 h 35"/>
                  <a:gd name="T18" fmla="*/ 78 w 80"/>
                  <a:gd name="T19" fmla="*/ 34 h 35"/>
                  <a:gd name="T20" fmla="*/ 74 w 80"/>
                  <a:gd name="T21" fmla="*/ 35 h 35"/>
                  <a:gd name="T22" fmla="*/ 74 w 80"/>
                  <a:gd name="T23" fmla="*/ 35 h 35"/>
                  <a:gd name="T24" fmla="*/ 74 w 80"/>
                  <a:gd name="T2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35">
                    <a:moveTo>
                      <a:pt x="74" y="35"/>
                    </a:moveTo>
                    <a:cubicBezTo>
                      <a:pt x="72" y="35"/>
                      <a:pt x="70" y="35"/>
                      <a:pt x="69" y="34"/>
                    </a:cubicBezTo>
                    <a:cubicBezTo>
                      <a:pt x="57" y="21"/>
                      <a:pt x="42" y="14"/>
                      <a:pt x="25" y="12"/>
                    </a:cubicBezTo>
                    <a:cubicBezTo>
                      <a:pt x="19" y="12"/>
                      <a:pt x="14" y="13"/>
                      <a:pt x="8" y="14"/>
                    </a:cubicBezTo>
                    <a:cubicBezTo>
                      <a:pt x="5" y="14"/>
                      <a:pt x="2" y="12"/>
                      <a:pt x="1" y="9"/>
                    </a:cubicBezTo>
                    <a:cubicBezTo>
                      <a:pt x="0" y="5"/>
                      <a:pt x="3" y="2"/>
                      <a:pt x="6" y="2"/>
                    </a:cubicBezTo>
                    <a:cubicBezTo>
                      <a:pt x="12" y="0"/>
                      <a:pt x="19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46" y="2"/>
                      <a:pt x="64" y="10"/>
                      <a:pt x="78" y="25"/>
                    </a:cubicBezTo>
                    <a:cubicBezTo>
                      <a:pt x="80" y="27"/>
                      <a:pt x="80" y="31"/>
                      <a:pt x="78" y="34"/>
                    </a:cubicBezTo>
                    <a:cubicBezTo>
                      <a:pt x="77" y="35"/>
                      <a:pt x="75" y="35"/>
                      <a:pt x="74" y="35"/>
                    </a:cubicBezTo>
                    <a:close/>
                    <a:moveTo>
                      <a:pt x="74" y="35"/>
                    </a:moveTo>
                    <a:cubicBezTo>
                      <a:pt x="74" y="35"/>
                      <a:pt x="74" y="35"/>
                      <a:pt x="74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95" name="Freeform 7"/>
              <p:cNvSpPr>
                <a:spLocks noEditPoints="1"/>
              </p:cNvSpPr>
              <p:nvPr/>
            </p:nvSpPr>
            <p:spPr bwMode="auto">
              <a:xfrm>
                <a:off x="3657" y="1927"/>
                <a:ext cx="120" cy="119"/>
              </a:xfrm>
              <a:custGeom>
                <a:avLst/>
                <a:gdLst>
                  <a:gd name="T0" fmla="*/ 6 w 67"/>
                  <a:gd name="T1" fmla="*/ 67 h 67"/>
                  <a:gd name="T2" fmla="*/ 5 w 67"/>
                  <a:gd name="T3" fmla="*/ 67 h 67"/>
                  <a:gd name="T4" fmla="*/ 0 w 67"/>
                  <a:gd name="T5" fmla="*/ 62 h 67"/>
                  <a:gd name="T6" fmla="*/ 3 w 67"/>
                  <a:gd name="T7" fmla="*/ 56 h 67"/>
                  <a:gd name="T8" fmla="*/ 4 w 67"/>
                  <a:gd name="T9" fmla="*/ 55 h 67"/>
                  <a:gd name="T10" fmla="*/ 14 w 67"/>
                  <a:gd name="T11" fmla="*/ 46 h 67"/>
                  <a:gd name="T12" fmla="*/ 15 w 67"/>
                  <a:gd name="T13" fmla="*/ 44 h 67"/>
                  <a:gd name="T14" fmla="*/ 24 w 67"/>
                  <a:gd name="T15" fmla="*/ 33 h 67"/>
                  <a:gd name="T16" fmla="*/ 56 w 67"/>
                  <a:gd name="T17" fmla="*/ 2 h 67"/>
                  <a:gd name="T18" fmla="*/ 65 w 67"/>
                  <a:gd name="T19" fmla="*/ 3 h 67"/>
                  <a:gd name="T20" fmla="*/ 63 w 67"/>
                  <a:gd name="T21" fmla="*/ 12 h 67"/>
                  <a:gd name="T22" fmla="*/ 33 w 67"/>
                  <a:gd name="T23" fmla="*/ 41 h 67"/>
                  <a:gd name="T24" fmla="*/ 25 w 67"/>
                  <a:gd name="T25" fmla="*/ 51 h 67"/>
                  <a:gd name="T26" fmla="*/ 24 w 67"/>
                  <a:gd name="T27" fmla="*/ 53 h 67"/>
                  <a:gd name="T28" fmla="*/ 14 w 67"/>
                  <a:gd name="T29" fmla="*/ 63 h 67"/>
                  <a:gd name="T30" fmla="*/ 6 w 67"/>
                  <a:gd name="T31" fmla="*/ 67 h 67"/>
                  <a:gd name="T32" fmla="*/ 6 w 67"/>
                  <a:gd name="T33" fmla="*/ 67 h 67"/>
                  <a:gd name="T34" fmla="*/ 6 w 67"/>
                  <a:gd name="T3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7" h="67">
                    <a:moveTo>
                      <a:pt x="6" y="67"/>
                    </a:moveTo>
                    <a:cubicBezTo>
                      <a:pt x="6" y="67"/>
                      <a:pt x="6" y="67"/>
                      <a:pt x="5" y="67"/>
                    </a:cubicBezTo>
                    <a:cubicBezTo>
                      <a:pt x="3" y="66"/>
                      <a:pt x="1" y="64"/>
                      <a:pt x="0" y="62"/>
                    </a:cubicBezTo>
                    <a:cubicBezTo>
                      <a:pt x="0" y="59"/>
                      <a:pt x="1" y="57"/>
                      <a:pt x="3" y="56"/>
                    </a:cubicBezTo>
                    <a:cubicBezTo>
                      <a:pt x="3" y="55"/>
                      <a:pt x="4" y="55"/>
                      <a:pt x="4" y="55"/>
                    </a:cubicBezTo>
                    <a:cubicBezTo>
                      <a:pt x="6" y="54"/>
                      <a:pt x="10" y="51"/>
                      <a:pt x="14" y="46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8" y="41"/>
                      <a:pt x="20" y="37"/>
                      <a:pt x="24" y="33"/>
                    </a:cubicBezTo>
                    <a:cubicBezTo>
                      <a:pt x="34" y="20"/>
                      <a:pt x="45" y="10"/>
                      <a:pt x="56" y="2"/>
                    </a:cubicBezTo>
                    <a:cubicBezTo>
                      <a:pt x="59" y="0"/>
                      <a:pt x="63" y="1"/>
                      <a:pt x="65" y="3"/>
                    </a:cubicBezTo>
                    <a:cubicBezTo>
                      <a:pt x="67" y="6"/>
                      <a:pt x="66" y="10"/>
                      <a:pt x="63" y="12"/>
                    </a:cubicBezTo>
                    <a:cubicBezTo>
                      <a:pt x="53" y="19"/>
                      <a:pt x="43" y="29"/>
                      <a:pt x="33" y="41"/>
                    </a:cubicBezTo>
                    <a:cubicBezTo>
                      <a:pt x="30" y="45"/>
                      <a:pt x="27" y="48"/>
                      <a:pt x="25" y="51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0" y="58"/>
                      <a:pt x="17" y="61"/>
                      <a:pt x="14" y="63"/>
                    </a:cubicBezTo>
                    <a:cubicBezTo>
                      <a:pt x="10" y="66"/>
                      <a:pt x="8" y="67"/>
                      <a:pt x="6" y="67"/>
                    </a:cubicBezTo>
                    <a:close/>
                    <a:moveTo>
                      <a:pt x="6" y="67"/>
                    </a:moveTo>
                    <a:cubicBezTo>
                      <a:pt x="6" y="67"/>
                      <a:pt x="6" y="67"/>
                      <a:pt x="6" y="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96" name="Freeform 8"/>
              <p:cNvSpPr>
                <a:spLocks noEditPoints="1"/>
              </p:cNvSpPr>
              <p:nvPr/>
            </p:nvSpPr>
            <p:spPr bwMode="auto">
              <a:xfrm>
                <a:off x="3655" y="2114"/>
                <a:ext cx="81" cy="44"/>
              </a:xfrm>
              <a:custGeom>
                <a:avLst/>
                <a:gdLst>
                  <a:gd name="T0" fmla="*/ 7 w 45"/>
                  <a:gd name="T1" fmla="*/ 25 h 25"/>
                  <a:gd name="T2" fmla="*/ 1 w 45"/>
                  <a:gd name="T3" fmla="*/ 21 h 25"/>
                  <a:gd name="T4" fmla="*/ 6 w 45"/>
                  <a:gd name="T5" fmla="*/ 13 h 25"/>
                  <a:gd name="T6" fmla="*/ 35 w 45"/>
                  <a:gd name="T7" fmla="*/ 1 h 25"/>
                  <a:gd name="T8" fmla="*/ 44 w 45"/>
                  <a:gd name="T9" fmla="*/ 4 h 25"/>
                  <a:gd name="T10" fmla="*/ 41 w 45"/>
                  <a:gd name="T11" fmla="*/ 12 h 25"/>
                  <a:gd name="T12" fmla="*/ 9 w 45"/>
                  <a:gd name="T13" fmla="*/ 25 h 25"/>
                  <a:gd name="T14" fmla="*/ 7 w 45"/>
                  <a:gd name="T15" fmla="*/ 25 h 25"/>
                  <a:gd name="T16" fmla="*/ 7 w 45"/>
                  <a:gd name="T17" fmla="*/ 25 h 25"/>
                  <a:gd name="T18" fmla="*/ 7 w 45"/>
                  <a:gd name="T1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5" h="25">
                    <a:moveTo>
                      <a:pt x="7" y="25"/>
                    </a:moveTo>
                    <a:cubicBezTo>
                      <a:pt x="4" y="25"/>
                      <a:pt x="2" y="24"/>
                      <a:pt x="1" y="21"/>
                    </a:cubicBezTo>
                    <a:cubicBezTo>
                      <a:pt x="0" y="17"/>
                      <a:pt x="2" y="14"/>
                      <a:pt x="6" y="13"/>
                    </a:cubicBezTo>
                    <a:cubicBezTo>
                      <a:pt x="17" y="10"/>
                      <a:pt x="28" y="5"/>
                      <a:pt x="35" y="1"/>
                    </a:cubicBezTo>
                    <a:cubicBezTo>
                      <a:pt x="38" y="0"/>
                      <a:pt x="42" y="1"/>
                      <a:pt x="44" y="4"/>
                    </a:cubicBezTo>
                    <a:cubicBezTo>
                      <a:pt x="45" y="7"/>
                      <a:pt x="44" y="11"/>
                      <a:pt x="41" y="12"/>
                    </a:cubicBezTo>
                    <a:cubicBezTo>
                      <a:pt x="33" y="16"/>
                      <a:pt x="21" y="22"/>
                      <a:pt x="9" y="25"/>
                    </a:cubicBezTo>
                    <a:cubicBezTo>
                      <a:pt x="8" y="25"/>
                      <a:pt x="8" y="25"/>
                      <a:pt x="7" y="25"/>
                    </a:cubicBezTo>
                    <a:close/>
                    <a:moveTo>
                      <a:pt x="7" y="25"/>
                    </a:moveTo>
                    <a:cubicBezTo>
                      <a:pt x="7" y="25"/>
                      <a:pt x="7" y="25"/>
                      <a:pt x="7" y="2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97" name="Freeform 9"/>
              <p:cNvSpPr>
                <a:spLocks noEditPoints="1"/>
              </p:cNvSpPr>
              <p:nvPr/>
            </p:nvSpPr>
            <p:spPr bwMode="auto">
              <a:xfrm>
                <a:off x="3738" y="1989"/>
                <a:ext cx="211" cy="132"/>
              </a:xfrm>
              <a:custGeom>
                <a:avLst/>
                <a:gdLst>
                  <a:gd name="T0" fmla="*/ 7 w 118"/>
                  <a:gd name="T1" fmla="*/ 74 h 74"/>
                  <a:gd name="T2" fmla="*/ 2 w 118"/>
                  <a:gd name="T3" fmla="*/ 71 h 74"/>
                  <a:gd name="T4" fmla="*/ 3 w 118"/>
                  <a:gd name="T5" fmla="*/ 63 h 74"/>
                  <a:gd name="T6" fmla="*/ 45 w 118"/>
                  <a:gd name="T7" fmla="*/ 27 h 74"/>
                  <a:gd name="T8" fmla="*/ 94 w 118"/>
                  <a:gd name="T9" fmla="*/ 5 h 74"/>
                  <a:gd name="T10" fmla="*/ 117 w 118"/>
                  <a:gd name="T11" fmla="*/ 27 h 74"/>
                  <a:gd name="T12" fmla="*/ 113 w 118"/>
                  <a:gd name="T13" fmla="*/ 34 h 74"/>
                  <a:gd name="T14" fmla="*/ 105 w 118"/>
                  <a:gd name="T15" fmla="*/ 30 h 74"/>
                  <a:gd name="T16" fmla="*/ 90 w 118"/>
                  <a:gd name="T17" fmla="*/ 17 h 74"/>
                  <a:gd name="T18" fmla="*/ 54 w 118"/>
                  <a:gd name="T19" fmla="*/ 35 h 74"/>
                  <a:gd name="T20" fmla="*/ 10 w 118"/>
                  <a:gd name="T21" fmla="*/ 73 h 74"/>
                  <a:gd name="T22" fmla="*/ 7 w 118"/>
                  <a:gd name="T23" fmla="*/ 74 h 74"/>
                  <a:gd name="T24" fmla="*/ 7 w 118"/>
                  <a:gd name="T25" fmla="*/ 74 h 74"/>
                  <a:gd name="T26" fmla="*/ 7 w 118"/>
                  <a:gd name="T27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8" h="74">
                    <a:moveTo>
                      <a:pt x="7" y="74"/>
                    </a:moveTo>
                    <a:cubicBezTo>
                      <a:pt x="5" y="74"/>
                      <a:pt x="3" y="73"/>
                      <a:pt x="2" y="71"/>
                    </a:cubicBezTo>
                    <a:cubicBezTo>
                      <a:pt x="0" y="69"/>
                      <a:pt x="0" y="65"/>
                      <a:pt x="3" y="63"/>
                    </a:cubicBezTo>
                    <a:cubicBezTo>
                      <a:pt x="25" y="48"/>
                      <a:pt x="45" y="27"/>
                      <a:pt x="45" y="27"/>
                    </a:cubicBezTo>
                    <a:cubicBezTo>
                      <a:pt x="61" y="8"/>
                      <a:pt x="79" y="0"/>
                      <a:pt x="94" y="5"/>
                    </a:cubicBezTo>
                    <a:cubicBezTo>
                      <a:pt x="109" y="9"/>
                      <a:pt x="115" y="19"/>
                      <a:pt x="117" y="27"/>
                    </a:cubicBezTo>
                    <a:cubicBezTo>
                      <a:pt x="118" y="30"/>
                      <a:pt x="116" y="33"/>
                      <a:pt x="113" y="34"/>
                    </a:cubicBezTo>
                    <a:cubicBezTo>
                      <a:pt x="110" y="35"/>
                      <a:pt x="106" y="34"/>
                      <a:pt x="105" y="30"/>
                    </a:cubicBezTo>
                    <a:cubicBezTo>
                      <a:pt x="103" y="24"/>
                      <a:pt x="98" y="19"/>
                      <a:pt x="90" y="17"/>
                    </a:cubicBezTo>
                    <a:cubicBezTo>
                      <a:pt x="79" y="13"/>
                      <a:pt x="64" y="24"/>
                      <a:pt x="54" y="35"/>
                    </a:cubicBezTo>
                    <a:cubicBezTo>
                      <a:pt x="52" y="38"/>
                      <a:pt x="32" y="58"/>
                      <a:pt x="10" y="73"/>
                    </a:cubicBezTo>
                    <a:cubicBezTo>
                      <a:pt x="9" y="74"/>
                      <a:pt x="8" y="74"/>
                      <a:pt x="7" y="74"/>
                    </a:cubicBezTo>
                    <a:close/>
                    <a:moveTo>
                      <a:pt x="7" y="74"/>
                    </a:moveTo>
                    <a:cubicBezTo>
                      <a:pt x="7" y="74"/>
                      <a:pt x="7" y="74"/>
                      <a:pt x="7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98" name="Freeform 10"/>
              <p:cNvSpPr>
                <a:spLocks noEditPoints="1"/>
              </p:cNvSpPr>
              <p:nvPr/>
            </p:nvSpPr>
            <p:spPr bwMode="auto">
              <a:xfrm>
                <a:off x="3677" y="2071"/>
                <a:ext cx="269" cy="203"/>
              </a:xfrm>
              <a:custGeom>
                <a:avLst/>
                <a:gdLst>
                  <a:gd name="T0" fmla="*/ 7 w 150"/>
                  <a:gd name="T1" fmla="*/ 114 h 114"/>
                  <a:gd name="T2" fmla="*/ 1 w 150"/>
                  <a:gd name="T3" fmla="*/ 110 h 114"/>
                  <a:gd name="T4" fmla="*/ 4 w 150"/>
                  <a:gd name="T5" fmla="*/ 102 h 114"/>
                  <a:gd name="T6" fmla="*/ 82 w 150"/>
                  <a:gd name="T7" fmla="*/ 58 h 114"/>
                  <a:gd name="T8" fmla="*/ 138 w 150"/>
                  <a:gd name="T9" fmla="*/ 5 h 114"/>
                  <a:gd name="T10" fmla="*/ 146 w 150"/>
                  <a:gd name="T11" fmla="*/ 1 h 114"/>
                  <a:gd name="T12" fmla="*/ 149 w 150"/>
                  <a:gd name="T13" fmla="*/ 9 h 114"/>
                  <a:gd name="T14" fmla="*/ 89 w 150"/>
                  <a:gd name="T15" fmla="*/ 69 h 114"/>
                  <a:gd name="T16" fmla="*/ 9 w 150"/>
                  <a:gd name="T17" fmla="*/ 113 h 114"/>
                  <a:gd name="T18" fmla="*/ 7 w 150"/>
                  <a:gd name="T19" fmla="*/ 114 h 114"/>
                  <a:gd name="T20" fmla="*/ 7 w 150"/>
                  <a:gd name="T21" fmla="*/ 114 h 114"/>
                  <a:gd name="T22" fmla="*/ 7 w 150"/>
                  <a:gd name="T23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0" h="114">
                    <a:moveTo>
                      <a:pt x="7" y="114"/>
                    </a:moveTo>
                    <a:cubicBezTo>
                      <a:pt x="4" y="114"/>
                      <a:pt x="2" y="113"/>
                      <a:pt x="1" y="110"/>
                    </a:cubicBezTo>
                    <a:cubicBezTo>
                      <a:pt x="0" y="107"/>
                      <a:pt x="1" y="103"/>
                      <a:pt x="4" y="102"/>
                    </a:cubicBezTo>
                    <a:cubicBezTo>
                      <a:pt x="31" y="91"/>
                      <a:pt x="68" y="68"/>
                      <a:pt x="82" y="58"/>
                    </a:cubicBezTo>
                    <a:cubicBezTo>
                      <a:pt x="112" y="39"/>
                      <a:pt x="131" y="20"/>
                      <a:pt x="138" y="5"/>
                    </a:cubicBezTo>
                    <a:cubicBezTo>
                      <a:pt x="139" y="2"/>
                      <a:pt x="143" y="0"/>
                      <a:pt x="146" y="1"/>
                    </a:cubicBezTo>
                    <a:cubicBezTo>
                      <a:pt x="149" y="3"/>
                      <a:pt x="150" y="6"/>
                      <a:pt x="149" y="9"/>
                    </a:cubicBezTo>
                    <a:cubicBezTo>
                      <a:pt x="140" y="33"/>
                      <a:pt x="111" y="54"/>
                      <a:pt x="89" y="69"/>
                    </a:cubicBezTo>
                    <a:cubicBezTo>
                      <a:pt x="74" y="78"/>
                      <a:pt x="36" y="102"/>
                      <a:pt x="9" y="113"/>
                    </a:cubicBezTo>
                    <a:cubicBezTo>
                      <a:pt x="8" y="114"/>
                      <a:pt x="8" y="114"/>
                      <a:pt x="7" y="114"/>
                    </a:cubicBezTo>
                    <a:close/>
                    <a:moveTo>
                      <a:pt x="7" y="114"/>
                    </a:moveTo>
                    <a:cubicBezTo>
                      <a:pt x="7" y="114"/>
                      <a:pt x="7" y="114"/>
                      <a:pt x="7" y="1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99" name="Freeform 11"/>
              <p:cNvSpPr>
                <a:spLocks noEditPoints="1"/>
              </p:cNvSpPr>
              <p:nvPr/>
            </p:nvSpPr>
            <p:spPr bwMode="auto">
              <a:xfrm>
                <a:off x="3766" y="1946"/>
                <a:ext cx="112" cy="73"/>
              </a:xfrm>
              <a:custGeom>
                <a:avLst/>
                <a:gdLst>
                  <a:gd name="T0" fmla="*/ 15 w 62"/>
                  <a:gd name="T1" fmla="*/ 35 h 41"/>
                  <a:gd name="T2" fmla="*/ 33 w 62"/>
                  <a:gd name="T3" fmla="*/ 21 h 41"/>
                  <a:gd name="T4" fmla="*/ 56 w 62"/>
                  <a:gd name="T5" fmla="*/ 13 h 41"/>
                  <a:gd name="T6" fmla="*/ 62 w 62"/>
                  <a:gd name="T7" fmla="*/ 7 h 41"/>
                  <a:gd name="T8" fmla="*/ 56 w 62"/>
                  <a:gd name="T9" fmla="*/ 0 h 41"/>
                  <a:gd name="T10" fmla="*/ 6 w 62"/>
                  <a:gd name="T11" fmla="*/ 26 h 41"/>
                  <a:gd name="T12" fmla="*/ 15 w 62"/>
                  <a:gd name="T13" fmla="*/ 35 h 41"/>
                  <a:gd name="T14" fmla="*/ 15 w 62"/>
                  <a:gd name="T15" fmla="*/ 35 h 41"/>
                  <a:gd name="T16" fmla="*/ 15 w 62"/>
                  <a:gd name="T17" fmla="*/ 3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41">
                    <a:moveTo>
                      <a:pt x="15" y="35"/>
                    </a:moveTo>
                    <a:cubicBezTo>
                      <a:pt x="20" y="30"/>
                      <a:pt x="26" y="25"/>
                      <a:pt x="33" y="21"/>
                    </a:cubicBezTo>
                    <a:cubicBezTo>
                      <a:pt x="40" y="17"/>
                      <a:pt x="48" y="14"/>
                      <a:pt x="56" y="13"/>
                    </a:cubicBezTo>
                    <a:cubicBezTo>
                      <a:pt x="59" y="13"/>
                      <a:pt x="62" y="10"/>
                      <a:pt x="62" y="7"/>
                    </a:cubicBezTo>
                    <a:cubicBezTo>
                      <a:pt x="62" y="4"/>
                      <a:pt x="59" y="0"/>
                      <a:pt x="56" y="0"/>
                    </a:cubicBezTo>
                    <a:cubicBezTo>
                      <a:pt x="36" y="3"/>
                      <a:pt x="20" y="13"/>
                      <a:pt x="6" y="26"/>
                    </a:cubicBezTo>
                    <a:cubicBezTo>
                      <a:pt x="0" y="32"/>
                      <a:pt x="9" y="41"/>
                      <a:pt x="15" y="35"/>
                    </a:cubicBezTo>
                    <a:close/>
                    <a:moveTo>
                      <a:pt x="15" y="35"/>
                    </a:moveTo>
                    <a:cubicBezTo>
                      <a:pt x="15" y="35"/>
                      <a:pt x="15" y="35"/>
                      <a:pt x="15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0" name="Freeform 12"/>
              <p:cNvSpPr>
                <a:spLocks noEditPoints="1"/>
              </p:cNvSpPr>
              <p:nvPr/>
            </p:nvSpPr>
            <p:spPr bwMode="auto">
              <a:xfrm>
                <a:off x="3661" y="2023"/>
                <a:ext cx="105" cy="78"/>
              </a:xfrm>
              <a:custGeom>
                <a:avLst/>
                <a:gdLst>
                  <a:gd name="T0" fmla="*/ 8 w 59"/>
                  <a:gd name="T1" fmla="*/ 43 h 44"/>
                  <a:gd name="T2" fmla="*/ 32 w 59"/>
                  <a:gd name="T3" fmla="*/ 32 h 44"/>
                  <a:gd name="T4" fmla="*/ 54 w 59"/>
                  <a:gd name="T5" fmla="*/ 14 h 44"/>
                  <a:gd name="T6" fmla="*/ 45 w 59"/>
                  <a:gd name="T7" fmla="*/ 6 h 44"/>
                  <a:gd name="T8" fmla="*/ 26 w 59"/>
                  <a:gd name="T9" fmla="*/ 21 h 44"/>
                  <a:gd name="T10" fmla="*/ 5 w 59"/>
                  <a:gd name="T11" fmla="*/ 31 h 44"/>
                  <a:gd name="T12" fmla="*/ 1 w 59"/>
                  <a:gd name="T13" fmla="*/ 39 h 44"/>
                  <a:gd name="T14" fmla="*/ 8 w 59"/>
                  <a:gd name="T15" fmla="*/ 43 h 44"/>
                  <a:gd name="T16" fmla="*/ 8 w 59"/>
                  <a:gd name="T17" fmla="*/ 43 h 44"/>
                  <a:gd name="T18" fmla="*/ 8 w 59"/>
                  <a:gd name="T1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44">
                    <a:moveTo>
                      <a:pt x="8" y="43"/>
                    </a:moveTo>
                    <a:cubicBezTo>
                      <a:pt x="17" y="41"/>
                      <a:pt x="24" y="36"/>
                      <a:pt x="32" y="32"/>
                    </a:cubicBezTo>
                    <a:cubicBezTo>
                      <a:pt x="40" y="28"/>
                      <a:pt x="47" y="21"/>
                      <a:pt x="54" y="14"/>
                    </a:cubicBezTo>
                    <a:cubicBezTo>
                      <a:pt x="59" y="9"/>
                      <a:pt x="50" y="0"/>
                      <a:pt x="45" y="6"/>
                    </a:cubicBezTo>
                    <a:cubicBezTo>
                      <a:pt x="39" y="12"/>
                      <a:pt x="33" y="17"/>
                      <a:pt x="26" y="21"/>
                    </a:cubicBezTo>
                    <a:cubicBezTo>
                      <a:pt x="19" y="25"/>
                      <a:pt x="12" y="29"/>
                      <a:pt x="5" y="31"/>
                    </a:cubicBezTo>
                    <a:cubicBezTo>
                      <a:pt x="2" y="32"/>
                      <a:pt x="0" y="36"/>
                      <a:pt x="1" y="39"/>
                    </a:cubicBezTo>
                    <a:cubicBezTo>
                      <a:pt x="1" y="42"/>
                      <a:pt x="5" y="44"/>
                      <a:pt x="8" y="43"/>
                    </a:cubicBezTo>
                    <a:close/>
                    <a:moveTo>
                      <a:pt x="8" y="43"/>
                    </a:moveTo>
                    <a:cubicBezTo>
                      <a:pt x="8" y="43"/>
                      <a:pt x="8" y="43"/>
                      <a:pt x="8" y="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1" name="Freeform 13"/>
              <p:cNvSpPr>
                <a:spLocks noEditPoints="1"/>
              </p:cNvSpPr>
              <p:nvPr/>
            </p:nvSpPr>
            <p:spPr bwMode="auto">
              <a:xfrm>
                <a:off x="3824" y="2046"/>
                <a:ext cx="75" cy="78"/>
              </a:xfrm>
              <a:custGeom>
                <a:avLst/>
                <a:gdLst>
                  <a:gd name="T0" fmla="*/ 7 w 42"/>
                  <a:gd name="T1" fmla="*/ 44 h 44"/>
                  <a:gd name="T2" fmla="*/ 3 w 42"/>
                  <a:gd name="T3" fmla="*/ 42 h 44"/>
                  <a:gd name="T4" fmla="*/ 3 w 42"/>
                  <a:gd name="T5" fmla="*/ 33 h 44"/>
                  <a:gd name="T6" fmla="*/ 30 w 42"/>
                  <a:gd name="T7" fmla="*/ 4 h 44"/>
                  <a:gd name="T8" fmla="*/ 39 w 42"/>
                  <a:gd name="T9" fmla="*/ 2 h 44"/>
                  <a:gd name="T10" fmla="*/ 40 w 42"/>
                  <a:gd name="T11" fmla="*/ 11 h 44"/>
                  <a:gd name="T12" fmla="*/ 11 w 42"/>
                  <a:gd name="T13" fmla="*/ 43 h 44"/>
                  <a:gd name="T14" fmla="*/ 7 w 42"/>
                  <a:gd name="T15" fmla="*/ 44 h 44"/>
                  <a:gd name="T16" fmla="*/ 7 w 42"/>
                  <a:gd name="T17" fmla="*/ 44 h 44"/>
                  <a:gd name="T18" fmla="*/ 7 w 42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" h="44">
                    <a:moveTo>
                      <a:pt x="7" y="44"/>
                    </a:moveTo>
                    <a:cubicBezTo>
                      <a:pt x="6" y="44"/>
                      <a:pt x="4" y="44"/>
                      <a:pt x="3" y="42"/>
                    </a:cubicBezTo>
                    <a:cubicBezTo>
                      <a:pt x="0" y="40"/>
                      <a:pt x="1" y="36"/>
                      <a:pt x="3" y="33"/>
                    </a:cubicBezTo>
                    <a:cubicBezTo>
                      <a:pt x="14" y="24"/>
                      <a:pt x="23" y="14"/>
                      <a:pt x="30" y="4"/>
                    </a:cubicBezTo>
                    <a:cubicBezTo>
                      <a:pt x="32" y="1"/>
                      <a:pt x="36" y="0"/>
                      <a:pt x="39" y="2"/>
                    </a:cubicBezTo>
                    <a:cubicBezTo>
                      <a:pt x="42" y="4"/>
                      <a:pt x="42" y="8"/>
                      <a:pt x="40" y="11"/>
                    </a:cubicBezTo>
                    <a:cubicBezTo>
                      <a:pt x="33" y="22"/>
                      <a:pt x="23" y="33"/>
                      <a:pt x="11" y="43"/>
                    </a:cubicBezTo>
                    <a:cubicBezTo>
                      <a:pt x="10" y="44"/>
                      <a:pt x="9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2" name="Freeform 14"/>
              <p:cNvSpPr>
                <a:spLocks noEditPoints="1"/>
              </p:cNvSpPr>
              <p:nvPr/>
            </p:nvSpPr>
            <p:spPr bwMode="auto">
              <a:xfrm>
                <a:off x="3662" y="2139"/>
                <a:ext cx="139" cy="78"/>
              </a:xfrm>
              <a:custGeom>
                <a:avLst/>
                <a:gdLst>
                  <a:gd name="T0" fmla="*/ 7 w 77"/>
                  <a:gd name="T1" fmla="*/ 44 h 44"/>
                  <a:gd name="T2" fmla="*/ 1 w 77"/>
                  <a:gd name="T3" fmla="*/ 40 h 44"/>
                  <a:gd name="T4" fmla="*/ 5 w 77"/>
                  <a:gd name="T5" fmla="*/ 32 h 44"/>
                  <a:gd name="T6" fmla="*/ 5 w 77"/>
                  <a:gd name="T7" fmla="*/ 32 h 44"/>
                  <a:gd name="T8" fmla="*/ 47 w 77"/>
                  <a:gd name="T9" fmla="*/ 13 h 44"/>
                  <a:gd name="T10" fmla="*/ 67 w 77"/>
                  <a:gd name="T11" fmla="*/ 1 h 44"/>
                  <a:gd name="T12" fmla="*/ 75 w 77"/>
                  <a:gd name="T13" fmla="*/ 3 h 44"/>
                  <a:gd name="T14" fmla="*/ 74 w 77"/>
                  <a:gd name="T15" fmla="*/ 12 h 44"/>
                  <a:gd name="T16" fmla="*/ 53 w 77"/>
                  <a:gd name="T17" fmla="*/ 24 h 44"/>
                  <a:gd name="T18" fmla="*/ 9 w 77"/>
                  <a:gd name="T19" fmla="*/ 44 h 44"/>
                  <a:gd name="T20" fmla="*/ 9 w 77"/>
                  <a:gd name="T21" fmla="*/ 44 h 44"/>
                  <a:gd name="T22" fmla="*/ 7 w 77"/>
                  <a:gd name="T23" fmla="*/ 44 h 44"/>
                  <a:gd name="T24" fmla="*/ 7 w 77"/>
                  <a:gd name="T25" fmla="*/ 44 h 44"/>
                  <a:gd name="T26" fmla="*/ 7 w 77"/>
                  <a:gd name="T2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7" h="44">
                    <a:moveTo>
                      <a:pt x="7" y="44"/>
                    </a:moveTo>
                    <a:cubicBezTo>
                      <a:pt x="4" y="44"/>
                      <a:pt x="2" y="43"/>
                      <a:pt x="1" y="40"/>
                    </a:cubicBezTo>
                    <a:cubicBezTo>
                      <a:pt x="0" y="37"/>
                      <a:pt x="2" y="33"/>
                      <a:pt x="5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11" y="30"/>
                      <a:pt x="28" y="24"/>
                      <a:pt x="47" y="13"/>
                    </a:cubicBezTo>
                    <a:cubicBezTo>
                      <a:pt x="54" y="9"/>
                      <a:pt x="61" y="5"/>
                      <a:pt x="67" y="1"/>
                    </a:cubicBezTo>
                    <a:cubicBezTo>
                      <a:pt x="70" y="0"/>
                      <a:pt x="73" y="0"/>
                      <a:pt x="75" y="3"/>
                    </a:cubicBezTo>
                    <a:cubicBezTo>
                      <a:pt x="77" y="6"/>
                      <a:pt x="76" y="10"/>
                      <a:pt x="74" y="12"/>
                    </a:cubicBezTo>
                    <a:cubicBezTo>
                      <a:pt x="67" y="16"/>
                      <a:pt x="60" y="20"/>
                      <a:pt x="53" y="24"/>
                    </a:cubicBezTo>
                    <a:cubicBezTo>
                      <a:pt x="33" y="35"/>
                      <a:pt x="16" y="41"/>
                      <a:pt x="9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8" y="44"/>
                      <a:pt x="8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3" name="Freeform 15"/>
              <p:cNvSpPr>
                <a:spLocks noEditPoints="1"/>
              </p:cNvSpPr>
              <p:nvPr/>
            </p:nvSpPr>
            <p:spPr bwMode="auto">
              <a:xfrm>
                <a:off x="3801" y="2215"/>
                <a:ext cx="190" cy="89"/>
              </a:xfrm>
              <a:custGeom>
                <a:avLst/>
                <a:gdLst>
                  <a:gd name="T0" fmla="*/ 99 w 106"/>
                  <a:gd name="T1" fmla="*/ 50 h 50"/>
                  <a:gd name="T2" fmla="*/ 97 w 106"/>
                  <a:gd name="T3" fmla="*/ 49 h 50"/>
                  <a:gd name="T4" fmla="*/ 64 w 106"/>
                  <a:gd name="T5" fmla="*/ 30 h 50"/>
                  <a:gd name="T6" fmla="*/ 36 w 106"/>
                  <a:gd name="T7" fmla="*/ 14 h 50"/>
                  <a:gd name="T8" fmla="*/ 10 w 106"/>
                  <a:gd name="T9" fmla="*/ 29 h 50"/>
                  <a:gd name="T10" fmla="*/ 1 w 106"/>
                  <a:gd name="T11" fmla="*/ 27 h 50"/>
                  <a:gd name="T12" fmla="*/ 3 w 106"/>
                  <a:gd name="T13" fmla="*/ 18 h 50"/>
                  <a:gd name="T14" fmla="*/ 34 w 106"/>
                  <a:gd name="T15" fmla="*/ 2 h 50"/>
                  <a:gd name="T16" fmla="*/ 71 w 106"/>
                  <a:gd name="T17" fmla="*/ 20 h 50"/>
                  <a:gd name="T18" fmla="*/ 101 w 106"/>
                  <a:gd name="T19" fmla="*/ 37 h 50"/>
                  <a:gd name="T20" fmla="*/ 105 w 106"/>
                  <a:gd name="T21" fmla="*/ 45 h 50"/>
                  <a:gd name="T22" fmla="*/ 99 w 106"/>
                  <a:gd name="T23" fmla="*/ 50 h 50"/>
                  <a:gd name="T24" fmla="*/ 99 w 106"/>
                  <a:gd name="T25" fmla="*/ 50 h 50"/>
                  <a:gd name="T26" fmla="*/ 99 w 106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6" h="50">
                    <a:moveTo>
                      <a:pt x="99" y="50"/>
                    </a:moveTo>
                    <a:cubicBezTo>
                      <a:pt x="98" y="50"/>
                      <a:pt x="97" y="49"/>
                      <a:pt x="97" y="49"/>
                    </a:cubicBezTo>
                    <a:cubicBezTo>
                      <a:pt x="86" y="46"/>
                      <a:pt x="75" y="38"/>
                      <a:pt x="64" y="30"/>
                    </a:cubicBezTo>
                    <a:cubicBezTo>
                      <a:pt x="54" y="23"/>
                      <a:pt x="41" y="13"/>
                      <a:pt x="36" y="14"/>
                    </a:cubicBezTo>
                    <a:cubicBezTo>
                      <a:pt x="31" y="15"/>
                      <a:pt x="15" y="25"/>
                      <a:pt x="10" y="29"/>
                    </a:cubicBezTo>
                    <a:cubicBezTo>
                      <a:pt x="7" y="30"/>
                      <a:pt x="3" y="30"/>
                      <a:pt x="1" y="27"/>
                    </a:cubicBezTo>
                    <a:cubicBezTo>
                      <a:pt x="0" y="24"/>
                      <a:pt x="0" y="20"/>
                      <a:pt x="3" y="18"/>
                    </a:cubicBezTo>
                    <a:cubicBezTo>
                      <a:pt x="20" y="8"/>
                      <a:pt x="28" y="3"/>
                      <a:pt x="34" y="2"/>
                    </a:cubicBezTo>
                    <a:cubicBezTo>
                      <a:pt x="44" y="0"/>
                      <a:pt x="57" y="9"/>
                      <a:pt x="71" y="20"/>
                    </a:cubicBezTo>
                    <a:cubicBezTo>
                      <a:pt x="82" y="27"/>
                      <a:pt x="92" y="35"/>
                      <a:pt x="101" y="37"/>
                    </a:cubicBezTo>
                    <a:cubicBezTo>
                      <a:pt x="104" y="39"/>
                      <a:pt x="106" y="42"/>
                      <a:pt x="105" y="45"/>
                    </a:cubicBezTo>
                    <a:cubicBezTo>
                      <a:pt x="104" y="48"/>
                      <a:pt x="101" y="50"/>
                      <a:pt x="99" y="50"/>
                    </a:cubicBezTo>
                    <a:close/>
                    <a:moveTo>
                      <a:pt x="99" y="50"/>
                    </a:moveTo>
                    <a:cubicBezTo>
                      <a:pt x="99" y="50"/>
                      <a:pt x="99" y="50"/>
                      <a:pt x="99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4" name="Freeform 16"/>
              <p:cNvSpPr>
                <a:spLocks noEditPoints="1"/>
              </p:cNvSpPr>
              <p:nvPr/>
            </p:nvSpPr>
            <p:spPr bwMode="auto">
              <a:xfrm>
                <a:off x="3702" y="2260"/>
                <a:ext cx="100" cy="66"/>
              </a:xfrm>
              <a:custGeom>
                <a:avLst/>
                <a:gdLst>
                  <a:gd name="T0" fmla="*/ 7 w 56"/>
                  <a:gd name="T1" fmla="*/ 37 h 37"/>
                  <a:gd name="T2" fmla="*/ 1 w 56"/>
                  <a:gd name="T3" fmla="*/ 33 h 37"/>
                  <a:gd name="T4" fmla="*/ 5 w 56"/>
                  <a:gd name="T5" fmla="*/ 25 h 37"/>
                  <a:gd name="T6" fmla="*/ 45 w 56"/>
                  <a:gd name="T7" fmla="*/ 2 h 37"/>
                  <a:gd name="T8" fmla="*/ 54 w 56"/>
                  <a:gd name="T9" fmla="*/ 4 h 37"/>
                  <a:gd name="T10" fmla="*/ 52 w 56"/>
                  <a:gd name="T11" fmla="*/ 12 h 37"/>
                  <a:gd name="T12" fmla="*/ 9 w 56"/>
                  <a:gd name="T13" fmla="*/ 37 h 37"/>
                  <a:gd name="T14" fmla="*/ 7 w 56"/>
                  <a:gd name="T15" fmla="*/ 37 h 37"/>
                  <a:gd name="T16" fmla="*/ 7 w 56"/>
                  <a:gd name="T17" fmla="*/ 37 h 37"/>
                  <a:gd name="T18" fmla="*/ 7 w 56"/>
                  <a:gd name="T1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37">
                    <a:moveTo>
                      <a:pt x="7" y="37"/>
                    </a:moveTo>
                    <a:cubicBezTo>
                      <a:pt x="4" y="37"/>
                      <a:pt x="2" y="35"/>
                      <a:pt x="1" y="33"/>
                    </a:cubicBezTo>
                    <a:cubicBezTo>
                      <a:pt x="0" y="29"/>
                      <a:pt x="2" y="26"/>
                      <a:pt x="5" y="25"/>
                    </a:cubicBezTo>
                    <a:cubicBezTo>
                      <a:pt x="13" y="23"/>
                      <a:pt x="31" y="11"/>
                      <a:pt x="45" y="2"/>
                    </a:cubicBezTo>
                    <a:cubicBezTo>
                      <a:pt x="48" y="0"/>
                      <a:pt x="52" y="1"/>
                      <a:pt x="54" y="4"/>
                    </a:cubicBezTo>
                    <a:cubicBezTo>
                      <a:pt x="56" y="6"/>
                      <a:pt x="55" y="10"/>
                      <a:pt x="52" y="12"/>
                    </a:cubicBezTo>
                    <a:cubicBezTo>
                      <a:pt x="32" y="25"/>
                      <a:pt x="17" y="35"/>
                      <a:pt x="9" y="37"/>
                    </a:cubicBezTo>
                    <a:cubicBezTo>
                      <a:pt x="8" y="37"/>
                      <a:pt x="7" y="37"/>
                      <a:pt x="7" y="37"/>
                    </a:cubicBezTo>
                    <a:close/>
                    <a:moveTo>
                      <a:pt x="7" y="37"/>
                    </a:moveTo>
                    <a:cubicBezTo>
                      <a:pt x="7" y="37"/>
                      <a:pt x="7" y="37"/>
                      <a:pt x="7" y="3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5" name="Freeform 17"/>
              <p:cNvSpPr>
                <a:spLocks noEditPoints="1"/>
              </p:cNvSpPr>
              <p:nvPr/>
            </p:nvSpPr>
            <p:spPr bwMode="auto">
              <a:xfrm>
                <a:off x="3906" y="2319"/>
                <a:ext cx="56" cy="39"/>
              </a:xfrm>
              <a:custGeom>
                <a:avLst/>
                <a:gdLst>
                  <a:gd name="T0" fmla="*/ 24 w 31"/>
                  <a:gd name="T1" fmla="*/ 22 h 22"/>
                  <a:gd name="T2" fmla="*/ 22 w 31"/>
                  <a:gd name="T3" fmla="*/ 21 h 22"/>
                  <a:gd name="T4" fmla="*/ 4 w 31"/>
                  <a:gd name="T5" fmla="*/ 12 h 22"/>
                  <a:gd name="T6" fmla="*/ 2 w 31"/>
                  <a:gd name="T7" fmla="*/ 4 h 22"/>
                  <a:gd name="T8" fmla="*/ 11 w 31"/>
                  <a:gd name="T9" fmla="*/ 1 h 22"/>
                  <a:gd name="T10" fmla="*/ 26 w 31"/>
                  <a:gd name="T11" fmla="*/ 10 h 22"/>
                  <a:gd name="T12" fmla="*/ 30 w 31"/>
                  <a:gd name="T13" fmla="*/ 18 h 22"/>
                  <a:gd name="T14" fmla="*/ 24 w 31"/>
                  <a:gd name="T15" fmla="*/ 22 h 22"/>
                  <a:gd name="T16" fmla="*/ 24 w 31"/>
                  <a:gd name="T17" fmla="*/ 22 h 22"/>
                  <a:gd name="T18" fmla="*/ 24 w 31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22">
                    <a:moveTo>
                      <a:pt x="24" y="22"/>
                    </a:moveTo>
                    <a:cubicBezTo>
                      <a:pt x="23" y="22"/>
                      <a:pt x="23" y="22"/>
                      <a:pt x="22" y="21"/>
                    </a:cubicBezTo>
                    <a:cubicBezTo>
                      <a:pt x="17" y="20"/>
                      <a:pt x="10" y="16"/>
                      <a:pt x="4" y="12"/>
                    </a:cubicBezTo>
                    <a:cubicBezTo>
                      <a:pt x="1" y="10"/>
                      <a:pt x="0" y="6"/>
                      <a:pt x="2" y="4"/>
                    </a:cubicBezTo>
                    <a:cubicBezTo>
                      <a:pt x="4" y="1"/>
                      <a:pt x="8" y="0"/>
                      <a:pt x="11" y="1"/>
                    </a:cubicBezTo>
                    <a:cubicBezTo>
                      <a:pt x="16" y="5"/>
                      <a:pt x="22" y="8"/>
                      <a:pt x="26" y="10"/>
                    </a:cubicBezTo>
                    <a:cubicBezTo>
                      <a:pt x="29" y="11"/>
                      <a:pt x="31" y="15"/>
                      <a:pt x="30" y="18"/>
                    </a:cubicBezTo>
                    <a:cubicBezTo>
                      <a:pt x="29" y="20"/>
                      <a:pt x="27" y="22"/>
                      <a:pt x="24" y="22"/>
                    </a:cubicBezTo>
                    <a:close/>
                    <a:moveTo>
                      <a:pt x="24" y="22"/>
                    </a:moveTo>
                    <a:cubicBezTo>
                      <a:pt x="24" y="22"/>
                      <a:pt x="24" y="22"/>
                      <a:pt x="24" y="2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6" name="Freeform 18"/>
              <p:cNvSpPr>
                <a:spLocks noEditPoints="1"/>
              </p:cNvSpPr>
              <p:nvPr/>
            </p:nvSpPr>
            <p:spPr bwMode="auto">
              <a:xfrm>
                <a:off x="3741" y="2287"/>
                <a:ext cx="165" cy="89"/>
              </a:xfrm>
              <a:custGeom>
                <a:avLst/>
                <a:gdLst>
                  <a:gd name="T0" fmla="*/ 7 w 92"/>
                  <a:gd name="T1" fmla="*/ 50 h 50"/>
                  <a:gd name="T2" fmla="*/ 2 w 92"/>
                  <a:gd name="T3" fmla="*/ 47 h 50"/>
                  <a:gd name="T4" fmla="*/ 4 w 92"/>
                  <a:gd name="T5" fmla="*/ 39 h 50"/>
                  <a:gd name="T6" fmla="*/ 12 w 92"/>
                  <a:gd name="T7" fmla="*/ 33 h 50"/>
                  <a:gd name="T8" fmla="*/ 63 w 92"/>
                  <a:gd name="T9" fmla="*/ 1 h 50"/>
                  <a:gd name="T10" fmla="*/ 88 w 92"/>
                  <a:gd name="T11" fmla="*/ 10 h 50"/>
                  <a:gd name="T12" fmla="*/ 90 w 92"/>
                  <a:gd name="T13" fmla="*/ 19 h 50"/>
                  <a:gd name="T14" fmla="*/ 81 w 92"/>
                  <a:gd name="T15" fmla="*/ 21 h 50"/>
                  <a:gd name="T16" fmla="*/ 65 w 92"/>
                  <a:gd name="T17" fmla="*/ 13 h 50"/>
                  <a:gd name="T18" fmla="*/ 19 w 92"/>
                  <a:gd name="T19" fmla="*/ 43 h 50"/>
                  <a:gd name="T20" fmla="*/ 11 w 92"/>
                  <a:gd name="T21" fmla="*/ 49 h 50"/>
                  <a:gd name="T22" fmla="*/ 7 w 92"/>
                  <a:gd name="T23" fmla="*/ 50 h 50"/>
                  <a:gd name="T24" fmla="*/ 7 w 92"/>
                  <a:gd name="T25" fmla="*/ 50 h 50"/>
                  <a:gd name="T26" fmla="*/ 7 w 92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50">
                    <a:moveTo>
                      <a:pt x="7" y="50"/>
                    </a:moveTo>
                    <a:cubicBezTo>
                      <a:pt x="5" y="50"/>
                      <a:pt x="3" y="49"/>
                      <a:pt x="2" y="47"/>
                    </a:cubicBezTo>
                    <a:cubicBezTo>
                      <a:pt x="0" y="45"/>
                      <a:pt x="1" y="41"/>
                      <a:pt x="4" y="39"/>
                    </a:cubicBezTo>
                    <a:cubicBezTo>
                      <a:pt x="6" y="37"/>
                      <a:pt x="9" y="35"/>
                      <a:pt x="12" y="33"/>
                    </a:cubicBezTo>
                    <a:cubicBezTo>
                      <a:pt x="39" y="13"/>
                      <a:pt x="55" y="2"/>
                      <a:pt x="63" y="1"/>
                    </a:cubicBezTo>
                    <a:cubicBezTo>
                      <a:pt x="68" y="0"/>
                      <a:pt x="75" y="3"/>
                      <a:pt x="88" y="10"/>
                    </a:cubicBezTo>
                    <a:cubicBezTo>
                      <a:pt x="91" y="12"/>
                      <a:pt x="92" y="16"/>
                      <a:pt x="90" y="19"/>
                    </a:cubicBezTo>
                    <a:cubicBezTo>
                      <a:pt x="88" y="22"/>
                      <a:pt x="84" y="23"/>
                      <a:pt x="81" y="21"/>
                    </a:cubicBezTo>
                    <a:cubicBezTo>
                      <a:pt x="69" y="14"/>
                      <a:pt x="66" y="13"/>
                      <a:pt x="65" y="13"/>
                    </a:cubicBezTo>
                    <a:cubicBezTo>
                      <a:pt x="58" y="14"/>
                      <a:pt x="30" y="35"/>
                      <a:pt x="19" y="43"/>
                    </a:cubicBezTo>
                    <a:cubicBezTo>
                      <a:pt x="16" y="45"/>
                      <a:pt x="13" y="48"/>
                      <a:pt x="11" y="49"/>
                    </a:cubicBezTo>
                    <a:cubicBezTo>
                      <a:pt x="10" y="50"/>
                      <a:pt x="9" y="50"/>
                      <a:pt x="7" y="50"/>
                    </a:cubicBezTo>
                    <a:close/>
                    <a:moveTo>
                      <a:pt x="7" y="50"/>
                    </a:moveTo>
                    <a:cubicBezTo>
                      <a:pt x="7" y="50"/>
                      <a:pt x="7" y="50"/>
                      <a:pt x="7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7" name="Freeform 20"/>
              <p:cNvSpPr>
                <a:spLocks noEditPoints="1"/>
              </p:cNvSpPr>
              <p:nvPr/>
            </p:nvSpPr>
            <p:spPr bwMode="auto">
              <a:xfrm>
                <a:off x="3949" y="2108"/>
                <a:ext cx="72" cy="77"/>
              </a:xfrm>
              <a:custGeom>
                <a:avLst/>
                <a:gdLst>
                  <a:gd name="T0" fmla="*/ 1 w 40"/>
                  <a:gd name="T1" fmla="*/ 11 h 43"/>
                  <a:gd name="T2" fmla="*/ 30 w 40"/>
                  <a:gd name="T3" fmla="*/ 41 h 43"/>
                  <a:gd name="T4" fmla="*/ 38 w 40"/>
                  <a:gd name="T5" fmla="*/ 39 h 43"/>
                  <a:gd name="T6" fmla="*/ 36 w 40"/>
                  <a:gd name="T7" fmla="*/ 31 h 43"/>
                  <a:gd name="T8" fmla="*/ 21 w 40"/>
                  <a:gd name="T9" fmla="*/ 23 h 43"/>
                  <a:gd name="T10" fmla="*/ 13 w 40"/>
                  <a:gd name="T11" fmla="*/ 7 h 43"/>
                  <a:gd name="T12" fmla="*/ 1 w 40"/>
                  <a:gd name="T13" fmla="*/ 11 h 43"/>
                  <a:gd name="T14" fmla="*/ 1 w 40"/>
                  <a:gd name="T15" fmla="*/ 11 h 43"/>
                  <a:gd name="T16" fmla="*/ 1 w 40"/>
                  <a:gd name="T17" fmla="*/ 1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43">
                    <a:moveTo>
                      <a:pt x="1" y="11"/>
                    </a:moveTo>
                    <a:cubicBezTo>
                      <a:pt x="4" y="27"/>
                      <a:pt x="15" y="36"/>
                      <a:pt x="30" y="41"/>
                    </a:cubicBezTo>
                    <a:cubicBezTo>
                      <a:pt x="33" y="43"/>
                      <a:pt x="36" y="42"/>
                      <a:pt x="38" y="39"/>
                    </a:cubicBezTo>
                    <a:cubicBezTo>
                      <a:pt x="40" y="37"/>
                      <a:pt x="39" y="32"/>
                      <a:pt x="36" y="31"/>
                    </a:cubicBezTo>
                    <a:cubicBezTo>
                      <a:pt x="31" y="29"/>
                      <a:pt x="25" y="26"/>
                      <a:pt x="21" y="23"/>
                    </a:cubicBezTo>
                    <a:cubicBezTo>
                      <a:pt x="16" y="19"/>
                      <a:pt x="14" y="13"/>
                      <a:pt x="13" y="7"/>
                    </a:cubicBezTo>
                    <a:cubicBezTo>
                      <a:pt x="12" y="0"/>
                      <a:pt x="0" y="3"/>
                      <a:pt x="1" y="11"/>
                    </a:cubicBezTo>
                    <a:close/>
                    <a:moveTo>
                      <a:pt x="1" y="11"/>
                    </a:moveTo>
                    <a:cubicBezTo>
                      <a:pt x="1" y="11"/>
                      <a:pt x="1" y="11"/>
                      <a:pt x="1" y="1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8" name="Freeform 21"/>
              <p:cNvSpPr>
                <a:spLocks noEditPoints="1"/>
              </p:cNvSpPr>
              <p:nvPr/>
            </p:nvSpPr>
            <p:spPr bwMode="auto">
              <a:xfrm>
                <a:off x="3906" y="2160"/>
                <a:ext cx="99" cy="86"/>
              </a:xfrm>
              <a:custGeom>
                <a:avLst/>
                <a:gdLst>
                  <a:gd name="T0" fmla="*/ 1 w 55"/>
                  <a:gd name="T1" fmla="*/ 8 h 48"/>
                  <a:gd name="T2" fmla="*/ 44 w 55"/>
                  <a:gd name="T3" fmla="*/ 46 h 48"/>
                  <a:gd name="T4" fmla="*/ 48 w 55"/>
                  <a:gd name="T5" fmla="*/ 34 h 48"/>
                  <a:gd name="T6" fmla="*/ 35 w 55"/>
                  <a:gd name="T7" fmla="*/ 28 h 48"/>
                  <a:gd name="T8" fmla="*/ 13 w 55"/>
                  <a:gd name="T9" fmla="*/ 5 h 48"/>
                  <a:gd name="T10" fmla="*/ 6 w 55"/>
                  <a:gd name="T11" fmla="*/ 1 h 48"/>
                  <a:gd name="T12" fmla="*/ 1 w 55"/>
                  <a:gd name="T13" fmla="*/ 8 h 48"/>
                  <a:gd name="T14" fmla="*/ 1 w 55"/>
                  <a:gd name="T15" fmla="*/ 8 h 48"/>
                  <a:gd name="T16" fmla="*/ 1 w 55"/>
                  <a:gd name="T17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48">
                    <a:moveTo>
                      <a:pt x="1" y="8"/>
                    </a:moveTo>
                    <a:cubicBezTo>
                      <a:pt x="9" y="27"/>
                      <a:pt x="26" y="40"/>
                      <a:pt x="44" y="46"/>
                    </a:cubicBezTo>
                    <a:cubicBezTo>
                      <a:pt x="52" y="48"/>
                      <a:pt x="55" y="36"/>
                      <a:pt x="48" y="34"/>
                    </a:cubicBezTo>
                    <a:cubicBezTo>
                      <a:pt x="43" y="33"/>
                      <a:pt x="40" y="31"/>
                      <a:pt x="35" y="28"/>
                    </a:cubicBezTo>
                    <a:cubicBezTo>
                      <a:pt x="26" y="23"/>
                      <a:pt x="17" y="15"/>
                      <a:pt x="13" y="5"/>
                    </a:cubicBezTo>
                    <a:cubicBezTo>
                      <a:pt x="12" y="2"/>
                      <a:pt x="9" y="0"/>
                      <a:pt x="6" y="1"/>
                    </a:cubicBezTo>
                    <a:cubicBezTo>
                      <a:pt x="3" y="2"/>
                      <a:pt x="0" y="5"/>
                      <a:pt x="1" y="8"/>
                    </a:cubicBezTo>
                    <a:close/>
                    <a:moveTo>
                      <a:pt x="1" y="8"/>
                    </a:moveTo>
                    <a:cubicBezTo>
                      <a:pt x="1" y="8"/>
                      <a:pt x="1" y="8"/>
                      <a:pt x="1" y="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</p:grpSp>
        <p:grpSp>
          <p:nvGrpSpPr>
            <p:cNvPr id="82" name="Group 15"/>
            <p:cNvGrpSpPr>
              <a:grpSpLocks noChangeAspect="1"/>
            </p:cNvGrpSpPr>
            <p:nvPr userDrawn="1"/>
          </p:nvGrpSpPr>
          <p:grpSpPr bwMode="auto">
            <a:xfrm>
              <a:off x="702225" y="267251"/>
              <a:ext cx="94846" cy="95277"/>
              <a:chOff x="4843" y="2141"/>
              <a:chExt cx="220" cy="22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85" name="Freeform 16"/>
              <p:cNvSpPr>
                <a:spLocks/>
              </p:cNvSpPr>
              <p:nvPr/>
            </p:nvSpPr>
            <p:spPr bwMode="auto">
              <a:xfrm>
                <a:off x="4843" y="2298"/>
                <a:ext cx="184" cy="64"/>
              </a:xfrm>
              <a:custGeom>
                <a:avLst/>
                <a:gdLst>
                  <a:gd name="T0" fmla="*/ 584 w 1371"/>
                  <a:gd name="T1" fmla="*/ 473 h 473"/>
                  <a:gd name="T2" fmla="*/ 489 w 1371"/>
                  <a:gd name="T3" fmla="*/ 464 h 473"/>
                  <a:gd name="T4" fmla="*/ 142 w 1371"/>
                  <a:gd name="T5" fmla="*/ 375 h 473"/>
                  <a:gd name="T6" fmla="*/ 18 w 1371"/>
                  <a:gd name="T7" fmla="*/ 273 h 473"/>
                  <a:gd name="T8" fmla="*/ 0 w 1371"/>
                  <a:gd name="T9" fmla="*/ 213 h 473"/>
                  <a:gd name="T10" fmla="*/ 0 w 1371"/>
                  <a:gd name="T11" fmla="*/ 17 h 473"/>
                  <a:gd name="T12" fmla="*/ 13 w 1371"/>
                  <a:gd name="T13" fmla="*/ 8 h 473"/>
                  <a:gd name="T14" fmla="*/ 285 w 1371"/>
                  <a:gd name="T15" fmla="*/ 107 h 473"/>
                  <a:gd name="T16" fmla="*/ 769 w 1371"/>
                  <a:gd name="T17" fmla="*/ 141 h 473"/>
                  <a:gd name="T18" fmla="*/ 1176 w 1371"/>
                  <a:gd name="T19" fmla="*/ 85 h 473"/>
                  <a:gd name="T20" fmla="*/ 1352 w 1371"/>
                  <a:gd name="T21" fmla="*/ 10 h 473"/>
                  <a:gd name="T22" fmla="*/ 1365 w 1371"/>
                  <a:gd name="T23" fmla="*/ 5 h 473"/>
                  <a:gd name="T24" fmla="*/ 1369 w 1371"/>
                  <a:gd name="T25" fmla="*/ 20 h 473"/>
                  <a:gd name="T26" fmla="*/ 1369 w 1371"/>
                  <a:gd name="T27" fmla="*/ 218 h 473"/>
                  <a:gd name="T28" fmla="*/ 1333 w 1371"/>
                  <a:gd name="T29" fmla="*/ 298 h 473"/>
                  <a:gd name="T30" fmla="*/ 1178 w 1371"/>
                  <a:gd name="T31" fmla="*/ 396 h 473"/>
                  <a:gd name="T32" fmla="*/ 876 w 1371"/>
                  <a:gd name="T33" fmla="*/ 464 h 473"/>
                  <a:gd name="T34" fmla="*/ 786 w 1371"/>
                  <a:gd name="T35" fmla="*/ 473 h 473"/>
                  <a:gd name="T36" fmla="*/ 584 w 1371"/>
                  <a:gd name="T37" fmla="*/ 473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71" h="473">
                    <a:moveTo>
                      <a:pt x="584" y="473"/>
                    </a:moveTo>
                    <a:cubicBezTo>
                      <a:pt x="552" y="470"/>
                      <a:pt x="520" y="467"/>
                      <a:pt x="489" y="464"/>
                    </a:cubicBezTo>
                    <a:cubicBezTo>
                      <a:pt x="369" y="450"/>
                      <a:pt x="252" y="427"/>
                      <a:pt x="142" y="375"/>
                    </a:cubicBezTo>
                    <a:cubicBezTo>
                      <a:pt x="93" y="351"/>
                      <a:pt x="47" y="322"/>
                      <a:pt x="18" y="273"/>
                    </a:cubicBezTo>
                    <a:cubicBezTo>
                      <a:pt x="7" y="255"/>
                      <a:pt x="0" y="235"/>
                      <a:pt x="0" y="213"/>
                    </a:cubicBezTo>
                    <a:cubicBezTo>
                      <a:pt x="1" y="148"/>
                      <a:pt x="1" y="82"/>
                      <a:pt x="0" y="17"/>
                    </a:cubicBezTo>
                    <a:cubicBezTo>
                      <a:pt x="0" y="8"/>
                      <a:pt x="1" y="0"/>
                      <a:pt x="13" y="8"/>
                    </a:cubicBezTo>
                    <a:cubicBezTo>
                      <a:pt x="97" y="61"/>
                      <a:pt x="190" y="87"/>
                      <a:pt x="285" y="107"/>
                    </a:cubicBezTo>
                    <a:cubicBezTo>
                      <a:pt x="445" y="140"/>
                      <a:pt x="607" y="146"/>
                      <a:pt x="769" y="141"/>
                    </a:cubicBezTo>
                    <a:cubicBezTo>
                      <a:pt x="906" y="137"/>
                      <a:pt x="1043" y="123"/>
                      <a:pt x="1176" y="85"/>
                    </a:cubicBezTo>
                    <a:cubicBezTo>
                      <a:pt x="1238" y="67"/>
                      <a:pt x="1298" y="45"/>
                      <a:pt x="1352" y="10"/>
                    </a:cubicBezTo>
                    <a:cubicBezTo>
                      <a:pt x="1356" y="8"/>
                      <a:pt x="1360" y="3"/>
                      <a:pt x="1365" y="5"/>
                    </a:cubicBezTo>
                    <a:cubicBezTo>
                      <a:pt x="1371" y="8"/>
                      <a:pt x="1369" y="15"/>
                      <a:pt x="1369" y="20"/>
                    </a:cubicBezTo>
                    <a:cubicBezTo>
                      <a:pt x="1369" y="86"/>
                      <a:pt x="1369" y="152"/>
                      <a:pt x="1369" y="218"/>
                    </a:cubicBezTo>
                    <a:cubicBezTo>
                      <a:pt x="1368" y="249"/>
                      <a:pt x="1353" y="275"/>
                      <a:pt x="1333" y="298"/>
                    </a:cubicBezTo>
                    <a:cubicBezTo>
                      <a:pt x="1291" y="346"/>
                      <a:pt x="1236" y="373"/>
                      <a:pt x="1178" y="396"/>
                    </a:cubicBezTo>
                    <a:cubicBezTo>
                      <a:pt x="1081" y="434"/>
                      <a:pt x="979" y="453"/>
                      <a:pt x="876" y="464"/>
                    </a:cubicBezTo>
                    <a:cubicBezTo>
                      <a:pt x="846" y="467"/>
                      <a:pt x="816" y="470"/>
                      <a:pt x="786" y="473"/>
                    </a:cubicBezTo>
                    <a:cubicBezTo>
                      <a:pt x="718" y="473"/>
                      <a:pt x="651" y="473"/>
                      <a:pt x="584" y="4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Freeform 17"/>
              <p:cNvSpPr>
                <a:spLocks/>
              </p:cNvSpPr>
              <p:nvPr/>
            </p:nvSpPr>
            <p:spPr bwMode="auto">
              <a:xfrm>
                <a:off x="4894" y="2141"/>
                <a:ext cx="169" cy="56"/>
              </a:xfrm>
              <a:custGeom>
                <a:avLst/>
                <a:gdLst>
                  <a:gd name="T0" fmla="*/ 1263 w 1263"/>
                  <a:gd name="T1" fmla="*/ 314 h 416"/>
                  <a:gd name="T2" fmla="*/ 1114 w 1263"/>
                  <a:gd name="T3" fmla="*/ 395 h 416"/>
                  <a:gd name="T4" fmla="*/ 1056 w 1263"/>
                  <a:gd name="T5" fmla="*/ 413 h 416"/>
                  <a:gd name="T6" fmla="*/ 1042 w 1263"/>
                  <a:gd name="T7" fmla="*/ 403 h 416"/>
                  <a:gd name="T8" fmla="*/ 943 w 1263"/>
                  <a:gd name="T9" fmla="*/ 233 h 416"/>
                  <a:gd name="T10" fmla="*/ 696 w 1263"/>
                  <a:gd name="T11" fmla="*/ 132 h 416"/>
                  <a:gd name="T12" fmla="*/ 462 w 1263"/>
                  <a:gd name="T13" fmla="*/ 99 h 416"/>
                  <a:gd name="T14" fmla="*/ 243 w 1263"/>
                  <a:gd name="T15" fmla="*/ 97 h 416"/>
                  <a:gd name="T16" fmla="*/ 15 w 1263"/>
                  <a:gd name="T17" fmla="*/ 124 h 416"/>
                  <a:gd name="T18" fmla="*/ 0 w 1263"/>
                  <a:gd name="T19" fmla="*/ 122 h 416"/>
                  <a:gd name="T20" fmla="*/ 47 w 1263"/>
                  <a:gd name="T21" fmla="*/ 96 h 416"/>
                  <a:gd name="T22" fmla="*/ 354 w 1263"/>
                  <a:gd name="T23" fmla="*/ 15 h 416"/>
                  <a:gd name="T24" fmla="*/ 648 w 1263"/>
                  <a:gd name="T25" fmla="*/ 3 h 416"/>
                  <a:gd name="T26" fmla="*/ 1057 w 1263"/>
                  <a:gd name="T27" fmla="*/ 72 h 416"/>
                  <a:gd name="T28" fmla="*/ 1213 w 1263"/>
                  <a:gd name="T29" fmla="*/ 162 h 416"/>
                  <a:gd name="T30" fmla="*/ 1263 w 1263"/>
                  <a:gd name="T31" fmla="*/ 237 h 416"/>
                  <a:gd name="T32" fmla="*/ 1263 w 1263"/>
                  <a:gd name="T33" fmla="*/ 314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63" h="416">
                    <a:moveTo>
                      <a:pt x="1263" y="314"/>
                    </a:moveTo>
                    <a:cubicBezTo>
                      <a:pt x="1221" y="355"/>
                      <a:pt x="1168" y="375"/>
                      <a:pt x="1114" y="395"/>
                    </a:cubicBezTo>
                    <a:cubicBezTo>
                      <a:pt x="1095" y="402"/>
                      <a:pt x="1075" y="407"/>
                      <a:pt x="1056" y="413"/>
                    </a:cubicBezTo>
                    <a:cubicBezTo>
                      <a:pt x="1046" y="416"/>
                      <a:pt x="1041" y="413"/>
                      <a:pt x="1042" y="403"/>
                    </a:cubicBezTo>
                    <a:cubicBezTo>
                      <a:pt x="1048" y="323"/>
                      <a:pt x="1001" y="274"/>
                      <a:pt x="943" y="233"/>
                    </a:cubicBezTo>
                    <a:cubicBezTo>
                      <a:pt x="868" y="181"/>
                      <a:pt x="783" y="153"/>
                      <a:pt x="696" y="132"/>
                    </a:cubicBezTo>
                    <a:cubicBezTo>
                      <a:pt x="619" y="114"/>
                      <a:pt x="541" y="105"/>
                      <a:pt x="462" y="99"/>
                    </a:cubicBezTo>
                    <a:cubicBezTo>
                      <a:pt x="389" y="94"/>
                      <a:pt x="316" y="95"/>
                      <a:pt x="243" y="97"/>
                    </a:cubicBezTo>
                    <a:cubicBezTo>
                      <a:pt x="166" y="100"/>
                      <a:pt x="90" y="109"/>
                      <a:pt x="15" y="124"/>
                    </a:cubicBezTo>
                    <a:cubicBezTo>
                      <a:pt x="11" y="124"/>
                      <a:pt x="7" y="126"/>
                      <a:pt x="0" y="122"/>
                    </a:cubicBezTo>
                    <a:cubicBezTo>
                      <a:pt x="17" y="113"/>
                      <a:pt x="31" y="104"/>
                      <a:pt x="47" y="96"/>
                    </a:cubicBezTo>
                    <a:cubicBezTo>
                      <a:pt x="144" y="51"/>
                      <a:pt x="248" y="29"/>
                      <a:pt x="354" y="15"/>
                    </a:cubicBezTo>
                    <a:cubicBezTo>
                      <a:pt x="452" y="2"/>
                      <a:pt x="550" y="0"/>
                      <a:pt x="648" y="3"/>
                    </a:cubicBezTo>
                    <a:cubicBezTo>
                      <a:pt x="787" y="7"/>
                      <a:pt x="925" y="23"/>
                      <a:pt x="1057" y="72"/>
                    </a:cubicBezTo>
                    <a:cubicBezTo>
                      <a:pt x="1114" y="93"/>
                      <a:pt x="1168" y="120"/>
                      <a:pt x="1213" y="162"/>
                    </a:cubicBezTo>
                    <a:cubicBezTo>
                      <a:pt x="1236" y="183"/>
                      <a:pt x="1251" y="209"/>
                      <a:pt x="1263" y="237"/>
                    </a:cubicBezTo>
                    <a:cubicBezTo>
                      <a:pt x="1263" y="262"/>
                      <a:pt x="1263" y="288"/>
                      <a:pt x="1263" y="3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Freeform 18"/>
              <p:cNvSpPr>
                <a:spLocks/>
              </p:cNvSpPr>
              <p:nvPr/>
            </p:nvSpPr>
            <p:spPr bwMode="auto">
              <a:xfrm>
                <a:off x="5034" y="2192"/>
                <a:ext cx="29" cy="48"/>
              </a:xfrm>
              <a:custGeom>
                <a:avLst/>
                <a:gdLst>
                  <a:gd name="T0" fmla="*/ 221 w 221"/>
                  <a:gd name="T1" fmla="*/ 259 h 360"/>
                  <a:gd name="T2" fmla="*/ 52 w 221"/>
                  <a:gd name="T3" fmla="*/ 345 h 360"/>
                  <a:gd name="T4" fmla="*/ 13 w 221"/>
                  <a:gd name="T5" fmla="*/ 357 h 360"/>
                  <a:gd name="T6" fmla="*/ 0 w 221"/>
                  <a:gd name="T7" fmla="*/ 347 h 360"/>
                  <a:gd name="T8" fmla="*/ 0 w 221"/>
                  <a:gd name="T9" fmla="*/ 338 h 360"/>
                  <a:gd name="T10" fmla="*/ 0 w 221"/>
                  <a:gd name="T11" fmla="*/ 106 h 360"/>
                  <a:gd name="T12" fmla="*/ 19 w 221"/>
                  <a:gd name="T13" fmla="*/ 80 h 360"/>
                  <a:gd name="T14" fmla="*/ 215 w 221"/>
                  <a:gd name="T15" fmla="*/ 1 h 360"/>
                  <a:gd name="T16" fmla="*/ 221 w 221"/>
                  <a:gd name="T17" fmla="*/ 0 h 360"/>
                  <a:gd name="T18" fmla="*/ 221 w 221"/>
                  <a:gd name="T19" fmla="*/ 259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1" h="360">
                    <a:moveTo>
                      <a:pt x="221" y="259"/>
                    </a:moveTo>
                    <a:cubicBezTo>
                      <a:pt x="172" y="302"/>
                      <a:pt x="113" y="326"/>
                      <a:pt x="52" y="345"/>
                    </a:cubicBezTo>
                    <a:cubicBezTo>
                      <a:pt x="39" y="349"/>
                      <a:pt x="26" y="353"/>
                      <a:pt x="13" y="357"/>
                    </a:cubicBezTo>
                    <a:cubicBezTo>
                      <a:pt x="4" y="360"/>
                      <a:pt x="0" y="356"/>
                      <a:pt x="0" y="347"/>
                    </a:cubicBezTo>
                    <a:cubicBezTo>
                      <a:pt x="0" y="344"/>
                      <a:pt x="0" y="341"/>
                      <a:pt x="0" y="338"/>
                    </a:cubicBezTo>
                    <a:cubicBezTo>
                      <a:pt x="0" y="260"/>
                      <a:pt x="0" y="183"/>
                      <a:pt x="0" y="106"/>
                    </a:cubicBezTo>
                    <a:cubicBezTo>
                      <a:pt x="0" y="91"/>
                      <a:pt x="4" y="84"/>
                      <a:pt x="19" y="80"/>
                    </a:cubicBezTo>
                    <a:cubicBezTo>
                      <a:pt x="87" y="62"/>
                      <a:pt x="154" y="39"/>
                      <a:pt x="215" y="1"/>
                    </a:cubicBezTo>
                    <a:cubicBezTo>
                      <a:pt x="217" y="0"/>
                      <a:pt x="219" y="0"/>
                      <a:pt x="221" y="0"/>
                    </a:cubicBezTo>
                    <a:cubicBezTo>
                      <a:pt x="221" y="86"/>
                      <a:pt x="221" y="172"/>
                      <a:pt x="221" y="2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88" name="Freeform 19"/>
              <p:cNvSpPr>
                <a:spLocks/>
              </p:cNvSpPr>
              <p:nvPr/>
            </p:nvSpPr>
            <p:spPr bwMode="auto">
              <a:xfrm>
                <a:off x="5034" y="2235"/>
                <a:ext cx="29" cy="49"/>
              </a:xfrm>
              <a:custGeom>
                <a:avLst/>
                <a:gdLst>
                  <a:gd name="T0" fmla="*/ 221 w 221"/>
                  <a:gd name="T1" fmla="*/ 262 h 362"/>
                  <a:gd name="T2" fmla="*/ 19 w 221"/>
                  <a:gd name="T3" fmla="*/ 357 h 362"/>
                  <a:gd name="T4" fmla="*/ 0 w 221"/>
                  <a:gd name="T5" fmla="*/ 344 h 362"/>
                  <a:gd name="T6" fmla="*/ 0 w 221"/>
                  <a:gd name="T7" fmla="*/ 111 h 362"/>
                  <a:gd name="T8" fmla="*/ 17 w 221"/>
                  <a:gd name="T9" fmla="*/ 87 h 362"/>
                  <a:gd name="T10" fmla="*/ 179 w 221"/>
                  <a:gd name="T11" fmla="*/ 23 h 362"/>
                  <a:gd name="T12" fmla="*/ 221 w 221"/>
                  <a:gd name="T13" fmla="*/ 0 h 362"/>
                  <a:gd name="T14" fmla="*/ 221 w 221"/>
                  <a:gd name="T15" fmla="*/ 2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1" h="362">
                    <a:moveTo>
                      <a:pt x="221" y="262"/>
                    </a:moveTo>
                    <a:cubicBezTo>
                      <a:pt x="162" y="311"/>
                      <a:pt x="91" y="336"/>
                      <a:pt x="19" y="357"/>
                    </a:cubicBezTo>
                    <a:cubicBezTo>
                      <a:pt x="2" y="362"/>
                      <a:pt x="0" y="361"/>
                      <a:pt x="0" y="344"/>
                    </a:cubicBezTo>
                    <a:cubicBezTo>
                      <a:pt x="0" y="266"/>
                      <a:pt x="0" y="188"/>
                      <a:pt x="0" y="111"/>
                    </a:cubicBezTo>
                    <a:cubicBezTo>
                      <a:pt x="0" y="97"/>
                      <a:pt x="5" y="91"/>
                      <a:pt x="17" y="87"/>
                    </a:cubicBezTo>
                    <a:cubicBezTo>
                      <a:pt x="72" y="68"/>
                      <a:pt x="128" y="51"/>
                      <a:pt x="179" y="23"/>
                    </a:cubicBezTo>
                    <a:cubicBezTo>
                      <a:pt x="193" y="16"/>
                      <a:pt x="207" y="8"/>
                      <a:pt x="221" y="0"/>
                    </a:cubicBezTo>
                    <a:cubicBezTo>
                      <a:pt x="221" y="87"/>
                      <a:pt x="221" y="175"/>
                      <a:pt x="221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Freeform 20"/>
              <p:cNvSpPr>
                <a:spLocks/>
              </p:cNvSpPr>
              <p:nvPr/>
            </p:nvSpPr>
            <p:spPr bwMode="auto">
              <a:xfrm>
                <a:off x="5034" y="2279"/>
                <a:ext cx="29" cy="54"/>
              </a:xfrm>
              <a:custGeom>
                <a:avLst/>
                <a:gdLst>
                  <a:gd name="T0" fmla="*/ 216 w 216"/>
                  <a:gd name="T1" fmla="*/ 237 h 402"/>
                  <a:gd name="T2" fmla="*/ 39 w 216"/>
                  <a:gd name="T3" fmla="*/ 388 h 402"/>
                  <a:gd name="T4" fmla="*/ 10 w 216"/>
                  <a:gd name="T5" fmla="*/ 400 h 402"/>
                  <a:gd name="T6" fmla="*/ 4 w 216"/>
                  <a:gd name="T7" fmla="*/ 393 h 402"/>
                  <a:gd name="T8" fmla="*/ 23 w 216"/>
                  <a:gd name="T9" fmla="*/ 269 h 402"/>
                  <a:gd name="T10" fmla="*/ 23 w 216"/>
                  <a:gd name="T11" fmla="*/ 106 h 402"/>
                  <a:gd name="T12" fmla="*/ 33 w 216"/>
                  <a:gd name="T13" fmla="*/ 84 h 402"/>
                  <a:gd name="T14" fmla="*/ 211 w 216"/>
                  <a:gd name="T15" fmla="*/ 1 h 402"/>
                  <a:gd name="T16" fmla="*/ 216 w 216"/>
                  <a:gd name="T17" fmla="*/ 0 h 402"/>
                  <a:gd name="T18" fmla="*/ 216 w 216"/>
                  <a:gd name="T19" fmla="*/ 237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6" h="402">
                    <a:moveTo>
                      <a:pt x="216" y="237"/>
                    </a:moveTo>
                    <a:cubicBezTo>
                      <a:pt x="185" y="320"/>
                      <a:pt x="113" y="355"/>
                      <a:pt x="39" y="388"/>
                    </a:cubicBezTo>
                    <a:cubicBezTo>
                      <a:pt x="30" y="393"/>
                      <a:pt x="20" y="396"/>
                      <a:pt x="10" y="400"/>
                    </a:cubicBezTo>
                    <a:cubicBezTo>
                      <a:pt x="3" y="402"/>
                      <a:pt x="0" y="399"/>
                      <a:pt x="4" y="393"/>
                    </a:cubicBezTo>
                    <a:cubicBezTo>
                      <a:pt x="28" y="354"/>
                      <a:pt x="23" y="311"/>
                      <a:pt x="23" y="269"/>
                    </a:cubicBezTo>
                    <a:cubicBezTo>
                      <a:pt x="23" y="214"/>
                      <a:pt x="23" y="160"/>
                      <a:pt x="23" y="106"/>
                    </a:cubicBezTo>
                    <a:cubicBezTo>
                      <a:pt x="23" y="97"/>
                      <a:pt x="23" y="89"/>
                      <a:pt x="33" y="84"/>
                    </a:cubicBezTo>
                    <a:cubicBezTo>
                      <a:pt x="93" y="57"/>
                      <a:pt x="152" y="29"/>
                      <a:pt x="211" y="1"/>
                    </a:cubicBezTo>
                    <a:cubicBezTo>
                      <a:pt x="213" y="0"/>
                      <a:pt x="214" y="0"/>
                      <a:pt x="216" y="0"/>
                    </a:cubicBezTo>
                    <a:cubicBezTo>
                      <a:pt x="216" y="79"/>
                      <a:pt x="216" y="158"/>
                      <a:pt x="216" y="2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Freeform 21"/>
              <p:cNvSpPr>
                <a:spLocks/>
              </p:cNvSpPr>
              <p:nvPr/>
            </p:nvSpPr>
            <p:spPr bwMode="auto">
              <a:xfrm>
                <a:off x="4843" y="2161"/>
                <a:ext cx="184" cy="63"/>
              </a:xfrm>
              <a:custGeom>
                <a:avLst/>
                <a:gdLst>
                  <a:gd name="T0" fmla="*/ 689 w 1377"/>
                  <a:gd name="T1" fmla="*/ 0 h 468"/>
                  <a:gd name="T2" fmla="*/ 1073 w 1377"/>
                  <a:gd name="T3" fmla="*/ 42 h 468"/>
                  <a:gd name="T4" fmla="*/ 1298 w 1377"/>
                  <a:gd name="T5" fmla="*/ 141 h 468"/>
                  <a:gd name="T6" fmla="*/ 1369 w 1377"/>
                  <a:gd name="T7" fmla="*/ 235 h 468"/>
                  <a:gd name="T8" fmla="*/ 1372 w 1377"/>
                  <a:gd name="T9" fmla="*/ 308 h 468"/>
                  <a:gd name="T10" fmla="*/ 1350 w 1377"/>
                  <a:gd name="T11" fmla="*/ 330 h 468"/>
                  <a:gd name="T12" fmla="*/ 1252 w 1377"/>
                  <a:gd name="T13" fmla="*/ 383 h 468"/>
                  <a:gd name="T14" fmla="*/ 965 w 1377"/>
                  <a:gd name="T15" fmla="*/ 450 h 468"/>
                  <a:gd name="T16" fmla="*/ 703 w 1377"/>
                  <a:gd name="T17" fmla="*/ 468 h 468"/>
                  <a:gd name="T18" fmla="*/ 472 w 1377"/>
                  <a:gd name="T19" fmla="*/ 457 h 468"/>
                  <a:gd name="T20" fmla="*/ 204 w 1377"/>
                  <a:gd name="T21" fmla="*/ 409 h 468"/>
                  <a:gd name="T22" fmla="*/ 30 w 1377"/>
                  <a:gd name="T23" fmla="*/ 333 h 468"/>
                  <a:gd name="T24" fmla="*/ 4 w 1377"/>
                  <a:gd name="T25" fmla="*/ 284 h 468"/>
                  <a:gd name="T26" fmla="*/ 75 w 1377"/>
                  <a:gd name="T27" fmla="*/ 143 h 468"/>
                  <a:gd name="T28" fmla="*/ 304 w 1377"/>
                  <a:gd name="T29" fmla="*/ 42 h 468"/>
                  <a:gd name="T30" fmla="*/ 584 w 1377"/>
                  <a:gd name="T31" fmla="*/ 3 h 468"/>
                  <a:gd name="T32" fmla="*/ 689 w 1377"/>
                  <a:gd name="T33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7" h="468">
                    <a:moveTo>
                      <a:pt x="689" y="0"/>
                    </a:moveTo>
                    <a:cubicBezTo>
                      <a:pt x="819" y="0"/>
                      <a:pt x="947" y="10"/>
                      <a:pt x="1073" y="42"/>
                    </a:cubicBezTo>
                    <a:cubicBezTo>
                      <a:pt x="1153" y="62"/>
                      <a:pt x="1231" y="90"/>
                      <a:pt x="1298" y="141"/>
                    </a:cubicBezTo>
                    <a:cubicBezTo>
                      <a:pt x="1331" y="165"/>
                      <a:pt x="1357" y="195"/>
                      <a:pt x="1369" y="235"/>
                    </a:cubicBezTo>
                    <a:cubicBezTo>
                      <a:pt x="1377" y="259"/>
                      <a:pt x="1373" y="283"/>
                      <a:pt x="1372" y="308"/>
                    </a:cubicBezTo>
                    <a:cubicBezTo>
                      <a:pt x="1371" y="318"/>
                      <a:pt x="1359" y="324"/>
                      <a:pt x="1350" y="330"/>
                    </a:cubicBezTo>
                    <a:cubicBezTo>
                      <a:pt x="1320" y="353"/>
                      <a:pt x="1287" y="369"/>
                      <a:pt x="1252" y="383"/>
                    </a:cubicBezTo>
                    <a:cubicBezTo>
                      <a:pt x="1159" y="418"/>
                      <a:pt x="1063" y="437"/>
                      <a:pt x="965" y="450"/>
                    </a:cubicBezTo>
                    <a:cubicBezTo>
                      <a:pt x="878" y="462"/>
                      <a:pt x="791" y="467"/>
                      <a:pt x="703" y="468"/>
                    </a:cubicBezTo>
                    <a:cubicBezTo>
                      <a:pt x="626" y="468"/>
                      <a:pt x="549" y="465"/>
                      <a:pt x="472" y="457"/>
                    </a:cubicBezTo>
                    <a:cubicBezTo>
                      <a:pt x="381" y="448"/>
                      <a:pt x="292" y="434"/>
                      <a:pt x="204" y="409"/>
                    </a:cubicBezTo>
                    <a:cubicBezTo>
                      <a:pt x="143" y="391"/>
                      <a:pt x="83" y="370"/>
                      <a:pt x="30" y="333"/>
                    </a:cubicBezTo>
                    <a:cubicBezTo>
                      <a:pt x="12" y="321"/>
                      <a:pt x="5" y="307"/>
                      <a:pt x="4" y="284"/>
                    </a:cubicBezTo>
                    <a:cubicBezTo>
                      <a:pt x="0" y="222"/>
                      <a:pt x="30" y="179"/>
                      <a:pt x="75" y="143"/>
                    </a:cubicBezTo>
                    <a:cubicBezTo>
                      <a:pt x="143" y="90"/>
                      <a:pt x="222" y="63"/>
                      <a:pt x="304" y="42"/>
                    </a:cubicBezTo>
                    <a:cubicBezTo>
                      <a:pt x="396" y="19"/>
                      <a:pt x="489" y="7"/>
                      <a:pt x="584" y="3"/>
                    </a:cubicBezTo>
                    <a:cubicBezTo>
                      <a:pt x="619" y="1"/>
                      <a:pt x="654" y="1"/>
                      <a:pt x="68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Freeform 22"/>
              <p:cNvSpPr>
                <a:spLocks/>
              </p:cNvSpPr>
              <p:nvPr/>
            </p:nvSpPr>
            <p:spPr bwMode="auto">
              <a:xfrm>
                <a:off x="4843" y="2211"/>
                <a:ext cx="184" cy="56"/>
              </a:xfrm>
              <a:custGeom>
                <a:avLst/>
                <a:gdLst>
                  <a:gd name="T0" fmla="*/ 1 w 1370"/>
                  <a:gd name="T1" fmla="*/ 131 h 418"/>
                  <a:gd name="T2" fmla="*/ 1 w 1370"/>
                  <a:gd name="T3" fmla="*/ 15 h 418"/>
                  <a:gd name="T4" fmla="*/ 14 w 1370"/>
                  <a:gd name="T5" fmla="*/ 7 h 418"/>
                  <a:gd name="T6" fmla="*/ 261 w 1370"/>
                  <a:gd name="T7" fmla="*/ 96 h 418"/>
                  <a:gd name="T8" fmla="*/ 523 w 1370"/>
                  <a:gd name="T9" fmla="*/ 133 h 418"/>
                  <a:gd name="T10" fmla="*/ 761 w 1370"/>
                  <a:gd name="T11" fmla="*/ 138 h 418"/>
                  <a:gd name="T12" fmla="*/ 1236 w 1370"/>
                  <a:gd name="T13" fmla="*/ 62 h 418"/>
                  <a:gd name="T14" fmla="*/ 1354 w 1370"/>
                  <a:gd name="T15" fmla="*/ 8 h 418"/>
                  <a:gd name="T16" fmla="*/ 1370 w 1370"/>
                  <a:gd name="T17" fmla="*/ 17 h 418"/>
                  <a:gd name="T18" fmla="*/ 1370 w 1370"/>
                  <a:gd name="T19" fmla="*/ 245 h 418"/>
                  <a:gd name="T20" fmla="*/ 1357 w 1370"/>
                  <a:gd name="T21" fmla="*/ 270 h 418"/>
                  <a:gd name="T22" fmla="*/ 1220 w 1370"/>
                  <a:gd name="T23" fmla="*/ 341 h 418"/>
                  <a:gd name="T24" fmla="*/ 890 w 1370"/>
                  <a:gd name="T25" fmla="*/ 406 h 418"/>
                  <a:gd name="T26" fmla="*/ 610 w 1370"/>
                  <a:gd name="T27" fmla="*/ 415 h 418"/>
                  <a:gd name="T28" fmla="*/ 160 w 1370"/>
                  <a:gd name="T29" fmla="*/ 344 h 418"/>
                  <a:gd name="T30" fmla="*/ 21 w 1370"/>
                  <a:gd name="T31" fmla="*/ 277 h 418"/>
                  <a:gd name="T32" fmla="*/ 1 w 1370"/>
                  <a:gd name="T33" fmla="*/ 237 h 418"/>
                  <a:gd name="T34" fmla="*/ 1 w 1370"/>
                  <a:gd name="T35" fmla="*/ 131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70" h="418">
                    <a:moveTo>
                      <a:pt x="1" y="131"/>
                    </a:moveTo>
                    <a:cubicBezTo>
                      <a:pt x="2" y="92"/>
                      <a:pt x="2" y="54"/>
                      <a:pt x="1" y="15"/>
                    </a:cubicBezTo>
                    <a:cubicBezTo>
                      <a:pt x="1" y="5"/>
                      <a:pt x="4" y="0"/>
                      <a:pt x="14" y="7"/>
                    </a:cubicBezTo>
                    <a:cubicBezTo>
                      <a:pt x="90" y="54"/>
                      <a:pt x="175" y="78"/>
                      <a:pt x="261" y="96"/>
                    </a:cubicBezTo>
                    <a:cubicBezTo>
                      <a:pt x="347" y="115"/>
                      <a:pt x="435" y="126"/>
                      <a:pt x="523" y="133"/>
                    </a:cubicBezTo>
                    <a:cubicBezTo>
                      <a:pt x="603" y="139"/>
                      <a:pt x="682" y="141"/>
                      <a:pt x="761" y="138"/>
                    </a:cubicBezTo>
                    <a:cubicBezTo>
                      <a:pt x="923" y="131"/>
                      <a:pt x="1082" y="113"/>
                      <a:pt x="1236" y="62"/>
                    </a:cubicBezTo>
                    <a:cubicBezTo>
                      <a:pt x="1277" y="48"/>
                      <a:pt x="1317" y="31"/>
                      <a:pt x="1354" y="8"/>
                    </a:cubicBezTo>
                    <a:cubicBezTo>
                      <a:pt x="1367" y="0"/>
                      <a:pt x="1370" y="1"/>
                      <a:pt x="1370" y="17"/>
                    </a:cubicBezTo>
                    <a:cubicBezTo>
                      <a:pt x="1370" y="93"/>
                      <a:pt x="1370" y="169"/>
                      <a:pt x="1370" y="245"/>
                    </a:cubicBezTo>
                    <a:cubicBezTo>
                      <a:pt x="1370" y="256"/>
                      <a:pt x="1366" y="264"/>
                      <a:pt x="1357" y="270"/>
                    </a:cubicBezTo>
                    <a:cubicBezTo>
                      <a:pt x="1316" y="304"/>
                      <a:pt x="1269" y="324"/>
                      <a:pt x="1220" y="341"/>
                    </a:cubicBezTo>
                    <a:cubicBezTo>
                      <a:pt x="1113" y="377"/>
                      <a:pt x="1002" y="396"/>
                      <a:pt x="890" y="406"/>
                    </a:cubicBezTo>
                    <a:cubicBezTo>
                      <a:pt x="797" y="415"/>
                      <a:pt x="704" y="418"/>
                      <a:pt x="610" y="415"/>
                    </a:cubicBezTo>
                    <a:cubicBezTo>
                      <a:pt x="458" y="409"/>
                      <a:pt x="307" y="392"/>
                      <a:pt x="160" y="344"/>
                    </a:cubicBezTo>
                    <a:cubicBezTo>
                      <a:pt x="111" y="328"/>
                      <a:pt x="64" y="308"/>
                      <a:pt x="21" y="277"/>
                    </a:cubicBezTo>
                    <a:cubicBezTo>
                      <a:pt x="7" y="267"/>
                      <a:pt x="0" y="255"/>
                      <a:pt x="1" y="237"/>
                    </a:cubicBezTo>
                    <a:cubicBezTo>
                      <a:pt x="3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Freeform 23"/>
              <p:cNvSpPr>
                <a:spLocks/>
              </p:cNvSpPr>
              <p:nvPr/>
            </p:nvSpPr>
            <p:spPr bwMode="auto">
              <a:xfrm>
                <a:off x="4843" y="2255"/>
                <a:ext cx="184" cy="56"/>
              </a:xfrm>
              <a:custGeom>
                <a:avLst/>
                <a:gdLst>
                  <a:gd name="T0" fmla="*/ 1 w 1370"/>
                  <a:gd name="T1" fmla="*/ 131 h 419"/>
                  <a:gd name="T2" fmla="*/ 1 w 1370"/>
                  <a:gd name="T3" fmla="*/ 14 h 419"/>
                  <a:gd name="T4" fmla="*/ 14 w 1370"/>
                  <a:gd name="T5" fmla="*/ 7 h 419"/>
                  <a:gd name="T6" fmla="*/ 307 w 1370"/>
                  <a:gd name="T7" fmla="*/ 107 h 419"/>
                  <a:gd name="T8" fmla="*/ 615 w 1370"/>
                  <a:gd name="T9" fmla="*/ 138 h 419"/>
                  <a:gd name="T10" fmla="*/ 1137 w 1370"/>
                  <a:gd name="T11" fmla="*/ 91 h 419"/>
                  <a:gd name="T12" fmla="*/ 1357 w 1370"/>
                  <a:gd name="T13" fmla="*/ 6 h 419"/>
                  <a:gd name="T14" fmla="*/ 1370 w 1370"/>
                  <a:gd name="T15" fmla="*/ 14 h 419"/>
                  <a:gd name="T16" fmla="*/ 1370 w 1370"/>
                  <a:gd name="T17" fmla="*/ 248 h 419"/>
                  <a:gd name="T18" fmla="*/ 1355 w 1370"/>
                  <a:gd name="T19" fmla="*/ 272 h 419"/>
                  <a:gd name="T20" fmla="*/ 1238 w 1370"/>
                  <a:gd name="T21" fmla="*/ 334 h 419"/>
                  <a:gd name="T22" fmla="*/ 943 w 1370"/>
                  <a:gd name="T23" fmla="*/ 401 h 419"/>
                  <a:gd name="T24" fmla="*/ 637 w 1370"/>
                  <a:gd name="T25" fmla="*/ 416 h 419"/>
                  <a:gd name="T26" fmla="*/ 167 w 1370"/>
                  <a:gd name="T27" fmla="*/ 347 h 419"/>
                  <a:gd name="T28" fmla="*/ 21 w 1370"/>
                  <a:gd name="T29" fmla="*/ 277 h 419"/>
                  <a:gd name="T30" fmla="*/ 1 w 1370"/>
                  <a:gd name="T31" fmla="*/ 238 h 419"/>
                  <a:gd name="T32" fmla="*/ 1 w 1370"/>
                  <a:gd name="T33" fmla="*/ 131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0" h="419">
                    <a:moveTo>
                      <a:pt x="1" y="131"/>
                    </a:moveTo>
                    <a:cubicBezTo>
                      <a:pt x="1" y="92"/>
                      <a:pt x="2" y="53"/>
                      <a:pt x="1" y="14"/>
                    </a:cubicBezTo>
                    <a:cubicBezTo>
                      <a:pt x="1" y="3"/>
                      <a:pt x="4" y="1"/>
                      <a:pt x="14" y="7"/>
                    </a:cubicBezTo>
                    <a:cubicBezTo>
                      <a:pt x="104" y="62"/>
                      <a:pt x="205" y="88"/>
                      <a:pt x="307" y="107"/>
                    </a:cubicBezTo>
                    <a:cubicBezTo>
                      <a:pt x="409" y="127"/>
                      <a:pt x="512" y="135"/>
                      <a:pt x="615" y="138"/>
                    </a:cubicBezTo>
                    <a:cubicBezTo>
                      <a:pt x="791" y="143"/>
                      <a:pt x="966" y="133"/>
                      <a:pt x="1137" y="91"/>
                    </a:cubicBezTo>
                    <a:cubicBezTo>
                      <a:pt x="1214" y="73"/>
                      <a:pt x="1289" y="49"/>
                      <a:pt x="1357" y="6"/>
                    </a:cubicBezTo>
                    <a:cubicBezTo>
                      <a:pt x="1367" y="0"/>
                      <a:pt x="1370" y="4"/>
                      <a:pt x="1370" y="14"/>
                    </a:cubicBezTo>
                    <a:cubicBezTo>
                      <a:pt x="1370" y="92"/>
                      <a:pt x="1370" y="170"/>
                      <a:pt x="1370" y="248"/>
                    </a:cubicBezTo>
                    <a:cubicBezTo>
                      <a:pt x="1370" y="260"/>
                      <a:pt x="1363" y="266"/>
                      <a:pt x="1355" y="272"/>
                    </a:cubicBezTo>
                    <a:cubicBezTo>
                      <a:pt x="1320" y="301"/>
                      <a:pt x="1280" y="319"/>
                      <a:pt x="1238" y="334"/>
                    </a:cubicBezTo>
                    <a:cubicBezTo>
                      <a:pt x="1143" y="370"/>
                      <a:pt x="1044" y="389"/>
                      <a:pt x="943" y="401"/>
                    </a:cubicBezTo>
                    <a:cubicBezTo>
                      <a:pt x="841" y="413"/>
                      <a:pt x="739" y="419"/>
                      <a:pt x="637" y="416"/>
                    </a:cubicBezTo>
                    <a:cubicBezTo>
                      <a:pt x="477" y="411"/>
                      <a:pt x="320" y="395"/>
                      <a:pt x="167" y="347"/>
                    </a:cubicBezTo>
                    <a:cubicBezTo>
                      <a:pt x="115" y="330"/>
                      <a:pt x="65" y="310"/>
                      <a:pt x="21" y="277"/>
                    </a:cubicBezTo>
                    <a:cubicBezTo>
                      <a:pt x="7" y="267"/>
                      <a:pt x="0" y="256"/>
                      <a:pt x="1" y="238"/>
                    </a:cubicBezTo>
                    <a:cubicBezTo>
                      <a:pt x="2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83" name="Рисунок 82"/>
            <p:cNvPicPr>
              <a:picLocks noChangeAspect="1"/>
            </p:cNvPicPr>
            <p:nvPr userDrawn="1"/>
          </p:nvPicPr>
          <p:blipFill>
            <a:blip r:embed="rId6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964" y="255927"/>
              <a:ext cx="132047" cy="120941"/>
            </a:xfrm>
            <a:prstGeom prst="rect">
              <a:avLst/>
            </a:prstGeom>
          </p:spPr>
        </p:pic>
        <p:sp>
          <p:nvSpPr>
            <p:cNvPr id="84" name="Freeform 413"/>
            <p:cNvSpPr>
              <a:spLocks noEditPoints="1"/>
            </p:cNvSpPr>
            <p:nvPr userDrawn="1"/>
          </p:nvSpPr>
          <p:spPr bwMode="auto">
            <a:xfrm>
              <a:off x="467432" y="411832"/>
              <a:ext cx="136834" cy="109909"/>
            </a:xfrm>
            <a:custGeom>
              <a:avLst/>
              <a:gdLst/>
              <a:ahLst/>
              <a:cxnLst>
                <a:cxn ang="0">
                  <a:pos x="235" y="365"/>
                </a:cxn>
                <a:cxn ang="0">
                  <a:pos x="246" y="344"/>
                </a:cxn>
                <a:cxn ang="0">
                  <a:pos x="226" y="329"/>
                </a:cxn>
                <a:cxn ang="0">
                  <a:pos x="217" y="320"/>
                </a:cxn>
                <a:cxn ang="0">
                  <a:pos x="206" y="328"/>
                </a:cxn>
                <a:cxn ang="0">
                  <a:pos x="142" y="348"/>
                </a:cxn>
                <a:cxn ang="0">
                  <a:pos x="31" y="237"/>
                </a:cxn>
                <a:cxn ang="0">
                  <a:pos x="106" y="133"/>
                </a:cxn>
                <a:cxn ang="0">
                  <a:pos x="106" y="132"/>
                </a:cxn>
                <a:cxn ang="0">
                  <a:pos x="144" y="127"/>
                </a:cxn>
                <a:cxn ang="0">
                  <a:pos x="201" y="141"/>
                </a:cxn>
                <a:cxn ang="0">
                  <a:pos x="132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6" y="104"/>
                </a:cxn>
                <a:cxn ang="0">
                  <a:pos x="49" y="130"/>
                </a:cxn>
                <a:cxn ang="0">
                  <a:pos x="49" y="129"/>
                </a:cxn>
                <a:cxn ang="0">
                  <a:pos x="0" y="237"/>
                </a:cxn>
                <a:cxn ang="0">
                  <a:pos x="142" y="380"/>
                </a:cxn>
                <a:cxn ang="0">
                  <a:pos x="214" y="360"/>
                </a:cxn>
                <a:cxn ang="0">
                  <a:pos x="231" y="371"/>
                </a:cxn>
                <a:cxn ang="0">
                  <a:pos x="235" y="365"/>
                </a:cxn>
                <a:cxn ang="0">
                  <a:pos x="453" y="183"/>
                </a:cxn>
                <a:cxn ang="0">
                  <a:pos x="454" y="175"/>
                </a:cxn>
                <a:cxn ang="0">
                  <a:pos x="348" y="70"/>
                </a:cxn>
                <a:cxn ang="0">
                  <a:pos x="327" y="72"/>
                </a:cxn>
                <a:cxn ang="0">
                  <a:pos x="212" y="0"/>
                </a:cxn>
                <a:cxn ang="0">
                  <a:pos x="90" y="89"/>
                </a:cxn>
                <a:cxn ang="0">
                  <a:pos x="125" y="86"/>
                </a:cxn>
                <a:cxn ang="0">
                  <a:pos x="212" y="32"/>
                </a:cxn>
                <a:cxn ang="0">
                  <a:pos x="302" y="96"/>
                </a:cxn>
                <a:cxn ang="0">
                  <a:pos x="308" y="112"/>
                </a:cxn>
                <a:cxn ang="0">
                  <a:pos x="323" y="106"/>
                </a:cxn>
                <a:cxn ang="0">
                  <a:pos x="348" y="101"/>
                </a:cxn>
                <a:cxn ang="0">
                  <a:pos x="422" y="175"/>
                </a:cxn>
                <a:cxn ang="0">
                  <a:pos x="420" y="192"/>
                </a:cxn>
                <a:cxn ang="0">
                  <a:pos x="416" y="209"/>
                </a:cxn>
                <a:cxn ang="0">
                  <a:pos x="434" y="211"/>
                </a:cxn>
                <a:cxn ang="0">
                  <a:pos x="492" y="275"/>
                </a:cxn>
                <a:cxn ang="0">
                  <a:pos x="428" y="338"/>
                </a:cxn>
                <a:cxn ang="0">
                  <a:pos x="394" y="329"/>
                </a:cxn>
                <a:cxn ang="0">
                  <a:pos x="384" y="322"/>
                </a:cxn>
                <a:cxn ang="0">
                  <a:pos x="375" y="330"/>
                </a:cxn>
                <a:cxn ang="0">
                  <a:pos x="358" y="343"/>
                </a:cxn>
                <a:cxn ang="0">
                  <a:pos x="352" y="359"/>
                </a:cxn>
                <a:cxn ang="0">
                  <a:pos x="342" y="384"/>
                </a:cxn>
                <a:cxn ang="0">
                  <a:pos x="387" y="361"/>
                </a:cxn>
                <a:cxn ang="0">
                  <a:pos x="428" y="370"/>
                </a:cxn>
                <a:cxn ang="0">
                  <a:pos x="523" y="275"/>
                </a:cxn>
                <a:cxn ang="0">
                  <a:pos x="453" y="183"/>
                </a:cxn>
                <a:cxn ang="0">
                  <a:pos x="383" y="292"/>
                </a:cxn>
                <a:cxn ang="0">
                  <a:pos x="313" y="171"/>
                </a:cxn>
                <a:cxn ang="0">
                  <a:pos x="244" y="292"/>
                </a:cxn>
                <a:cxn ang="0">
                  <a:pos x="282" y="292"/>
                </a:cxn>
                <a:cxn ang="0">
                  <a:pos x="220" y="420"/>
                </a:cxn>
                <a:cxn ang="0">
                  <a:pos x="297" y="420"/>
                </a:cxn>
                <a:cxn ang="0">
                  <a:pos x="343" y="292"/>
                </a:cxn>
                <a:cxn ang="0">
                  <a:pos x="383" y="292"/>
                </a:cxn>
              </a:cxnLst>
              <a:rect l="0" t="0" r="r" b="b"/>
              <a:pathLst>
                <a:path w="523" h="420">
                  <a:moveTo>
                    <a:pt x="235" y="365"/>
                  </a:moveTo>
                  <a:cubicBezTo>
                    <a:pt x="239" y="358"/>
                    <a:pt x="243" y="351"/>
                    <a:pt x="246" y="344"/>
                  </a:cubicBezTo>
                  <a:cubicBezTo>
                    <a:pt x="239" y="340"/>
                    <a:pt x="232" y="335"/>
                    <a:pt x="226" y="329"/>
                  </a:cubicBezTo>
                  <a:cubicBezTo>
                    <a:pt x="217" y="320"/>
                    <a:pt x="217" y="320"/>
                    <a:pt x="217" y="320"/>
                  </a:cubicBezTo>
                  <a:cubicBezTo>
                    <a:pt x="206" y="328"/>
                    <a:pt x="206" y="328"/>
                    <a:pt x="206" y="328"/>
                  </a:cubicBezTo>
                  <a:cubicBezTo>
                    <a:pt x="187" y="341"/>
                    <a:pt x="165" y="348"/>
                    <a:pt x="142" y="348"/>
                  </a:cubicBezTo>
                  <a:cubicBezTo>
                    <a:pt x="81" y="348"/>
                    <a:pt x="31" y="299"/>
                    <a:pt x="31" y="237"/>
                  </a:cubicBezTo>
                  <a:cubicBezTo>
                    <a:pt x="31" y="190"/>
                    <a:pt x="61" y="148"/>
                    <a:pt x="106" y="133"/>
                  </a:cubicBezTo>
                  <a:cubicBezTo>
                    <a:pt x="106" y="132"/>
                    <a:pt x="106" y="132"/>
                    <a:pt x="106" y="132"/>
                  </a:cubicBezTo>
                  <a:cubicBezTo>
                    <a:pt x="117" y="129"/>
                    <a:pt x="129" y="127"/>
                    <a:pt x="144" y="127"/>
                  </a:cubicBezTo>
                  <a:cubicBezTo>
                    <a:pt x="167" y="127"/>
                    <a:pt x="187" y="132"/>
                    <a:pt x="201" y="141"/>
                  </a:cubicBezTo>
                  <a:cubicBezTo>
                    <a:pt x="208" y="131"/>
                    <a:pt x="195" y="103"/>
                    <a:pt x="132" y="103"/>
                  </a:cubicBezTo>
                  <a:cubicBezTo>
                    <a:pt x="127" y="103"/>
                    <a:pt x="123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8" y="103"/>
                    <a:pt x="117" y="104"/>
                    <a:pt x="116" y="104"/>
                  </a:cubicBezTo>
                  <a:cubicBezTo>
                    <a:pt x="77" y="107"/>
                    <a:pt x="49" y="130"/>
                    <a:pt x="49" y="130"/>
                  </a:cubicBezTo>
                  <a:cubicBezTo>
                    <a:pt x="49" y="129"/>
                    <a:pt x="49" y="129"/>
                    <a:pt x="49" y="129"/>
                  </a:cubicBezTo>
                  <a:cubicBezTo>
                    <a:pt x="18" y="156"/>
                    <a:pt x="0" y="195"/>
                    <a:pt x="0" y="237"/>
                  </a:cubicBezTo>
                  <a:cubicBezTo>
                    <a:pt x="0" y="316"/>
                    <a:pt x="63" y="380"/>
                    <a:pt x="142" y="380"/>
                  </a:cubicBezTo>
                  <a:cubicBezTo>
                    <a:pt x="168" y="380"/>
                    <a:pt x="192" y="373"/>
                    <a:pt x="214" y="360"/>
                  </a:cubicBezTo>
                  <a:cubicBezTo>
                    <a:pt x="220" y="364"/>
                    <a:pt x="225" y="368"/>
                    <a:pt x="231" y="371"/>
                  </a:cubicBezTo>
                  <a:lnTo>
                    <a:pt x="235" y="365"/>
                  </a:lnTo>
                  <a:close/>
                  <a:moveTo>
                    <a:pt x="453" y="183"/>
                  </a:moveTo>
                  <a:cubicBezTo>
                    <a:pt x="454" y="180"/>
                    <a:pt x="454" y="178"/>
                    <a:pt x="454" y="175"/>
                  </a:cubicBezTo>
                  <a:cubicBezTo>
                    <a:pt x="454" y="117"/>
                    <a:pt x="407" y="70"/>
                    <a:pt x="348" y="70"/>
                  </a:cubicBezTo>
                  <a:cubicBezTo>
                    <a:pt x="341" y="70"/>
                    <a:pt x="334" y="71"/>
                    <a:pt x="327" y="72"/>
                  </a:cubicBezTo>
                  <a:cubicBezTo>
                    <a:pt x="305" y="29"/>
                    <a:pt x="261" y="0"/>
                    <a:pt x="212" y="0"/>
                  </a:cubicBezTo>
                  <a:cubicBezTo>
                    <a:pt x="155" y="0"/>
                    <a:pt x="106" y="37"/>
                    <a:pt x="90" y="89"/>
                  </a:cubicBezTo>
                  <a:cubicBezTo>
                    <a:pt x="103" y="86"/>
                    <a:pt x="116" y="85"/>
                    <a:pt x="125" y="86"/>
                  </a:cubicBezTo>
                  <a:cubicBezTo>
                    <a:pt x="141" y="53"/>
                    <a:pt x="174" y="32"/>
                    <a:pt x="212" y="32"/>
                  </a:cubicBezTo>
                  <a:cubicBezTo>
                    <a:pt x="253" y="32"/>
                    <a:pt x="289" y="58"/>
                    <a:pt x="302" y="96"/>
                  </a:cubicBezTo>
                  <a:cubicBezTo>
                    <a:pt x="308" y="112"/>
                    <a:pt x="308" y="112"/>
                    <a:pt x="308" y="112"/>
                  </a:cubicBezTo>
                  <a:cubicBezTo>
                    <a:pt x="323" y="106"/>
                    <a:pt x="323" y="106"/>
                    <a:pt x="323" y="106"/>
                  </a:cubicBezTo>
                  <a:cubicBezTo>
                    <a:pt x="331" y="103"/>
                    <a:pt x="340" y="101"/>
                    <a:pt x="348" y="101"/>
                  </a:cubicBezTo>
                  <a:cubicBezTo>
                    <a:pt x="389" y="101"/>
                    <a:pt x="422" y="135"/>
                    <a:pt x="422" y="175"/>
                  </a:cubicBezTo>
                  <a:cubicBezTo>
                    <a:pt x="422" y="181"/>
                    <a:pt x="421" y="186"/>
                    <a:pt x="420" y="192"/>
                  </a:cubicBezTo>
                  <a:cubicBezTo>
                    <a:pt x="416" y="209"/>
                    <a:pt x="416" y="209"/>
                    <a:pt x="416" y="209"/>
                  </a:cubicBezTo>
                  <a:cubicBezTo>
                    <a:pt x="434" y="211"/>
                    <a:pt x="434" y="211"/>
                    <a:pt x="434" y="211"/>
                  </a:cubicBezTo>
                  <a:cubicBezTo>
                    <a:pt x="467" y="214"/>
                    <a:pt x="492" y="242"/>
                    <a:pt x="492" y="275"/>
                  </a:cubicBezTo>
                  <a:cubicBezTo>
                    <a:pt x="492" y="310"/>
                    <a:pt x="463" y="338"/>
                    <a:pt x="428" y="338"/>
                  </a:cubicBezTo>
                  <a:cubicBezTo>
                    <a:pt x="416" y="338"/>
                    <a:pt x="404" y="335"/>
                    <a:pt x="394" y="329"/>
                  </a:cubicBezTo>
                  <a:cubicBezTo>
                    <a:pt x="384" y="322"/>
                    <a:pt x="384" y="322"/>
                    <a:pt x="384" y="322"/>
                  </a:cubicBezTo>
                  <a:cubicBezTo>
                    <a:pt x="375" y="330"/>
                    <a:pt x="375" y="330"/>
                    <a:pt x="375" y="330"/>
                  </a:cubicBezTo>
                  <a:cubicBezTo>
                    <a:pt x="370" y="335"/>
                    <a:pt x="364" y="339"/>
                    <a:pt x="358" y="343"/>
                  </a:cubicBezTo>
                  <a:cubicBezTo>
                    <a:pt x="356" y="348"/>
                    <a:pt x="354" y="354"/>
                    <a:pt x="352" y="359"/>
                  </a:cubicBezTo>
                  <a:cubicBezTo>
                    <a:pt x="349" y="367"/>
                    <a:pt x="346" y="376"/>
                    <a:pt x="342" y="384"/>
                  </a:cubicBezTo>
                  <a:cubicBezTo>
                    <a:pt x="358" y="379"/>
                    <a:pt x="374" y="371"/>
                    <a:pt x="387" y="361"/>
                  </a:cubicBezTo>
                  <a:cubicBezTo>
                    <a:pt x="400" y="367"/>
                    <a:pt x="414" y="370"/>
                    <a:pt x="428" y="370"/>
                  </a:cubicBezTo>
                  <a:cubicBezTo>
                    <a:pt x="481" y="370"/>
                    <a:pt x="523" y="327"/>
                    <a:pt x="523" y="275"/>
                  </a:cubicBezTo>
                  <a:cubicBezTo>
                    <a:pt x="523" y="231"/>
                    <a:pt x="494" y="194"/>
                    <a:pt x="453" y="183"/>
                  </a:cubicBezTo>
                  <a:close/>
                  <a:moveTo>
                    <a:pt x="383" y="292"/>
                  </a:moveTo>
                  <a:cubicBezTo>
                    <a:pt x="313" y="171"/>
                    <a:pt x="313" y="171"/>
                    <a:pt x="313" y="171"/>
                  </a:cubicBezTo>
                  <a:cubicBezTo>
                    <a:pt x="244" y="292"/>
                    <a:pt x="244" y="292"/>
                    <a:pt x="244" y="292"/>
                  </a:cubicBezTo>
                  <a:cubicBezTo>
                    <a:pt x="282" y="292"/>
                    <a:pt x="282" y="292"/>
                    <a:pt x="282" y="292"/>
                  </a:cubicBezTo>
                  <a:cubicBezTo>
                    <a:pt x="274" y="341"/>
                    <a:pt x="252" y="385"/>
                    <a:pt x="220" y="420"/>
                  </a:cubicBezTo>
                  <a:cubicBezTo>
                    <a:pt x="297" y="420"/>
                    <a:pt x="297" y="420"/>
                    <a:pt x="297" y="420"/>
                  </a:cubicBezTo>
                  <a:cubicBezTo>
                    <a:pt x="321" y="382"/>
                    <a:pt x="338" y="338"/>
                    <a:pt x="343" y="292"/>
                  </a:cubicBezTo>
                  <a:lnTo>
                    <a:pt x="383" y="29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</p:grpSp>
      <p:sp>
        <p:nvSpPr>
          <p:cNvPr id="59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11790055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6607149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066147C5-186D-4E4C-9242-8148410B3D18}"/>
              </a:ext>
            </a:extLst>
          </p:cNvPr>
          <p:cNvSpPr/>
          <p:nvPr userDrawn="1"/>
        </p:nvSpPr>
        <p:spPr>
          <a:xfrm>
            <a:off x="0" y="-18878"/>
            <a:ext cx="12192000" cy="6876879"/>
          </a:xfrm>
          <a:prstGeom prst="rect">
            <a:avLst/>
          </a:prstGeom>
          <a:gradFill flip="none" rotWithShape="1">
            <a:gsLst>
              <a:gs pos="18000">
                <a:schemeClr val="accent6">
                  <a:lumMod val="67000"/>
                </a:schemeClr>
              </a:gs>
              <a:gs pos="100000">
                <a:schemeClr val="accent6"/>
              </a:gs>
            </a:gsLst>
            <a:lin ang="162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5FCFC23A-FBBD-1442-BC6B-7AACBBDF17DB}"/>
              </a:ext>
            </a:extLst>
          </p:cNvPr>
          <p:cNvGrpSpPr/>
          <p:nvPr userDrawn="1"/>
        </p:nvGrpSpPr>
        <p:grpSpPr>
          <a:xfrm>
            <a:off x="0" y="-18879"/>
            <a:ext cx="12192000" cy="675904"/>
            <a:chOff x="0" y="4267200"/>
            <a:chExt cx="12192000" cy="675904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A96D3F2C-5F04-B84F-B9D5-D61433C77E05}"/>
                </a:ext>
              </a:extLst>
            </p:cNvPr>
            <p:cNvSpPr/>
            <p:nvPr userDrawn="1"/>
          </p:nvSpPr>
          <p:spPr>
            <a:xfrm>
              <a:off x="122213" y="4435305"/>
              <a:ext cx="11951853" cy="4294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dist="88900" dir="5400000" sx="97000" sy="97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xmlns="" id="{4BCEF6D8-1372-DA4D-AAD1-0712D4C4C8D4}"/>
                </a:ext>
              </a:extLst>
            </p:cNvPr>
            <p:cNvSpPr/>
            <p:nvPr userDrawn="1"/>
          </p:nvSpPr>
          <p:spPr>
            <a:xfrm>
              <a:off x="0" y="4267200"/>
              <a:ext cx="12192000" cy="675904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3E5CDD5-3156-47A9-A019-94E8642F4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7" y="162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17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F3E5CDD5-3156-47A9-A019-94E8642F4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62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"/>
          <p:cNvSpPr>
            <a:spLocks noGrp="1"/>
          </p:cNvSpPr>
          <p:nvPr>
            <p:ph type="title" hasCustomPrompt="1"/>
          </p:nvPr>
        </p:nvSpPr>
        <p:spPr>
          <a:xfrm>
            <a:off x="1602515" y="177110"/>
            <a:ext cx="9905376" cy="30780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000" kern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45780014-60AD-4D4C-B6BB-A0DF121B2FEB}"/>
              </a:ext>
            </a:extLst>
          </p:cNvPr>
          <p:cNvSpPr>
            <a:spLocks/>
          </p:cNvSpPr>
          <p:nvPr userDrawn="1"/>
        </p:nvSpPr>
        <p:spPr bwMode="auto">
          <a:xfrm>
            <a:off x="11662261" y="161564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102572" tIns="102572" rIns="102572" bIns="102572" rtlCol="0" anchor="ctr"/>
          <a:lstStyle/>
          <a:p>
            <a:pPr marL="0" marR="0" lvl="0" indent="0" algn="ctr" defTabSz="121866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>
              <a:ln>
                <a:noFill/>
              </a:ln>
              <a:solidFill>
                <a:srgbClr val="787E7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29" name="Группа 28"/>
          <p:cNvGrpSpPr/>
          <p:nvPr userDrawn="1"/>
        </p:nvGrpSpPr>
        <p:grpSpPr>
          <a:xfrm>
            <a:off x="1033528" y="89951"/>
            <a:ext cx="458235" cy="449148"/>
            <a:chOff x="10392685" y="3275727"/>
            <a:chExt cx="683389" cy="669839"/>
          </a:xfrm>
        </p:grpSpPr>
        <p:sp>
          <p:nvSpPr>
            <p:cNvPr id="30" name="Oval 98"/>
            <p:cNvSpPr/>
            <p:nvPr/>
          </p:nvSpPr>
          <p:spPr>
            <a:xfrm>
              <a:off x="10392685" y="3275727"/>
              <a:ext cx="683389" cy="669839"/>
            </a:xfrm>
            <a:prstGeom prst="ellipse">
              <a:avLst/>
            </a:prstGeom>
            <a:solidFill>
              <a:schemeClr val="accent6"/>
            </a:solidFill>
            <a:ln w="19050" cap="rnd" cmpd="sng" algn="ctr">
              <a:solidFill>
                <a:schemeClr val="accent2"/>
              </a:solidFill>
              <a:prstDash val="solid"/>
            </a:ln>
            <a:effectLst/>
          </p:spPr>
          <p:txBody>
            <a:bodyPr lIns="40500" tIns="40500" rIns="40500" bIns="40500" rtlCol="0" anchor="ctr"/>
            <a:lstStyle/>
            <a:p>
              <a:pPr algn="ctr" defTabSz="685783">
                <a:defRPr/>
              </a:pPr>
              <a:endParaRPr lang="en-US" sz="751" kern="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31" name="Group 4"/>
            <p:cNvGrpSpPr>
              <a:grpSpLocks noChangeAspect="1"/>
            </p:cNvGrpSpPr>
            <p:nvPr/>
          </p:nvGrpSpPr>
          <p:grpSpPr bwMode="auto">
            <a:xfrm>
              <a:off x="10566389" y="3383547"/>
              <a:ext cx="354013" cy="460412"/>
              <a:chOff x="3655" y="1900"/>
              <a:chExt cx="366" cy="476"/>
            </a:xfrm>
            <a:solidFill>
              <a:schemeClr val="accent2"/>
            </a:solidFill>
          </p:grpSpPr>
          <p:sp>
            <p:nvSpPr>
              <p:cNvPr id="32" name="Freeform 5"/>
              <p:cNvSpPr>
                <a:spLocks noEditPoints="1"/>
              </p:cNvSpPr>
              <p:nvPr/>
            </p:nvSpPr>
            <p:spPr bwMode="auto">
              <a:xfrm>
                <a:off x="3953" y="1971"/>
                <a:ext cx="68" cy="132"/>
              </a:xfrm>
              <a:custGeom>
                <a:avLst/>
                <a:gdLst>
                  <a:gd name="T0" fmla="*/ 31 w 38"/>
                  <a:gd name="T1" fmla="*/ 74 h 74"/>
                  <a:gd name="T2" fmla="*/ 27 w 38"/>
                  <a:gd name="T3" fmla="*/ 73 h 74"/>
                  <a:gd name="T4" fmla="*/ 18 w 38"/>
                  <a:gd name="T5" fmla="*/ 52 h 74"/>
                  <a:gd name="T6" fmla="*/ 17 w 38"/>
                  <a:gd name="T7" fmla="*/ 49 h 74"/>
                  <a:gd name="T8" fmla="*/ 2 w 38"/>
                  <a:gd name="T9" fmla="*/ 10 h 74"/>
                  <a:gd name="T10" fmla="*/ 4 w 38"/>
                  <a:gd name="T11" fmla="*/ 2 h 74"/>
                  <a:gd name="T12" fmla="*/ 12 w 38"/>
                  <a:gd name="T13" fmla="*/ 4 h 74"/>
                  <a:gd name="T14" fmla="*/ 29 w 38"/>
                  <a:gd name="T15" fmla="*/ 46 h 74"/>
                  <a:gd name="T16" fmla="*/ 29 w 38"/>
                  <a:gd name="T17" fmla="*/ 48 h 74"/>
                  <a:gd name="T18" fmla="*/ 30 w 38"/>
                  <a:gd name="T19" fmla="*/ 49 h 74"/>
                  <a:gd name="T20" fmla="*/ 34 w 38"/>
                  <a:gd name="T21" fmla="*/ 63 h 74"/>
                  <a:gd name="T22" fmla="*/ 36 w 38"/>
                  <a:gd name="T23" fmla="*/ 72 h 74"/>
                  <a:gd name="T24" fmla="*/ 31 w 38"/>
                  <a:gd name="T25" fmla="*/ 74 h 74"/>
                  <a:gd name="T26" fmla="*/ 31 w 38"/>
                  <a:gd name="T27" fmla="*/ 74 h 74"/>
                  <a:gd name="T28" fmla="*/ 31 w 38"/>
                  <a:gd name="T2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74">
                    <a:moveTo>
                      <a:pt x="31" y="74"/>
                    </a:moveTo>
                    <a:cubicBezTo>
                      <a:pt x="29" y="74"/>
                      <a:pt x="28" y="74"/>
                      <a:pt x="27" y="73"/>
                    </a:cubicBezTo>
                    <a:cubicBezTo>
                      <a:pt x="23" y="70"/>
                      <a:pt x="19" y="60"/>
                      <a:pt x="18" y="52"/>
                    </a:cubicBezTo>
                    <a:cubicBezTo>
                      <a:pt x="17" y="52"/>
                      <a:pt x="17" y="51"/>
                      <a:pt x="17" y="49"/>
                    </a:cubicBezTo>
                    <a:cubicBezTo>
                      <a:pt x="15" y="43"/>
                      <a:pt x="11" y="26"/>
                      <a:pt x="2" y="10"/>
                    </a:cubicBezTo>
                    <a:cubicBezTo>
                      <a:pt x="0" y="7"/>
                      <a:pt x="1" y="3"/>
                      <a:pt x="4" y="2"/>
                    </a:cubicBezTo>
                    <a:cubicBezTo>
                      <a:pt x="7" y="0"/>
                      <a:pt x="11" y="1"/>
                      <a:pt x="12" y="4"/>
                    </a:cubicBezTo>
                    <a:cubicBezTo>
                      <a:pt x="23" y="21"/>
                      <a:pt x="27" y="39"/>
                      <a:pt x="29" y="46"/>
                    </a:cubicBezTo>
                    <a:cubicBezTo>
                      <a:pt x="29" y="47"/>
                      <a:pt x="29" y="48"/>
                      <a:pt x="29" y="48"/>
                    </a:cubicBezTo>
                    <a:cubicBezTo>
                      <a:pt x="29" y="48"/>
                      <a:pt x="30" y="49"/>
                      <a:pt x="30" y="49"/>
                    </a:cubicBezTo>
                    <a:cubicBezTo>
                      <a:pt x="31" y="55"/>
                      <a:pt x="33" y="62"/>
                      <a:pt x="34" y="63"/>
                    </a:cubicBezTo>
                    <a:cubicBezTo>
                      <a:pt x="37" y="65"/>
                      <a:pt x="38" y="69"/>
                      <a:pt x="36" y="72"/>
                    </a:cubicBezTo>
                    <a:cubicBezTo>
                      <a:pt x="34" y="73"/>
                      <a:pt x="32" y="74"/>
                      <a:pt x="31" y="74"/>
                    </a:cubicBezTo>
                    <a:close/>
                    <a:moveTo>
                      <a:pt x="31" y="74"/>
                    </a:moveTo>
                    <a:cubicBezTo>
                      <a:pt x="31" y="74"/>
                      <a:pt x="31" y="74"/>
                      <a:pt x="31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33" name="Freeform 6"/>
              <p:cNvSpPr>
                <a:spLocks noEditPoints="1"/>
              </p:cNvSpPr>
              <p:nvPr/>
            </p:nvSpPr>
            <p:spPr bwMode="auto">
              <a:xfrm>
                <a:off x="3810" y="1900"/>
                <a:ext cx="143" cy="62"/>
              </a:xfrm>
              <a:custGeom>
                <a:avLst/>
                <a:gdLst>
                  <a:gd name="T0" fmla="*/ 74 w 80"/>
                  <a:gd name="T1" fmla="*/ 35 h 35"/>
                  <a:gd name="T2" fmla="*/ 69 w 80"/>
                  <a:gd name="T3" fmla="*/ 34 h 35"/>
                  <a:gd name="T4" fmla="*/ 25 w 80"/>
                  <a:gd name="T5" fmla="*/ 12 h 35"/>
                  <a:gd name="T6" fmla="*/ 8 w 80"/>
                  <a:gd name="T7" fmla="*/ 14 h 35"/>
                  <a:gd name="T8" fmla="*/ 1 w 80"/>
                  <a:gd name="T9" fmla="*/ 9 h 35"/>
                  <a:gd name="T10" fmla="*/ 6 w 80"/>
                  <a:gd name="T11" fmla="*/ 2 h 35"/>
                  <a:gd name="T12" fmla="*/ 26 w 80"/>
                  <a:gd name="T13" fmla="*/ 0 h 35"/>
                  <a:gd name="T14" fmla="*/ 26 w 80"/>
                  <a:gd name="T15" fmla="*/ 0 h 35"/>
                  <a:gd name="T16" fmla="*/ 78 w 80"/>
                  <a:gd name="T17" fmla="*/ 25 h 35"/>
                  <a:gd name="T18" fmla="*/ 78 w 80"/>
                  <a:gd name="T19" fmla="*/ 34 h 35"/>
                  <a:gd name="T20" fmla="*/ 74 w 80"/>
                  <a:gd name="T21" fmla="*/ 35 h 35"/>
                  <a:gd name="T22" fmla="*/ 74 w 80"/>
                  <a:gd name="T23" fmla="*/ 35 h 35"/>
                  <a:gd name="T24" fmla="*/ 74 w 80"/>
                  <a:gd name="T2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35">
                    <a:moveTo>
                      <a:pt x="74" y="35"/>
                    </a:moveTo>
                    <a:cubicBezTo>
                      <a:pt x="72" y="35"/>
                      <a:pt x="70" y="35"/>
                      <a:pt x="69" y="34"/>
                    </a:cubicBezTo>
                    <a:cubicBezTo>
                      <a:pt x="57" y="21"/>
                      <a:pt x="42" y="14"/>
                      <a:pt x="25" y="12"/>
                    </a:cubicBezTo>
                    <a:cubicBezTo>
                      <a:pt x="19" y="12"/>
                      <a:pt x="14" y="13"/>
                      <a:pt x="8" y="14"/>
                    </a:cubicBezTo>
                    <a:cubicBezTo>
                      <a:pt x="5" y="14"/>
                      <a:pt x="2" y="12"/>
                      <a:pt x="1" y="9"/>
                    </a:cubicBezTo>
                    <a:cubicBezTo>
                      <a:pt x="0" y="5"/>
                      <a:pt x="3" y="2"/>
                      <a:pt x="6" y="2"/>
                    </a:cubicBezTo>
                    <a:cubicBezTo>
                      <a:pt x="12" y="0"/>
                      <a:pt x="19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46" y="2"/>
                      <a:pt x="64" y="10"/>
                      <a:pt x="78" y="25"/>
                    </a:cubicBezTo>
                    <a:cubicBezTo>
                      <a:pt x="80" y="27"/>
                      <a:pt x="80" y="31"/>
                      <a:pt x="78" y="34"/>
                    </a:cubicBezTo>
                    <a:cubicBezTo>
                      <a:pt x="77" y="35"/>
                      <a:pt x="75" y="35"/>
                      <a:pt x="74" y="35"/>
                    </a:cubicBezTo>
                    <a:close/>
                    <a:moveTo>
                      <a:pt x="74" y="35"/>
                    </a:moveTo>
                    <a:cubicBezTo>
                      <a:pt x="74" y="35"/>
                      <a:pt x="74" y="35"/>
                      <a:pt x="74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34" name="Freeform 7"/>
              <p:cNvSpPr>
                <a:spLocks noEditPoints="1"/>
              </p:cNvSpPr>
              <p:nvPr/>
            </p:nvSpPr>
            <p:spPr bwMode="auto">
              <a:xfrm>
                <a:off x="3657" y="1927"/>
                <a:ext cx="120" cy="119"/>
              </a:xfrm>
              <a:custGeom>
                <a:avLst/>
                <a:gdLst>
                  <a:gd name="T0" fmla="*/ 6 w 67"/>
                  <a:gd name="T1" fmla="*/ 67 h 67"/>
                  <a:gd name="T2" fmla="*/ 5 w 67"/>
                  <a:gd name="T3" fmla="*/ 67 h 67"/>
                  <a:gd name="T4" fmla="*/ 0 w 67"/>
                  <a:gd name="T5" fmla="*/ 62 h 67"/>
                  <a:gd name="T6" fmla="*/ 3 w 67"/>
                  <a:gd name="T7" fmla="*/ 56 h 67"/>
                  <a:gd name="T8" fmla="*/ 4 w 67"/>
                  <a:gd name="T9" fmla="*/ 55 h 67"/>
                  <a:gd name="T10" fmla="*/ 14 w 67"/>
                  <a:gd name="T11" fmla="*/ 46 h 67"/>
                  <a:gd name="T12" fmla="*/ 15 w 67"/>
                  <a:gd name="T13" fmla="*/ 44 h 67"/>
                  <a:gd name="T14" fmla="*/ 24 w 67"/>
                  <a:gd name="T15" fmla="*/ 33 h 67"/>
                  <a:gd name="T16" fmla="*/ 56 w 67"/>
                  <a:gd name="T17" fmla="*/ 2 h 67"/>
                  <a:gd name="T18" fmla="*/ 65 w 67"/>
                  <a:gd name="T19" fmla="*/ 3 h 67"/>
                  <a:gd name="T20" fmla="*/ 63 w 67"/>
                  <a:gd name="T21" fmla="*/ 12 h 67"/>
                  <a:gd name="T22" fmla="*/ 33 w 67"/>
                  <a:gd name="T23" fmla="*/ 41 h 67"/>
                  <a:gd name="T24" fmla="*/ 25 w 67"/>
                  <a:gd name="T25" fmla="*/ 51 h 67"/>
                  <a:gd name="T26" fmla="*/ 24 w 67"/>
                  <a:gd name="T27" fmla="*/ 53 h 67"/>
                  <a:gd name="T28" fmla="*/ 14 w 67"/>
                  <a:gd name="T29" fmla="*/ 63 h 67"/>
                  <a:gd name="T30" fmla="*/ 6 w 67"/>
                  <a:gd name="T31" fmla="*/ 67 h 67"/>
                  <a:gd name="T32" fmla="*/ 6 w 67"/>
                  <a:gd name="T33" fmla="*/ 67 h 67"/>
                  <a:gd name="T34" fmla="*/ 6 w 67"/>
                  <a:gd name="T3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7" h="67">
                    <a:moveTo>
                      <a:pt x="6" y="67"/>
                    </a:moveTo>
                    <a:cubicBezTo>
                      <a:pt x="6" y="67"/>
                      <a:pt x="6" y="67"/>
                      <a:pt x="5" y="67"/>
                    </a:cubicBezTo>
                    <a:cubicBezTo>
                      <a:pt x="3" y="66"/>
                      <a:pt x="1" y="64"/>
                      <a:pt x="0" y="62"/>
                    </a:cubicBezTo>
                    <a:cubicBezTo>
                      <a:pt x="0" y="59"/>
                      <a:pt x="1" y="57"/>
                      <a:pt x="3" y="56"/>
                    </a:cubicBezTo>
                    <a:cubicBezTo>
                      <a:pt x="3" y="55"/>
                      <a:pt x="4" y="55"/>
                      <a:pt x="4" y="55"/>
                    </a:cubicBezTo>
                    <a:cubicBezTo>
                      <a:pt x="6" y="54"/>
                      <a:pt x="10" y="51"/>
                      <a:pt x="14" y="46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8" y="41"/>
                      <a:pt x="20" y="37"/>
                      <a:pt x="24" y="33"/>
                    </a:cubicBezTo>
                    <a:cubicBezTo>
                      <a:pt x="34" y="20"/>
                      <a:pt x="45" y="10"/>
                      <a:pt x="56" y="2"/>
                    </a:cubicBezTo>
                    <a:cubicBezTo>
                      <a:pt x="59" y="0"/>
                      <a:pt x="63" y="1"/>
                      <a:pt x="65" y="3"/>
                    </a:cubicBezTo>
                    <a:cubicBezTo>
                      <a:pt x="67" y="6"/>
                      <a:pt x="66" y="10"/>
                      <a:pt x="63" y="12"/>
                    </a:cubicBezTo>
                    <a:cubicBezTo>
                      <a:pt x="53" y="19"/>
                      <a:pt x="43" y="29"/>
                      <a:pt x="33" y="41"/>
                    </a:cubicBezTo>
                    <a:cubicBezTo>
                      <a:pt x="30" y="45"/>
                      <a:pt x="27" y="48"/>
                      <a:pt x="25" y="51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0" y="58"/>
                      <a:pt x="17" y="61"/>
                      <a:pt x="14" y="63"/>
                    </a:cubicBezTo>
                    <a:cubicBezTo>
                      <a:pt x="10" y="66"/>
                      <a:pt x="8" y="67"/>
                      <a:pt x="6" y="67"/>
                    </a:cubicBezTo>
                    <a:close/>
                    <a:moveTo>
                      <a:pt x="6" y="67"/>
                    </a:moveTo>
                    <a:cubicBezTo>
                      <a:pt x="6" y="67"/>
                      <a:pt x="6" y="67"/>
                      <a:pt x="6" y="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35" name="Freeform 8"/>
              <p:cNvSpPr>
                <a:spLocks noEditPoints="1"/>
              </p:cNvSpPr>
              <p:nvPr/>
            </p:nvSpPr>
            <p:spPr bwMode="auto">
              <a:xfrm>
                <a:off x="3655" y="2114"/>
                <a:ext cx="81" cy="44"/>
              </a:xfrm>
              <a:custGeom>
                <a:avLst/>
                <a:gdLst>
                  <a:gd name="T0" fmla="*/ 7 w 45"/>
                  <a:gd name="T1" fmla="*/ 25 h 25"/>
                  <a:gd name="T2" fmla="*/ 1 w 45"/>
                  <a:gd name="T3" fmla="*/ 21 h 25"/>
                  <a:gd name="T4" fmla="*/ 6 w 45"/>
                  <a:gd name="T5" fmla="*/ 13 h 25"/>
                  <a:gd name="T6" fmla="*/ 35 w 45"/>
                  <a:gd name="T7" fmla="*/ 1 h 25"/>
                  <a:gd name="T8" fmla="*/ 44 w 45"/>
                  <a:gd name="T9" fmla="*/ 4 h 25"/>
                  <a:gd name="T10" fmla="*/ 41 w 45"/>
                  <a:gd name="T11" fmla="*/ 12 h 25"/>
                  <a:gd name="T12" fmla="*/ 9 w 45"/>
                  <a:gd name="T13" fmla="*/ 25 h 25"/>
                  <a:gd name="T14" fmla="*/ 7 w 45"/>
                  <a:gd name="T15" fmla="*/ 25 h 25"/>
                  <a:gd name="T16" fmla="*/ 7 w 45"/>
                  <a:gd name="T17" fmla="*/ 25 h 25"/>
                  <a:gd name="T18" fmla="*/ 7 w 45"/>
                  <a:gd name="T1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5" h="25">
                    <a:moveTo>
                      <a:pt x="7" y="25"/>
                    </a:moveTo>
                    <a:cubicBezTo>
                      <a:pt x="4" y="25"/>
                      <a:pt x="2" y="24"/>
                      <a:pt x="1" y="21"/>
                    </a:cubicBezTo>
                    <a:cubicBezTo>
                      <a:pt x="0" y="17"/>
                      <a:pt x="2" y="14"/>
                      <a:pt x="6" y="13"/>
                    </a:cubicBezTo>
                    <a:cubicBezTo>
                      <a:pt x="17" y="10"/>
                      <a:pt x="28" y="5"/>
                      <a:pt x="35" y="1"/>
                    </a:cubicBezTo>
                    <a:cubicBezTo>
                      <a:pt x="38" y="0"/>
                      <a:pt x="42" y="1"/>
                      <a:pt x="44" y="4"/>
                    </a:cubicBezTo>
                    <a:cubicBezTo>
                      <a:pt x="45" y="7"/>
                      <a:pt x="44" y="11"/>
                      <a:pt x="41" y="12"/>
                    </a:cubicBezTo>
                    <a:cubicBezTo>
                      <a:pt x="33" y="16"/>
                      <a:pt x="21" y="22"/>
                      <a:pt x="9" y="25"/>
                    </a:cubicBezTo>
                    <a:cubicBezTo>
                      <a:pt x="8" y="25"/>
                      <a:pt x="8" y="25"/>
                      <a:pt x="7" y="25"/>
                    </a:cubicBezTo>
                    <a:close/>
                    <a:moveTo>
                      <a:pt x="7" y="25"/>
                    </a:moveTo>
                    <a:cubicBezTo>
                      <a:pt x="7" y="25"/>
                      <a:pt x="7" y="25"/>
                      <a:pt x="7" y="2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36" name="Freeform 9"/>
              <p:cNvSpPr>
                <a:spLocks noEditPoints="1"/>
              </p:cNvSpPr>
              <p:nvPr/>
            </p:nvSpPr>
            <p:spPr bwMode="auto">
              <a:xfrm>
                <a:off x="3738" y="1989"/>
                <a:ext cx="211" cy="132"/>
              </a:xfrm>
              <a:custGeom>
                <a:avLst/>
                <a:gdLst>
                  <a:gd name="T0" fmla="*/ 7 w 118"/>
                  <a:gd name="T1" fmla="*/ 74 h 74"/>
                  <a:gd name="T2" fmla="*/ 2 w 118"/>
                  <a:gd name="T3" fmla="*/ 71 h 74"/>
                  <a:gd name="T4" fmla="*/ 3 w 118"/>
                  <a:gd name="T5" fmla="*/ 63 h 74"/>
                  <a:gd name="T6" fmla="*/ 45 w 118"/>
                  <a:gd name="T7" fmla="*/ 27 h 74"/>
                  <a:gd name="T8" fmla="*/ 94 w 118"/>
                  <a:gd name="T9" fmla="*/ 5 h 74"/>
                  <a:gd name="T10" fmla="*/ 117 w 118"/>
                  <a:gd name="T11" fmla="*/ 27 h 74"/>
                  <a:gd name="T12" fmla="*/ 113 w 118"/>
                  <a:gd name="T13" fmla="*/ 34 h 74"/>
                  <a:gd name="T14" fmla="*/ 105 w 118"/>
                  <a:gd name="T15" fmla="*/ 30 h 74"/>
                  <a:gd name="T16" fmla="*/ 90 w 118"/>
                  <a:gd name="T17" fmla="*/ 17 h 74"/>
                  <a:gd name="T18" fmla="*/ 54 w 118"/>
                  <a:gd name="T19" fmla="*/ 35 h 74"/>
                  <a:gd name="T20" fmla="*/ 10 w 118"/>
                  <a:gd name="T21" fmla="*/ 73 h 74"/>
                  <a:gd name="T22" fmla="*/ 7 w 118"/>
                  <a:gd name="T23" fmla="*/ 74 h 74"/>
                  <a:gd name="T24" fmla="*/ 7 w 118"/>
                  <a:gd name="T25" fmla="*/ 74 h 74"/>
                  <a:gd name="T26" fmla="*/ 7 w 118"/>
                  <a:gd name="T27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8" h="74">
                    <a:moveTo>
                      <a:pt x="7" y="74"/>
                    </a:moveTo>
                    <a:cubicBezTo>
                      <a:pt x="5" y="74"/>
                      <a:pt x="3" y="73"/>
                      <a:pt x="2" y="71"/>
                    </a:cubicBezTo>
                    <a:cubicBezTo>
                      <a:pt x="0" y="69"/>
                      <a:pt x="0" y="65"/>
                      <a:pt x="3" y="63"/>
                    </a:cubicBezTo>
                    <a:cubicBezTo>
                      <a:pt x="25" y="48"/>
                      <a:pt x="45" y="27"/>
                      <a:pt x="45" y="27"/>
                    </a:cubicBezTo>
                    <a:cubicBezTo>
                      <a:pt x="61" y="8"/>
                      <a:pt x="79" y="0"/>
                      <a:pt x="94" y="5"/>
                    </a:cubicBezTo>
                    <a:cubicBezTo>
                      <a:pt x="109" y="9"/>
                      <a:pt x="115" y="19"/>
                      <a:pt x="117" y="27"/>
                    </a:cubicBezTo>
                    <a:cubicBezTo>
                      <a:pt x="118" y="30"/>
                      <a:pt x="116" y="33"/>
                      <a:pt x="113" y="34"/>
                    </a:cubicBezTo>
                    <a:cubicBezTo>
                      <a:pt x="110" y="35"/>
                      <a:pt x="106" y="34"/>
                      <a:pt x="105" y="30"/>
                    </a:cubicBezTo>
                    <a:cubicBezTo>
                      <a:pt x="103" y="24"/>
                      <a:pt x="98" y="19"/>
                      <a:pt x="90" y="17"/>
                    </a:cubicBezTo>
                    <a:cubicBezTo>
                      <a:pt x="79" y="13"/>
                      <a:pt x="64" y="24"/>
                      <a:pt x="54" y="35"/>
                    </a:cubicBezTo>
                    <a:cubicBezTo>
                      <a:pt x="52" y="38"/>
                      <a:pt x="32" y="58"/>
                      <a:pt x="10" y="73"/>
                    </a:cubicBezTo>
                    <a:cubicBezTo>
                      <a:pt x="9" y="74"/>
                      <a:pt x="8" y="74"/>
                      <a:pt x="7" y="74"/>
                    </a:cubicBezTo>
                    <a:close/>
                    <a:moveTo>
                      <a:pt x="7" y="74"/>
                    </a:moveTo>
                    <a:cubicBezTo>
                      <a:pt x="7" y="74"/>
                      <a:pt x="7" y="74"/>
                      <a:pt x="7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37" name="Freeform 10"/>
              <p:cNvSpPr>
                <a:spLocks noEditPoints="1"/>
              </p:cNvSpPr>
              <p:nvPr/>
            </p:nvSpPr>
            <p:spPr bwMode="auto">
              <a:xfrm>
                <a:off x="3677" y="2071"/>
                <a:ext cx="269" cy="203"/>
              </a:xfrm>
              <a:custGeom>
                <a:avLst/>
                <a:gdLst>
                  <a:gd name="T0" fmla="*/ 7 w 150"/>
                  <a:gd name="T1" fmla="*/ 114 h 114"/>
                  <a:gd name="T2" fmla="*/ 1 w 150"/>
                  <a:gd name="T3" fmla="*/ 110 h 114"/>
                  <a:gd name="T4" fmla="*/ 4 w 150"/>
                  <a:gd name="T5" fmla="*/ 102 h 114"/>
                  <a:gd name="T6" fmla="*/ 82 w 150"/>
                  <a:gd name="T7" fmla="*/ 58 h 114"/>
                  <a:gd name="T8" fmla="*/ 138 w 150"/>
                  <a:gd name="T9" fmla="*/ 5 h 114"/>
                  <a:gd name="T10" fmla="*/ 146 w 150"/>
                  <a:gd name="T11" fmla="*/ 1 h 114"/>
                  <a:gd name="T12" fmla="*/ 149 w 150"/>
                  <a:gd name="T13" fmla="*/ 9 h 114"/>
                  <a:gd name="T14" fmla="*/ 89 w 150"/>
                  <a:gd name="T15" fmla="*/ 69 h 114"/>
                  <a:gd name="T16" fmla="*/ 9 w 150"/>
                  <a:gd name="T17" fmla="*/ 113 h 114"/>
                  <a:gd name="T18" fmla="*/ 7 w 150"/>
                  <a:gd name="T19" fmla="*/ 114 h 114"/>
                  <a:gd name="T20" fmla="*/ 7 w 150"/>
                  <a:gd name="T21" fmla="*/ 114 h 114"/>
                  <a:gd name="T22" fmla="*/ 7 w 150"/>
                  <a:gd name="T23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0" h="114">
                    <a:moveTo>
                      <a:pt x="7" y="114"/>
                    </a:moveTo>
                    <a:cubicBezTo>
                      <a:pt x="4" y="114"/>
                      <a:pt x="2" y="113"/>
                      <a:pt x="1" y="110"/>
                    </a:cubicBezTo>
                    <a:cubicBezTo>
                      <a:pt x="0" y="107"/>
                      <a:pt x="1" y="103"/>
                      <a:pt x="4" y="102"/>
                    </a:cubicBezTo>
                    <a:cubicBezTo>
                      <a:pt x="31" y="91"/>
                      <a:pt x="68" y="68"/>
                      <a:pt x="82" y="58"/>
                    </a:cubicBezTo>
                    <a:cubicBezTo>
                      <a:pt x="112" y="39"/>
                      <a:pt x="131" y="20"/>
                      <a:pt x="138" y="5"/>
                    </a:cubicBezTo>
                    <a:cubicBezTo>
                      <a:pt x="139" y="2"/>
                      <a:pt x="143" y="0"/>
                      <a:pt x="146" y="1"/>
                    </a:cubicBezTo>
                    <a:cubicBezTo>
                      <a:pt x="149" y="3"/>
                      <a:pt x="150" y="6"/>
                      <a:pt x="149" y="9"/>
                    </a:cubicBezTo>
                    <a:cubicBezTo>
                      <a:pt x="140" y="33"/>
                      <a:pt x="111" y="54"/>
                      <a:pt x="89" y="69"/>
                    </a:cubicBezTo>
                    <a:cubicBezTo>
                      <a:pt x="74" y="78"/>
                      <a:pt x="36" y="102"/>
                      <a:pt x="9" y="113"/>
                    </a:cubicBezTo>
                    <a:cubicBezTo>
                      <a:pt x="8" y="114"/>
                      <a:pt x="8" y="114"/>
                      <a:pt x="7" y="114"/>
                    </a:cubicBezTo>
                    <a:close/>
                    <a:moveTo>
                      <a:pt x="7" y="114"/>
                    </a:moveTo>
                    <a:cubicBezTo>
                      <a:pt x="7" y="114"/>
                      <a:pt x="7" y="114"/>
                      <a:pt x="7" y="1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38" name="Freeform 11"/>
              <p:cNvSpPr>
                <a:spLocks noEditPoints="1"/>
              </p:cNvSpPr>
              <p:nvPr/>
            </p:nvSpPr>
            <p:spPr bwMode="auto">
              <a:xfrm>
                <a:off x="3766" y="1946"/>
                <a:ext cx="112" cy="73"/>
              </a:xfrm>
              <a:custGeom>
                <a:avLst/>
                <a:gdLst>
                  <a:gd name="T0" fmla="*/ 15 w 62"/>
                  <a:gd name="T1" fmla="*/ 35 h 41"/>
                  <a:gd name="T2" fmla="*/ 33 w 62"/>
                  <a:gd name="T3" fmla="*/ 21 h 41"/>
                  <a:gd name="T4" fmla="*/ 56 w 62"/>
                  <a:gd name="T5" fmla="*/ 13 h 41"/>
                  <a:gd name="T6" fmla="*/ 62 w 62"/>
                  <a:gd name="T7" fmla="*/ 7 h 41"/>
                  <a:gd name="T8" fmla="*/ 56 w 62"/>
                  <a:gd name="T9" fmla="*/ 0 h 41"/>
                  <a:gd name="T10" fmla="*/ 6 w 62"/>
                  <a:gd name="T11" fmla="*/ 26 h 41"/>
                  <a:gd name="T12" fmla="*/ 15 w 62"/>
                  <a:gd name="T13" fmla="*/ 35 h 41"/>
                  <a:gd name="T14" fmla="*/ 15 w 62"/>
                  <a:gd name="T15" fmla="*/ 35 h 41"/>
                  <a:gd name="T16" fmla="*/ 15 w 62"/>
                  <a:gd name="T17" fmla="*/ 3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41">
                    <a:moveTo>
                      <a:pt x="15" y="35"/>
                    </a:moveTo>
                    <a:cubicBezTo>
                      <a:pt x="20" y="30"/>
                      <a:pt x="26" y="25"/>
                      <a:pt x="33" y="21"/>
                    </a:cubicBezTo>
                    <a:cubicBezTo>
                      <a:pt x="40" y="17"/>
                      <a:pt x="48" y="14"/>
                      <a:pt x="56" y="13"/>
                    </a:cubicBezTo>
                    <a:cubicBezTo>
                      <a:pt x="59" y="13"/>
                      <a:pt x="62" y="10"/>
                      <a:pt x="62" y="7"/>
                    </a:cubicBezTo>
                    <a:cubicBezTo>
                      <a:pt x="62" y="4"/>
                      <a:pt x="59" y="0"/>
                      <a:pt x="56" y="0"/>
                    </a:cubicBezTo>
                    <a:cubicBezTo>
                      <a:pt x="36" y="3"/>
                      <a:pt x="20" y="13"/>
                      <a:pt x="6" y="26"/>
                    </a:cubicBezTo>
                    <a:cubicBezTo>
                      <a:pt x="0" y="32"/>
                      <a:pt x="9" y="41"/>
                      <a:pt x="15" y="35"/>
                    </a:cubicBezTo>
                    <a:close/>
                    <a:moveTo>
                      <a:pt x="15" y="35"/>
                    </a:moveTo>
                    <a:cubicBezTo>
                      <a:pt x="15" y="35"/>
                      <a:pt x="15" y="35"/>
                      <a:pt x="15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39" name="Freeform 12"/>
              <p:cNvSpPr>
                <a:spLocks noEditPoints="1"/>
              </p:cNvSpPr>
              <p:nvPr/>
            </p:nvSpPr>
            <p:spPr bwMode="auto">
              <a:xfrm>
                <a:off x="3661" y="2023"/>
                <a:ext cx="105" cy="78"/>
              </a:xfrm>
              <a:custGeom>
                <a:avLst/>
                <a:gdLst>
                  <a:gd name="T0" fmla="*/ 8 w 59"/>
                  <a:gd name="T1" fmla="*/ 43 h 44"/>
                  <a:gd name="T2" fmla="*/ 32 w 59"/>
                  <a:gd name="T3" fmla="*/ 32 h 44"/>
                  <a:gd name="T4" fmla="*/ 54 w 59"/>
                  <a:gd name="T5" fmla="*/ 14 h 44"/>
                  <a:gd name="T6" fmla="*/ 45 w 59"/>
                  <a:gd name="T7" fmla="*/ 6 h 44"/>
                  <a:gd name="T8" fmla="*/ 26 w 59"/>
                  <a:gd name="T9" fmla="*/ 21 h 44"/>
                  <a:gd name="T10" fmla="*/ 5 w 59"/>
                  <a:gd name="T11" fmla="*/ 31 h 44"/>
                  <a:gd name="T12" fmla="*/ 1 w 59"/>
                  <a:gd name="T13" fmla="*/ 39 h 44"/>
                  <a:gd name="T14" fmla="*/ 8 w 59"/>
                  <a:gd name="T15" fmla="*/ 43 h 44"/>
                  <a:gd name="T16" fmla="*/ 8 w 59"/>
                  <a:gd name="T17" fmla="*/ 43 h 44"/>
                  <a:gd name="T18" fmla="*/ 8 w 59"/>
                  <a:gd name="T1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44">
                    <a:moveTo>
                      <a:pt x="8" y="43"/>
                    </a:moveTo>
                    <a:cubicBezTo>
                      <a:pt x="17" y="41"/>
                      <a:pt x="24" y="36"/>
                      <a:pt x="32" y="32"/>
                    </a:cubicBezTo>
                    <a:cubicBezTo>
                      <a:pt x="40" y="28"/>
                      <a:pt x="47" y="21"/>
                      <a:pt x="54" y="14"/>
                    </a:cubicBezTo>
                    <a:cubicBezTo>
                      <a:pt x="59" y="9"/>
                      <a:pt x="50" y="0"/>
                      <a:pt x="45" y="6"/>
                    </a:cubicBezTo>
                    <a:cubicBezTo>
                      <a:pt x="39" y="12"/>
                      <a:pt x="33" y="17"/>
                      <a:pt x="26" y="21"/>
                    </a:cubicBezTo>
                    <a:cubicBezTo>
                      <a:pt x="19" y="25"/>
                      <a:pt x="12" y="29"/>
                      <a:pt x="5" y="31"/>
                    </a:cubicBezTo>
                    <a:cubicBezTo>
                      <a:pt x="2" y="32"/>
                      <a:pt x="0" y="36"/>
                      <a:pt x="1" y="39"/>
                    </a:cubicBezTo>
                    <a:cubicBezTo>
                      <a:pt x="1" y="42"/>
                      <a:pt x="5" y="44"/>
                      <a:pt x="8" y="43"/>
                    </a:cubicBezTo>
                    <a:close/>
                    <a:moveTo>
                      <a:pt x="8" y="43"/>
                    </a:moveTo>
                    <a:cubicBezTo>
                      <a:pt x="8" y="43"/>
                      <a:pt x="8" y="43"/>
                      <a:pt x="8" y="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0" name="Freeform 13"/>
              <p:cNvSpPr>
                <a:spLocks noEditPoints="1"/>
              </p:cNvSpPr>
              <p:nvPr/>
            </p:nvSpPr>
            <p:spPr bwMode="auto">
              <a:xfrm>
                <a:off x="3824" y="2046"/>
                <a:ext cx="75" cy="78"/>
              </a:xfrm>
              <a:custGeom>
                <a:avLst/>
                <a:gdLst>
                  <a:gd name="T0" fmla="*/ 7 w 42"/>
                  <a:gd name="T1" fmla="*/ 44 h 44"/>
                  <a:gd name="T2" fmla="*/ 3 w 42"/>
                  <a:gd name="T3" fmla="*/ 42 h 44"/>
                  <a:gd name="T4" fmla="*/ 3 w 42"/>
                  <a:gd name="T5" fmla="*/ 33 h 44"/>
                  <a:gd name="T6" fmla="*/ 30 w 42"/>
                  <a:gd name="T7" fmla="*/ 4 h 44"/>
                  <a:gd name="T8" fmla="*/ 39 w 42"/>
                  <a:gd name="T9" fmla="*/ 2 h 44"/>
                  <a:gd name="T10" fmla="*/ 40 w 42"/>
                  <a:gd name="T11" fmla="*/ 11 h 44"/>
                  <a:gd name="T12" fmla="*/ 11 w 42"/>
                  <a:gd name="T13" fmla="*/ 43 h 44"/>
                  <a:gd name="T14" fmla="*/ 7 w 42"/>
                  <a:gd name="T15" fmla="*/ 44 h 44"/>
                  <a:gd name="T16" fmla="*/ 7 w 42"/>
                  <a:gd name="T17" fmla="*/ 44 h 44"/>
                  <a:gd name="T18" fmla="*/ 7 w 42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" h="44">
                    <a:moveTo>
                      <a:pt x="7" y="44"/>
                    </a:moveTo>
                    <a:cubicBezTo>
                      <a:pt x="6" y="44"/>
                      <a:pt x="4" y="44"/>
                      <a:pt x="3" y="42"/>
                    </a:cubicBezTo>
                    <a:cubicBezTo>
                      <a:pt x="0" y="40"/>
                      <a:pt x="1" y="36"/>
                      <a:pt x="3" y="33"/>
                    </a:cubicBezTo>
                    <a:cubicBezTo>
                      <a:pt x="14" y="24"/>
                      <a:pt x="23" y="14"/>
                      <a:pt x="30" y="4"/>
                    </a:cubicBezTo>
                    <a:cubicBezTo>
                      <a:pt x="32" y="1"/>
                      <a:pt x="36" y="0"/>
                      <a:pt x="39" y="2"/>
                    </a:cubicBezTo>
                    <a:cubicBezTo>
                      <a:pt x="42" y="4"/>
                      <a:pt x="42" y="8"/>
                      <a:pt x="40" y="11"/>
                    </a:cubicBezTo>
                    <a:cubicBezTo>
                      <a:pt x="33" y="22"/>
                      <a:pt x="23" y="33"/>
                      <a:pt x="11" y="43"/>
                    </a:cubicBezTo>
                    <a:cubicBezTo>
                      <a:pt x="10" y="44"/>
                      <a:pt x="9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1" name="Freeform 14"/>
              <p:cNvSpPr>
                <a:spLocks noEditPoints="1"/>
              </p:cNvSpPr>
              <p:nvPr/>
            </p:nvSpPr>
            <p:spPr bwMode="auto">
              <a:xfrm>
                <a:off x="3662" y="2139"/>
                <a:ext cx="139" cy="78"/>
              </a:xfrm>
              <a:custGeom>
                <a:avLst/>
                <a:gdLst>
                  <a:gd name="T0" fmla="*/ 7 w 77"/>
                  <a:gd name="T1" fmla="*/ 44 h 44"/>
                  <a:gd name="T2" fmla="*/ 1 w 77"/>
                  <a:gd name="T3" fmla="*/ 40 h 44"/>
                  <a:gd name="T4" fmla="*/ 5 w 77"/>
                  <a:gd name="T5" fmla="*/ 32 h 44"/>
                  <a:gd name="T6" fmla="*/ 5 w 77"/>
                  <a:gd name="T7" fmla="*/ 32 h 44"/>
                  <a:gd name="T8" fmla="*/ 47 w 77"/>
                  <a:gd name="T9" fmla="*/ 13 h 44"/>
                  <a:gd name="T10" fmla="*/ 67 w 77"/>
                  <a:gd name="T11" fmla="*/ 1 h 44"/>
                  <a:gd name="T12" fmla="*/ 75 w 77"/>
                  <a:gd name="T13" fmla="*/ 3 h 44"/>
                  <a:gd name="T14" fmla="*/ 74 w 77"/>
                  <a:gd name="T15" fmla="*/ 12 h 44"/>
                  <a:gd name="T16" fmla="*/ 53 w 77"/>
                  <a:gd name="T17" fmla="*/ 24 h 44"/>
                  <a:gd name="T18" fmla="*/ 9 w 77"/>
                  <a:gd name="T19" fmla="*/ 44 h 44"/>
                  <a:gd name="T20" fmla="*/ 9 w 77"/>
                  <a:gd name="T21" fmla="*/ 44 h 44"/>
                  <a:gd name="T22" fmla="*/ 7 w 77"/>
                  <a:gd name="T23" fmla="*/ 44 h 44"/>
                  <a:gd name="T24" fmla="*/ 7 w 77"/>
                  <a:gd name="T25" fmla="*/ 44 h 44"/>
                  <a:gd name="T26" fmla="*/ 7 w 77"/>
                  <a:gd name="T2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7" h="44">
                    <a:moveTo>
                      <a:pt x="7" y="44"/>
                    </a:moveTo>
                    <a:cubicBezTo>
                      <a:pt x="4" y="44"/>
                      <a:pt x="2" y="43"/>
                      <a:pt x="1" y="40"/>
                    </a:cubicBezTo>
                    <a:cubicBezTo>
                      <a:pt x="0" y="37"/>
                      <a:pt x="2" y="33"/>
                      <a:pt x="5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11" y="30"/>
                      <a:pt x="28" y="24"/>
                      <a:pt x="47" y="13"/>
                    </a:cubicBezTo>
                    <a:cubicBezTo>
                      <a:pt x="54" y="9"/>
                      <a:pt x="61" y="5"/>
                      <a:pt x="67" y="1"/>
                    </a:cubicBezTo>
                    <a:cubicBezTo>
                      <a:pt x="70" y="0"/>
                      <a:pt x="73" y="0"/>
                      <a:pt x="75" y="3"/>
                    </a:cubicBezTo>
                    <a:cubicBezTo>
                      <a:pt x="77" y="6"/>
                      <a:pt x="76" y="10"/>
                      <a:pt x="74" y="12"/>
                    </a:cubicBezTo>
                    <a:cubicBezTo>
                      <a:pt x="67" y="16"/>
                      <a:pt x="60" y="20"/>
                      <a:pt x="53" y="24"/>
                    </a:cubicBezTo>
                    <a:cubicBezTo>
                      <a:pt x="33" y="35"/>
                      <a:pt x="16" y="41"/>
                      <a:pt x="9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8" y="44"/>
                      <a:pt x="8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2" name="Freeform 15"/>
              <p:cNvSpPr>
                <a:spLocks noEditPoints="1"/>
              </p:cNvSpPr>
              <p:nvPr/>
            </p:nvSpPr>
            <p:spPr bwMode="auto">
              <a:xfrm>
                <a:off x="3801" y="2215"/>
                <a:ext cx="190" cy="89"/>
              </a:xfrm>
              <a:custGeom>
                <a:avLst/>
                <a:gdLst>
                  <a:gd name="T0" fmla="*/ 99 w 106"/>
                  <a:gd name="T1" fmla="*/ 50 h 50"/>
                  <a:gd name="T2" fmla="*/ 97 w 106"/>
                  <a:gd name="T3" fmla="*/ 49 h 50"/>
                  <a:gd name="T4" fmla="*/ 64 w 106"/>
                  <a:gd name="T5" fmla="*/ 30 h 50"/>
                  <a:gd name="T6" fmla="*/ 36 w 106"/>
                  <a:gd name="T7" fmla="*/ 14 h 50"/>
                  <a:gd name="T8" fmla="*/ 10 w 106"/>
                  <a:gd name="T9" fmla="*/ 29 h 50"/>
                  <a:gd name="T10" fmla="*/ 1 w 106"/>
                  <a:gd name="T11" fmla="*/ 27 h 50"/>
                  <a:gd name="T12" fmla="*/ 3 w 106"/>
                  <a:gd name="T13" fmla="*/ 18 h 50"/>
                  <a:gd name="T14" fmla="*/ 34 w 106"/>
                  <a:gd name="T15" fmla="*/ 2 h 50"/>
                  <a:gd name="T16" fmla="*/ 71 w 106"/>
                  <a:gd name="T17" fmla="*/ 20 h 50"/>
                  <a:gd name="T18" fmla="*/ 101 w 106"/>
                  <a:gd name="T19" fmla="*/ 37 h 50"/>
                  <a:gd name="T20" fmla="*/ 105 w 106"/>
                  <a:gd name="T21" fmla="*/ 45 h 50"/>
                  <a:gd name="T22" fmla="*/ 99 w 106"/>
                  <a:gd name="T23" fmla="*/ 50 h 50"/>
                  <a:gd name="T24" fmla="*/ 99 w 106"/>
                  <a:gd name="T25" fmla="*/ 50 h 50"/>
                  <a:gd name="T26" fmla="*/ 99 w 106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6" h="50">
                    <a:moveTo>
                      <a:pt x="99" y="50"/>
                    </a:moveTo>
                    <a:cubicBezTo>
                      <a:pt x="98" y="50"/>
                      <a:pt x="97" y="49"/>
                      <a:pt x="97" y="49"/>
                    </a:cubicBezTo>
                    <a:cubicBezTo>
                      <a:pt x="86" y="46"/>
                      <a:pt x="75" y="38"/>
                      <a:pt x="64" y="30"/>
                    </a:cubicBezTo>
                    <a:cubicBezTo>
                      <a:pt x="54" y="23"/>
                      <a:pt x="41" y="13"/>
                      <a:pt x="36" y="14"/>
                    </a:cubicBezTo>
                    <a:cubicBezTo>
                      <a:pt x="31" y="15"/>
                      <a:pt x="15" y="25"/>
                      <a:pt x="10" y="29"/>
                    </a:cubicBezTo>
                    <a:cubicBezTo>
                      <a:pt x="7" y="30"/>
                      <a:pt x="3" y="30"/>
                      <a:pt x="1" y="27"/>
                    </a:cubicBezTo>
                    <a:cubicBezTo>
                      <a:pt x="0" y="24"/>
                      <a:pt x="0" y="20"/>
                      <a:pt x="3" y="18"/>
                    </a:cubicBezTo>
                    <a:cubicBezTo>
                      <a:pt x="20" y="8"/>
                      <a:pt x="28" y="3"/>
                      <a:pt x="34" y="2"/>
                    </a:cubicBezTo>
                    <a:cubicBezTo>
                      <a:pt x="44" y="0"/>
                      <a:pt x="57" y="9"/>
                      <a:pt x="71" y="20"/>
                    </a:cubicBezTo>
                    <a:cubicBezTo>
                      <a:pt x="82" y="27"/>
                      <a:pt x="92" y="35"/>
                      <a:pt x="101" y="37"/>
                    </a:cubicBezTo>
                    <a:cubicBezTo>
                      <a:pt x="104" y="39"/>
                      <a:pt x="106" y="42"/>
                      <a:pt x="105" y="45"/>
                    </a:cubicBezTo>
                    <a:cubicBezTo>
                      <a:pt x="104" y="48"/>
                      <a:pt x="101" y="50"/>
                      <a:pt x="99" y="50"/>
                    </a:cubicBezTo>
                    <a:close/>
                    <a:moveTo>
                      <a:pt x="99" y="50"/>
                    </a:moveTo>
                    <a:cubicBezTo>
                      <a:pt x="99" y="50"/>
                      <a:pt x="99" y="50"/>
                      <a:pt x="99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3" name="Freeform 16"/>
              <p:cNvSpPr>
                <a:spLocks noEditPoints="1"/>
              </p:cNvSpPr>
              <p:nvPr/>
            </p:nvSpPr>
            <p:spPr bwMode="auto">
              <a:xfrm>
                <a:off x="3702" y="2260"/>
                <a:ext cx="100" cy="66"/>
              </a:xfrm>
              <a:custGeom>
                <a:avLst/>
                <a:gdLst>
                  <a:gd name="T0" fmla="*/ 7 w 56"/>
                  <a:gd name="T1" fmla="*/ 37 h 37"/>
                  <a:gd name="T2" fmla="*/ 1 w 56"/>
                  <a:gd name="T3" fmla="*/ 33 h 37"/>
                  <a:gd name="T4" fmla="*/ 5 w 56"/>
                  <a:gd name="T5" fmla="*/ 25 h 37"/>
                  <a:gd name="T6" fmla="*/ 45 w 56"/>
                  <a:gd name="T7" fmla="*/ 2 h 37"/>
                  <a:gd name="T8" fmla="*/ 54 w 56"/>
                  <a:gd name="T9" fmla="*/ 4 h 37"/>
                  <a:gd name="T10" fmla="*/ 52 w 56"/>
                  <a:gd name="T11" fmla="*/ 12 h 37"/>
                  <a:gd name="T12" fmla="*/ 9 w 56"/>
                  <a:gd name="T13" fmla="*/ 37 h 37"/>
                  <a:gd name="T14" fmla="*/ 7 w 56"/>
                  <a:gd name="T15" fmla="*/ 37 h 37"/>
                  <a:gd name="T16" fmla="*/ 7 w 56"/>
                  <a:gd name="T17" fmla="*/ 37 h 37"/>
                  <a:gd name="T18" fmla="*/ 7 w 56"/>
                  <a:gd name="T1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37">
                    <a:moveTo>
                      <a:pt x="7" y="37"/>
                    </a:moveTo>
                    <a:cubicBezTo>
                      <a:pt x="4" y="37"/>
                      <a:pt x="2" y="35"/>
                      <a:pt x="1" y="33"/>
                    </a:cubicBezTo>
                    <a:cubicBezTo>
                      <a:pt x="0" y="29"/>
                      <a:pt x="2" y="26"/>
                      <a:pt x="5" y="25"/>
                    </a:cubicBezTo>
                    <a:cubicBezTo>
                      <a:pt x="13" y="23"/>
                      <a:pt x="31" y="11"/>
                      <a:pt x="45" y="2"/>
                    </a:cubicBezTo>
                    <a:cubicBezTo>
                      <a:pt x="48" y="0"/>
                      <a:pt x="52" y="1"/>
                      <a:pt x="54" y="4"/>
                    </a:cubicBezTo>
                    <a:cubicBezTo>
                      <a:pt x="56" y="6"/>
                      <a:pt x="55" y="10"/>
                      <a:pt x="52" y="12"/>
                    </a:cubicBezTo>
                    <a:cubicBezTo>
                      <a:pt x="32" y="25"/>
                      <a:pt x="17" y="35"/>
                      <a:pt x="9" y="37"/>
                    </a:cubicBezTo>
                    <a:cubicBezTo>
                      <a:pt x="8" y="37"/>
                      <a:pt x="7" y="37"/>
                      <a:pt x="7" y="37"/>
                    </a:cubicBezTo>
                    <a:close/>
                    <a:moveTo>
                      <a:pt x="7" y="37"/>
                    </a:moveTo>
                    <a:cubicBezTo>
                      <a:pt x="7" y="37"/>
                      <a:pt x="7" y="37"/>
                      <a:pt x="7" y="3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4" name="Freeform 17"/>
              <p:cNvSpPr>
                <a:spLocks noEditPoints="1"/>
              </p:cNvSpPr>
              <p:nvPr/>
            </p:nvSpPr>
            <p:spPr bwMode="auto">
              <a:xfrm>
                <a:off x="3906" y="2319"/>
                <a:ext cx="56" cy="39"/>
              </a:xfrm>
              <a:custGeom>
                <a:avLst/>
                <a:gdLst>
                  <a:gd name="T0" fmla="*/ 24 w 31"/>
                  <a:gd name="T1" fmla="*/ 22 h 22"/>
                  <a:gd name="T2" fmla="*/ 22 w 31"/>
                  <a:gd name="T3" fmla="*/ 21 h 22"/>
                  <a:gd name="T4" fmla="*/ 4 w 31"/>
                  <a:gd name="T5" fmla="*/ 12 h 22"/>
                  <a:gd name="T6" fmla="*/ 2 w 31"/>
                  <a:gd name="T7" fmla="*/ 4 h 22"/>
                  <a:gd name="T8" fmla="*/ 11 w 31"/>
                  <a:gd name="T9" fmla="*/ 1 h 22"/>
                  <a:gd name="T10" fmla="*/ 26 w 31"/>
                  <a:gd name="T11" fmla="*/ 10 h 22"/>
                  <a:gd name="T12" fmla="*/ 30 w 31"/>
                  <a:gd name="T13" fmla="*/ 18 h 22"/>
                  <a:gd name="T14" fmla="*/ 24 w 31"/>
                  <a:gd name="T15" fmla="*/ 22 h 22"/>
                  <a:gd name="T16" fmla="*/ 24 w 31"/>
                  <a:gd name="T17" fmla="*/ 22 h 22"/>
                  <a:gd name="T18" fmla="*/ 24 w 31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22">
                    <a:moveTo>
                      <a:pt x="24" y="22"/>
                    </a:moveTo>
                    <a:cubicBezTo>
                      <a:pt x="23" y="22"/>
                      <a:pt x="23" y="22"/>
                      <a:pt x="22" y="21"/>
                    </a:cubicBezTo>
                    <a:cubicBezTo>
                      <a:pt x="17" y="20"/>
                      <a:pt x="10" y="16"/>
                      <a:pt x="4" y="12"/>
                    </a:cubicBezTo>
                    <a:cubicBezTo>
                      <a:pt x="1" y="10"/>
                      <a:pt x="0" y="6"/>
                      <a:pt x="2" y="4"/>
                    </a:cubicBezTo>
                    <a:cubicBezTo>
                      <a:pt x="4" y="1"/>
                      <a:pt x="8" y="0"/>
                      <a:pt x="11" y="1"/>
                    </a:cubicBezTo>
                    <a:cubicBezTo>
                      <a:pt x="16" y="5"/>
                      <a:pt x="22" y="8"/>
                      <a:pt x="26" y="10"/>
                    </a:cubicBezTo>
                    <a:cubicBezTo>
                      <a:pt x="29" y="11"/>
                      <a:pt x="31" y="15"/>
                      <a:pt x="30" y="18"/>
                    </a:cubicBezTo>
                    <a:cubicBezTo>
                      <a:pt x="29" y="20"/>
                      <a:pt x="27" y="22"/>
                      <a:pt x="24" y="22"/>
                    </a:cubicBezTo>
                    <a:close/>
                    <a:moveTo>
                      <a:pt x="24" y="22"/>
                    </a:moveTo>
                    <a:cubicBezTo>
                      <a:pt x="24" y="22"/>
                      <a:pt x="24" y="22"/>
                      <a:pt x="24" y="2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5" name="Freeform 18"/>
              <p:cNvSpPr>
                <a:spLocks noEditPoints="1"/>
              </p:cNvSpPr>
              <p:nvPr/>
            </p:nvSpPr>
            <p:spPr bwMode="auto">
              <a:xfrm>
                <a:off x="3741" y="2287"/>
                <a:ext cx="165" cy="89"/>
              </a:xfrm>
              <a:custGeom>
                <a:avLst/>
                <a:gdLst>
                  <a:gd name="T0" fmla="*/ 7 w 92"/>
                  <a:gd name="T1" fmla="*/ 50 h 50"/>
                  <a:gd name="T2" fmla="*/ 2 w 92"/>
                  <a:gd name="T3" fmla="*/ 47 h 50"/>
                  <a:gd name="T4" fmla="*/ 4 w 92"/>
                  <a:gd name="T5" fmla="*/ 39 h 50"/>
                  <a:gd name="T6" fmla="*/ 12 w 92"/>
                  <a:gd name="T7" fmla="*/ 33 h 50"/>
                  <a:gd name="T8" fmla="*/ 63 w 92"/>
                  <a:gd name="T9" fmla="*/ 1 h 50"/>
                  <a:gd name="T10" fmla="*/ 88 w 92"/>
                  <a:gd name="T11" fmla="*/ 10 h 50"/>
                  <a:gd name="T12" fmla="*/ 90 w 92"/>
                  <a:gd name="T13" fmla="*/ 19 h 50"/>
                  <a:gd name="T14" fmla="*/ 81 w 92"/>
                  <a:gd name="T15" fmla="*/ 21 h 50"/>
                  <a:gd name="T16" fmla="*/ 65 w 92"/>
                  <a:gd name="T17" fmla="*/ 13 h 50"/>
                  <a:gd name="T18" fmla="*/ 19 w 92"/>
                  <a:gd name="T19" fmla="*/ 43 h 50"/>
                  <a:gd name="T20" fmla="*/ 11 w 92"/>
                  <a:gd name="T21" fmla="*/ 49 h 50"/>
                  <a:gd name="T22" fmla="*/ 7 w 92"/>
                  <a:gd name="T23" fmla="*/ 50 h 50"/>
                  <a:gd name="T24" fmla="*/ 7 w 92"/>
                  <a:gd name="T25" fmla="*/ 50 h 50"/>
                  <a:gd name="T26" fmla="*/ 7 w 92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50">
                    <a:moveTo>
                      <a:pt x="7" y="50"/>
                    </a:moveTo>
                    <a:cubicBezTo>
                      <a:pt x="5" y="50"/>
                      <a:pt x="3" y="49"/>
                      <a:pt x="2" y="47"/>
                    </a:cubicBezTo>
                    <a:cubicBezTo>
                      <a:pt x="0" y="45"/>
                      <a:pt x="1" y="41"/>
                      <a:pt x="4" y="39"/>
                    </a:cubicBezTo>
                    <a:cubicBezTo>
                      <a:pt x="6" y="37"/>
                      <a:pt x="9" y="35"/>
                      <a:pt x="12" y="33"/>
                    </a:cubicBezTo>
                    <a:cubicBezTo>
                      <a:pt x="39" y="13"/>
                      <a:pt x="55" y="2"/>
                      <a:pt x="63" y="1"/>
                    </a:cubicBezTo>
                    <a:cubicBezTo>
                      <a:pt x="68" y="0"/>
                      <a:pt x="75" y="3"/>
                      <a:pt x="88" y="10"/>
                    </a:cubicBezTo>
                    <a:cubicBezTo>
                      <a:pt x="91" y="12"/>
                      <a:pt x="92" y="16"/>
                      <a:pt x="90" y="19"/>
                    </a:cubicBezTo>
                    <a:cubicBezTo>
                      <a:pt x="88" y="22"/>
                      <a:pt x="84" y="23"/>
                      <a:pt x="81" y="21"/>
                    </a:cubicBezTo>
                    <a:cubicBezTo>
                      <a:pt x="69" y="14"/>
                      <a:pt x="66" y="13"/>
                      <a:pt x="65" y="13"/>
                    </a:cubicBezTo>
                    <a:cubicBezTo>
                      <a:pt x="58" y="14"/>
                      <a:pt x="30" y="35"/>
                      <a:pt x="19" y="43"/>
                    </a:cubicBezTo>
                    <a:cubicBezTo>
                      <a:pt x="16" y="45"/>
                      <a:pt x="13" y="48"/>
                      <a:pt x="11" y="49"/>
                    </a:cubicBezTo>
                    <a:cubicBezTo>
                      <a:pt x="10" y="50"/>
                      <a:pt x="9" y="50"/>
                      <a:pt x="7" y="50"/>
                    </a:cubicBezTo>
                    <a:close/>
                    <a:moveTo>
                      <a:pt x="7" y="50"/>
                    </a:moveTo>
                    <a:cubicBezTo>
                      <a:pt x="7" y="50"/>
                      <a:pt x="7" y="50"/>
                      <a:pt x="7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6" name="Freeform 20"/>
              <p:cNvSpPr>
                <a:spLocks noEditPoints="1"/>
              </p:cNvSpPr>
              <p:nvPr/>
            </p:nvSpPr>
            <p:spPr bwMode="auto">
              <a:xfrm>
                <a:off x="3949" y="2108"/>
                <a:ext cx="72" cy="77"/>
              </a:xfrm>
              <a:custGeom>
                <a:avLst/>
                <a:gdLst>
                  <a:gd name="T0" fmla="*/ 1 w 40"/>
                  <a:gd name="T1" fmla="*/ 11 h 43"/>
                  <a:gd name="T2" fmla="*/ 30 w 40"/>
                  <a:gd name="T3" fmla="*/ 41 h 43"/>
                  <a:gd name="T4" fmla="*/ 38 w 40"/>
                  <a:gd name="T5" fmla="*/ 39 h 43"/>
                  <a:gd name="T6" fmla="*/ 36 w 40"/>
                  <a:gd name="T7" fmla="*/ 31 h 43"/>
                  <a:gd name="T8" fmla="*/ 21 w 40"/>
                  <a:gd name="T9" fmla="*/ 23 h 43"/>
                  <a:gd name="T10" fmla="*/ 13 w 40"/>
                  <a:gd name="T11" fmla="*/ 7 h 43"/>
                  <a:gd name="T12" fmla="*/ 1 w 40"/>
                  <a:gd name="T13" fmla="*/ 11 h 43"/>
                  <a:gd name="T14" fmla="*/ 1 w 40"/>
                  <a:gd name="T15" fmla="*/ 11 h 43"/>
                  <a:gd name="T16" fmla="*/ 1 w 40"/>
                  <a:gd name="T17" fmla="*/ 1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43">
                    <a:moveTo>
                      <a:pt x="1" y="11"/>
                    </a:moveTo>
                    <a:cubicBezTo>
                      <a:pt x="4" y="27"/>
                      <a:pt x="15" y="36"/>
                      <a:pt x="30" y="41"/>
                    </a:cubicBezTo>
                    <a:cubicBezTo>
                      <a:pt x="33" y="43"/>
                      <a:pt x="36" y="42"/>
                      <a:pt x="38" y="39"/>
                    </a:cubicBezTo>
                    <a:cubicBezTo>
                      <a:pt x="40" y="37"/>
                      <a:pt x="39" y="32"/>
                      <a:pt x="36" y="31"/>
                    </a:cubicBezTo>
                    <a:cubicBezTo>
                      <a:pt x="31" y="29"/>
                      <a:pt x="25" y="26"/>
                      <a:pt x="21" y="23"/>
                    </a:cubicBezTo>
                    <a:cubicBezTo>
                      <a:pt x="16" y="19"/>
                      <a:pt x="14" y="13"/>
                      <a:pt x="13" y="7"/>
                    </a:cubicBezTo>
                    <a:cubicBezTo>
                      <a:pt x="12" y="0"/>
                      <a:pt x="0" y="3"/>
                      <a:pt x="1" y="11"/>
                    </a:cubicBezTo>
                    <a:close/>
                    <a:moveTo>
                      <a:pt x="1" y="11"/>
                    </a:moveTo>
                    <a:cubicBezTo>
                      <a:pt x="1" y="11"/>
                      <a:pt x="1" y="11"/>
                      <a:pt x="1" y="1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7" name="Freeform 21"/>
              <p:cNvSpPr>
                <a:spLocks noEditPoints="1"/>
              </p:cNvSpPr>
              <p:nvPr/>
            </p:nvSpPr>
            <p:spPr bwMode="auto">
              <a:xfrm>
                <a:off x="3906" y="2160"/>
                <a:ext cx="99" cy="86"/>
              </a:xfrm>
              <a:custGeom>
                <a:avLst/>
                <a:gdLst>
                  <a:gd name="T0" fmla="*/ 1 w 55"/>
                  <a:gd name="T1" fmla="*/ 8 h 48"/>
                  <a:gd name="T2" fmla="*/ 44 w 55"/>
                  <a:gd name="T3" fmla="*/ 46 h 48"/>
                  <a:gd name="T4" fmla="*/ 48 w 55"/>
                  <a:gd name="T5" fmla="*/ 34 h 48"/>
                  <a:gd name="T6" fmla="*/ 35 w 55"/>
                  <a:gd name="T7" fmla="*/ 28 h 48"/>
                  <a:gd name="T8" fmla="*/ 13 w 55"/>
                  <a:gd name="T9" fmla="*/ 5 h 48"/>
                  <a:gd name="T10" fmla="*/ 6 w 55"/>
                  <a:gd name="T11" fmla="*/ 1 h 48"/>
                  <a:gd name="T12" fmla="*/ 1 w 55"/>
                  <a:gd name="T13" fmla="*/ 8 h 48"/>
                  <a:gd name="T14" fmla="*/ 1 w 55"/>
                  <a:gd name="T15" fmla="*/ 8 h 48"/>
                  <a:gd name="T16" fmla="*/ 1 w 55"/>
                  <a:gd name="T17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48">
                    <a:moveTo>
                      <a:pt x="1" y="8"/>
                    </a:moveTo>
                    <a:cubicBezTo>
                      <a:pt x="9" y="27"/>
                      <a:pt x="26" y="40"/>
                      <a:pt x="44" y="46"/>
                    </a:cubicBezTo>
                    <a:cubicBezTo>
                      <a:pt x="52" y="48"/>
                      <a:pt x="55" y="36"/>
                      <a:pt x="48" y="34"/>
                    </a:cubicBezTo>
                    <a:cubicBezTo>
                      <a:pt x="43" y="33"/>
                      <a:pt x="40" y="31"/>
                      <a:pt x="35" y="28"/>
                    </a:cubicBezTo>
                    <a:cubicBezTo>
                      <a:pt x="26" y="23"/>
                      <a:pt x="17" y="15"/>
                      <a:pt x="13" y="5"/>
                    </a:cubicBezTo>
                    <a:cubicBezTo>
                      <a:pt x="12" y="2"/>
                      <a:pt x="9" y="0"/>
                      <a:pt x="6" y="1"/>
                    </a:cubicBezTo>
                    <a:cubicBezTo>
                      <a:pt x="3" y="2"/>
                      <a:pt x="0" y="5"/>
                      <a:pt x="1" y="8"/>
                    </a:cubicBezTo>
                    <a:close/>
                    <a:moveTo>
                      <a:pt x="1" y="8"/>
                    </a:moveTo>
                    <a:cubicBezTo>
                      <a:pt x="1" y="8"/>
                      <a:pt x="1" y="8"/>
                      <a:pt x="1" y="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</p:grpSp>
      </p:grpSp>
      <p:grpSp>
        <p:nvGrpSpPr>
          <p:cNvPr id="48" name="Группа 47"/>
          <p:cNvGrpSpPr/>
          <p:nvPr userDrawn="1"/>
        </p:nvGrpSpPr>
        <p:grpSpPr>
          <a:xfrm>
            <a:off x="146651" y="90377"/>
            <a:ext cx="802256" cy="446347"/>
            <a:chOff x="146650" y="90376"/>
            <a:chExt cx="802256" cy="446347"/>
          </a:xfrm>
        </p:grpSpPr>
        <p:grpSp>
          <p:nvGrpSpPr>
            <p:cNvPr id="49" name="Группа 48"/>
            <p:cNvGrpSpPr/>
            <p:nvPr userDrawn="1"/>
          </p:nvGrpSpPr>
          <p:grpSpPr>
            <a:xfrm>
              <a:off x="146650" y="90376"/>
              <a:ext cx="802256" cy="446347"/>
              <a:chOff x="3215754" y="3239215"/>
              <a:chExt cx="5277696" cy="2936328"/>
            </a:xfrm>
            <a:solidFill>
              <a:schemeClr val="accent6"/>
            </a:solidFill>
          </p:grpSpPr>
          <p:sp>
            <p:nvSpPr>
              <p:cNvPr id="84" name="Round Diagonal Corner Rectangle 73"/>
              <p:cNvSpPr/>
              <p:nvPr/>
            </p:nvSpPr>
            <p:spPr>
              <a:xfrm rot="16200000" flipV="1">
                <a:off x="4045695" y="2409275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6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85" name="Round Diagonal Corner Rectangle 73"/>
              <p:cNvSpPr/>
              <p:nvPr/>
            </p:nvSpPr>
            <p:spPr>
              <a:xfrm rot="16200000" flipV="1">
                <a:off x="6763017" y="2409276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2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86" name="Round Diagonal Corner Rectangle 73"/>
              <p:cNvSpPr/>
              <p:nvPr/>
            </p:nvSpPr>
            <p:spPr>
              <a:xfrm rot="16200000" flipV="1">
                <a:off x="4045695" y="3427192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87" name="Round Diagonal Corner Rectangle 73"/>
              <p:cNvSpPr/>
              <p:nvPr/>
            </p:nvSpPr>
            <p:spPr>
              <a:xfrm rot="16200000" flipV="1">
                <a:off x="6763017" y="3427193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88" name="Round Diagonal Corner Rectangle 73"/>
              <p:cNvSpPr/>
              <p:nvPr/>
            </p:nvSpPr>
            <p:spPr>
              <a:xfrm rot="16200000" flipV="1">
                <a:off x="5404355" y="3086448"/>
                <a:ext cx="900494" cy="527769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6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</p:grpSp>
        <p:grpSp>
          <p:nvGrpSpPr>
            <p:cNvPr id="50" name="Group 2"/>
            <p:cNvGrpSpPr/>
            <p:nvPr userDrawn="1"/>
          </p:nvGrpSpPr>
          <p:grpSpPr>
            <a:xfrm>
              <a:off x="298733" y="103728"/>
              <a:ext cx="90401" cy="105401"/>
              <a:chOff x="6670675" y="3513137"/>
              <a:chExt cx="1071561" cy="1249363"/>
            </a:xfrm>
            <a:solidFill>
              <a:schemeClr val="accent6">
                <a:lumMod val="60000"/>
                <a:lumOff val="40000"/>
              </a:schemeClr>
            </a:solidFill>
          </p:grpSpPr>
          <p:grpSp>
            <p:nvGrpSpPr>
              <p:cNvPr id="79" name="Group 115"/>
              <p:cNvGrpSpPr/>
              <p:nvPr/>
            </p:nvGrpSpPr>
            <p:grpSpPr>
              <a:xfrm>
                <a:off x="6670675" y="3513137"/>
                <a:ext cx="700087" cy="1249363"/>
                <a:chOff x="-2524125" y="-798513"/>
                <a:chExt cx="700087" cy="1249363"/>
              </a:xfrm>
              <a:grpFill/>
            </p:grpSpPr>
            <p:sp>
              <p:nvSpPr>
                <p:cNvPr id="81" name="Oval 273"/>
                <p:cNvSpPr>
                  <a:spLocks noChangeArrowheads="1"/>
                </p:cNvSpPr>
                <p:nvPr/>
              </p:nvSpPr>
              <p:spPr bwMode="auto">
                <a:xfrm>
                  <a:off x="-2268538" y="-798513"/>
                  <a:ext cx="200025" cy="23812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82" name="Freeform 274"/>
                <p:cNvSpPr>
                  <a:spLocks noEditPoints="1"/>
                </p:cNvSpPr>
                <p:nvPr/>
              </p:nvSpPr>
              <p:spPr bwMode="auto">
                <a:xfrm>
                  <a:off x="-2524125" y="-536575"/>
                  <a:ext cx="700087" cy="987425"/>
                </a:xfrm>
                <a:custGeom>
                  <a:avLst/>
                  <a:gdLst/>
                  <a:ahLst/>
                  <a:cxnLst>
                    <a:cxn ang="0">
                      <a:pos x="123" y="27"/>
                    </a:cxn>
                    <a:cxn ang="0">
                      <a:pos x="122" y="26"/>
                    </a:cxn>
                    <a:cxn ang="0">
                      <a:pos x="116" y="22"/>
                    </a:cxn>
                    <a:cxn ang="0">
                      <a:pos x="91" y="3"/>
                    </a:cxn>
                    <a:cxn ang="0">
                      <a:pos x="85" y="1"/>
                    </a:cxn>
                    <a:cxn ang="0">
                      <a:pos x="77" y="1"/>
                    </a:cxn>
                    <a:cxn ang="0">
                      <a:pos x="75" y="11"/>
                    </a:cxn>
                    <a:cxn ang="0">
                      <a:pos x="68" y="43"/>
                    </a:cxn>
                    <a:cxn ang="0">
                      <a:pos x="68" y="7"/>
                    </a:cxn>
                    <a:cxn ang="0">
                      <a:pos x="59" y="0"/>
                    </a:cxn>
                    <a:cxn ang="0">
                      <a:pos x="59" y="9"/>
                    </a:cxn>
                    <a:cxn ang="0">
                      <a:pos x="46" y="18"/>
                    </a:cxn>
                    <a:cxn ang="0">
                      <a:pos x="41" y="7"/>
                    </a:cxn>
                    <a:cxn ang="0">
                      <a:pos x="48" y="0"/>
                    </a:cxn>
                    <a:cxn ang="0">
                      <a:pos x="39" y="1"/>
                    </a:cxn>
                    <a:cxn ang="0">
                      <a:pos x="3" y="36"/>
                    </a:cxn>
                    <a:cxn ang="0">
                      <a:pos x="3" y="36"/>
                    </a:cxn>
                    <a:cxn ang="0">
                      <a:pos x="1" y="49"/>
                    </a:cxn>
                    <a:cxn ang="0">
                      <a:pos x="1" y="49"/>
                    </a:cxn>
                    <a:cxn ang="0">
                      <a:pos x="2" y="51"/>
                    </a:cxn>
                    <a:cxn ang="0">
                      <a:pos x="6" y="58"/>
                    </a:cxn>
                    <a:cxn ang="0">
                      <a:pos x="20" y="86"/>
                    </a:cxn>
                    <a:cxn ang="0">
                      <a:pos x="33" y="91"/>
                    </a:cxn>
                    <a:cxn ang="0">
                      <a:pos x="35" y="92"/>
                    </a:cxn>
                    <a:cxn ang="0">
                      <a:pos x="61" y="174"/>
                    </a:cxn>
                    <a:cxn ang="0">
                      <a:pos x="57" y="112"/>
                    </a:cxn>
                    <a:cxn ang="0">
                      <a:pos x="91" y="34"/>
                    </a:cxn>
                    <a:cxn ang="0">
                      <a:pos x="95" y="32"/>
                    </a:cxn>
                    <a:cxn ang="0">
                      <a:pos x="77" y="46"/>
                    </a:cxn>
                    <a:cxn ang="0">
                      <a:pos x="91" y="34"/>
                    </a:cxn>
                    <a:cxn ang="0">
                      <a:pos x="31" y="56"/>
                    </a:cxn>
                    <a:cxn ang="0">
                      <a:pos x="24" y="44"/>
                    </a:cxn>
                    <a:cxn ang="0">
                      <a:pos x="34" y="61"/>
                    </a:cxn>
                  </a:cxnLst>
                  <a:rect l="0" t="0" r="r" b="b"/>
                  <a:pathLst>
                    <a:path w="123" h="174">
                      <a:moveTo>
                        <a:pt x="122" y="42"/>
                      </a:moveTo>
                      <a:cubicBezTo>
                        <a:pt x="122" y="35"/>
                        <a:pt x="123" y="24"/>
                        <a:pt x="123" y="27"/>
                      </a:cubicBezTo>
                      <a:cubicBezTo>
                        <a:pt x="123" y="26"/>
                        <a:pt x="123" y="26"/>
                        <a:pt x="123" y="26"/>
                      </a:cubicBezTo>
                      <a:cubicBezTo>
                        <a:pt x="122" y="26"/>
                        <a:pt x="122" y="26"/>
                        <a:pt x="122" y="26"/>
                      </a:cubicBezTo>
                      <a:cubicBezTo>
                        <a:pt x="120" y="25"/>
                        <a:pt x="120" y="25"/>
                        <a:pt x="120" y="25"/>
                      </a:cubicBezTo>
                      <a:cubicBezTo>
                        <a:pt x="116" y="22"/>
                        <a:pt x="116" y="22"/>
                        <a:pt x="116" y="22"/>
                      </a:cubicBezTo>
                      <a:cubicBezTo>
                        <a:pt x="108" y="15"/>
                        <a:pt x="108" y="15"/>
                        <a:pt x="108" y="15"/>
                      </a:cubicBezTo>
                      <a:cubicBezTo>
                        <a:pt x="91" y="3"/>
                        <a:pt x="91" y="3"/>
                        <a:pt x="91" y="3"/>
                      </a:cubicBezTo>
                      <a:cubicBezTo>
                        <a:pt x="90" y="2"/>
                        <a:pt x="88" y="1"/>
                        <a:pt x="86" y="1"/>
                      </a:cubicBezTo>
                      <a:cubicBezTo>
                        <a:pt x="85" y="1"/>
                        <a:pt x="85" y="1"/>
                        <a:pt x="85" y="1"/>
                      </a:cubicBezTo>
                      <a:cubicBezTo>
                        <a:pt x="83" y="1"/>
                        <a:pt x="80" y="1"/>
                        <a:pt x="77" y="0"/>
                      </a:cubicBez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84" y="7"/>
                        <a:pt x="84" y="7"/>
                        <a:pt x="84" y="7"/>
                      </a:cubicBezTo>
                      <a:cubicBezTo>
                        <a:pt x="75" y="11"/>
                        <a:pt x="75" y="11"/>
                        <a:pt x="75" y="11"/>
                      </a:cubicBezTo>
                      <a:cubicBezTo>
                        <a:pt x="80" y="18"/>
                        <a:pt x="80" y="18"/>
                        <a:pt x="80" y="18"/>
                      </a:cubicBezTo>
                      <a:cubicBezTo>
                        <a:pt x="68" y="43"/>
                        <a:pt x="68" y="43"/>
                        <a:pt x="68" y="43"/>
                      </a:cubicBezTo>
                      <a:cubicBezTo>
                        <a:pt x="67" y="9"/>
                        <a:pt x="67" y="9"/>
                        <a:pt x="67" y="9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7" y="7"/>
                        <a:pt x="57" y="7"/>
                        <a:pt x="57" y="7"/>
                      </a:cubicBezTo>
                      <a:cubicBezTo>
                        <a:pt x="59" y="9"/>
                        <a:pt x="59" y="9"/>
                        <a:pt x="59" y="9"/>
                      </a:cubicBezTo>
                      <a:cubicBezTo>
                        <a:pt x="57" y="43"/>
                        <a:pt x="57" y="43"/>
                        <a:pt x="57" y="43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50" y="11"/>
                        <a:pt x="50" y="11"/>
                        <a:pt x="50" y="11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8" y="1"/>
                        <a:pt x="48" y="1"/>
                        <a:pt x="48" y="1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5" y="1"/>
                        <a:pt x="43" y="1"/>
                        <a:pt x="40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6" y="1"/>
                        <a:pt x="34" y="3"/>
                        <a:pt x="32" y="5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0" y="61"/>
                        <a:pt x="2" y="43"/>
                        <a:pt x="1" y="48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2" y="49"/>
                        <a:pt x="2" y="49"/>
                        <a:pt x="2" y="49"/>
                      </a:cubicBezTo>
                      <a:cubicBezTo>
                        <a:pt x="2" y="51"/>
                        <a:pt x="2" y="51"/>
                        <a:pt x="2" y="51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6" y="58"/>
                        <a:pt x="6" y="58"/>
                        <a:pt x="6" y="58"/>
                      </a:cubicBezTo>
                      <a:cubicBezTo>
                        <a:pt x="11" y="67"/>
                        <a:pt x="11" y="67"/>
                        <a:pt x="11" y="67"/>
                      </a:cubicBezTo>
                      <a:cubicBezTo>
                        <a:pt x="20" y="86"/>
                        <a:pt x="20" y="86"/>
                        <a:pt x="20" y="86"/>
                      </a:cubicBezTo>
                      <a:cubicBezTo>
                        <a:pt x="25" y="84"/>
                        <a:pt x="29" y="82"/>
                        <a:pt x="33" y="79"/>
                      </a:cubicBezTo>
                      <a:cubicBezTo>
                        <a:pt x="33" y="83"/>
                        <a:pt x="33" y="87"/>
                        <a:pt x="33" y="91"/>
                      </a:cubicBezTo>
                      <a:cubicBezTo>
                        <a:pt x="33" y="92"/>
                        <a:pt x="33" y="92"/>
                        <a:pt x="33" y="92"/>
                      </a:cubicBezTo>
                      <a:cubicBezTo>
                        <a:pt x="35" y="92"/>
                        <a:pt x="35" y="92"/>
                        <a:pt x="35" y="92"/>
                      </a:cubicBezTo>
                      <a:cubicBezTo>
                        <a:pt x="38" y="174"/>
                        <a:pt x="38" y="174"/>
                        <a:pt x="38" y="174"/>
                      </a:cubicBezTo>
                      <a:cubicBezTo>
                        <a:pt x="61" y="174"/>
                        <a:pt x="61" y="174"/>
                        <a:pt x="61" y="174"/>
                      </a:cubicBezTo>
                      <a:cubicBezTo>
                        <a:pt x="62" y="163"/>
                        <a:pt x="62" y="150"/>
                        <a:pt x="62" y="137"/>
                      </a:cubicBezTo>
                      <a:cubicBezTo>
                        <a:pt x="59" y="129"/>
                        <a:pt x="57" y="121"/>
                        <a:pt x="57" y="112"/>
                      </a:cubicBezTo>
                      <a:cubicBezTo>
                        <a:pt x="57" y="75"/>
                        <a:pt x="86" y="45"/>
                        <a:pt x="122" y="42"/>
                      </a:cubicBezTo>
                      <a:close/>
                      <a:moveTo>
                        <a:pt x="91" y="34"/>
                      </a:moveTo>
                      <a:cubicBezTo>
                        <a:pt x="91" y="32"/>
                        <a:pt x="91" y="30"/>
                        <a:pt x="90" y="28"/>
                      </a:cubicBezTo>
                      <a:cubicBezTo>
                        <a:pt x="95" y="32"/>
                        <a:pt x="95" y="32"/>
                        <a:pt x="95" y="32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ubicBezTo>
                        <a:pt x="77" y="46"/>
                        <a:pt x="77" y="46"/>
                        <a:pt x="77" y="46"/>
                      </a:cubicBezTo>
                      <a:cubicBezTo>
                        <a:pt x="75" y="43"/>
                        <a:pt x="75" y="43"/>
                        <a:pt x="75" y="43"/>
                      </a:cubicBezTo>
                      <a:lnTo>
                        <a:pt x="91" y="34"/>
                      </a:lnTo>
                      <a:close/>
                      <a:moveTo>
                        <a:pt x="34" y="61"/>
                      </a:moveTo>
                      <a:cubicBezTo>
                        <a:pt x="31" y="56"/>
                        <a:pt x="31" y="56"/>
                        <a:pt x="31" y="56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4" y="44"/>
                        <a:pt x="24" y="44"/>
                        <a:pt x="24" y="44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cubicBezTo>
                        <a:pt x="34" y="41"/>
                        <a:pt x="34" y="51"/>
                        <a:pt x="34" y="6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83" name="Freeform 275"/>
                <p:cNvSpPr>
                  <a:spLocks/>
                </p:cNvSpPr>
                <p:nvPr/>
              </p:nvSpPr>
              <p:spPr bwMode="auto">
                <a:xfrm>
                  <a:off x="-2154238" y="287337"/>
                  <a:ext cx="141287" cy="1635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" y="29"/>
                    </a:cxn>
                    <a:cxn ang="0">
                      <a:pos x="25" y="29"/>
                    </a:cxn>
                    <a:cxn ang="0">
                      <a:pos x="25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5" h="29">
                      <a:moveTo>
                        <a:pt x="0" y="0"/>
                      </a:move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25" y="29"/>
                        <a:pt x="25" y="29"/>
                        <a:pt x="25" y="29"/>
                      </a:cubicBezTo>
                      <a:cubicBezTo>
                        <a:pt x="25" y="28"/>
                        <a:pt x="25" y="27"/>
                        <a:pt x="25" y="26"/>
                      </a:cubicBezTo>
                      <a:cubicBezTo>
                        <a:pt x="15" y="19"/>
                        <a:pt x="6" y="10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</p:grpSp>
          <p:sp>
            <p:nvSpPr>
              <p:cNvPr id="80" name="Freeform 209"/>
              <p:cNvSpPr>
                <a:spLocks noEditPoints="1"/>
              </p:cNvSpPr>
              <p:nvPr/>
            </p:nvSpPr>
            <p:spPr bwMode="auto">
              <a:xfrm>
                <a:off x="7032625" y="4046538"/>
                <a:ext cx="709611" cy="709611"/>
              </a:xfrm>
              <a:custGeom>
                <a:avLst/>
                <a:gdLst/>
                <a:ahLst/>
                <a:cxnLst>
                  <a:cxn ang="0">
                    <a:pos x="114" y="40"/>
                  </a:cxn>
                  <a:cxn ang="0">
                    <a:pos x="109" y="41"/>
                  </a:cxn>
                  <a:cxn ang="0">
                    <a:pos x="103" y="34"/>
                  </a:cxn>
                  <a:cxn ang="0">
                    <a:pos x="109" y="25"/>
                  </a:cxn>
                  <a:cxn ang="0">
                    <a:pos x="96" y="16"/>
                  </a:cxn>
                  <a:cxn ang="0">
                    <a:pos x="88" y="19"/>
                  </a:cxn>
                  <a:cxn ang="0">
                    <a:pos x="87" y="10"/>
                  </a:cxn>
                  <a:cxn ang="0">
                    <a:pos x="74" y="2"/>
                  </a:cxn>
                  <a:cxn ang="0">
                    <a:pos x="70" y="3"/>
                  </a:cxn>
                  <a:cxn ang="0">
                    <a:pos x="59" y="10"/>
                  </a:cxn>
                  <a:cxn ang="0">
                    <a:pos x="55" y="0"/>
                  </a:cxn>
                  <a:cxn ang="0">
                    <a:pos x="47" y="2"/>
                  </a:cxn>
                  <a:cxn ang="0">
                    <a:pos x="45" y="2"/>
                  </a:cxn>
                  <a:cxn ang="0">
                    <a:pos x="40" y="6"/>
                  </a:cxn>
                  <a:cxn ang="0">
                    <a:pos x="34" y="16"/>
                  </a:cxn>
                  <a:cxn ang="0">
                    <a:pos x="26" y="11"/>
                  </a:cxn>
                  <a:cxn ang="0">
                    <a:pos x="16" y="19"/>
                  </a:cxn>
                  <a:cxn ang="0">
                    <a:pos x="21" y="29"/>
                  </a:cxn>
                  <a:cxn ang="0">
                    <a:pos x="14" y="34"/>
                  </a:cxn>
                  <a:cxn ang="0">
                    <a:pos x="6" y="34"/>
                  </a:cxn>
                  <a:cxn ang="0">
                    <a:pos x="2" y="46"/>
                  </a:cxn>
                  <a:cxn ang="0">
                    <a:pos x="10" y="52"/>
                  </a:cxn>
                  <a:cxn ang="0">
                    <a:pos x="3" y="61"/>
                  </a:cxn>
                  <a:cxn ang="0">
                    <a:pos x="2" y="77"/>
                  </a:cxn>
                  <a:cxn ang="0">
                    <a:pos x="13" y="78"/>
                  </a:cxn>
                  <a:cxn ang="0">
                    <a:pos x="11" y="89"/>
                  </a:cxn>
                  <a:cxn ang="0">
                    <a:pos x="19" y="103"/>
                  </a:cxn>
                  <a:cxn ang="0">
                    <a:pos x="29" y="99"/>
                  </a:cxn>
                  <a:cxn ang="0">
                    <a:pos x="33" y="110"/>
                  </a:cxn>
                  <a:cxn ang="0">
                    <a:pos x="46" y="118"/>
                  </a:cxn>
                  <a:cxn ang="0">
                    <a:pos x="52" y="109"/>
                  </a:cxn>
                  <a:cxn ang="0">
                    <a:pos x="61" y="117"/>
                  </a:cxn>
                  <a:cxn ang="0">
                    <a:pos x="77" y="117"/>
                  </a:cxn>
                  <a:cxn ang="0">
                    <a:pos x="78" y="106"/>
                  </a:cxn>
                  <a:cxn ang="0">
                    <a:pos x="90" y="108"/>
                  </a:cxn>
                  <a:cxn ang="0">
                    <a:pos x="103" y="101"/>
                  </a:cxn>
                  <a:cxn ang="0">
                    <a:pos x="99" y="91"/>
                  </a:cxn>
                  <a:cxn ang="0">
                    <a:pos x="110" y="87"/>
                  </a:cxn>
                  <a:cxn ang="0">
                    <a:pos x="118" y="73"/>
                  </a:cxn>
                  <a:cxn ang="0">
                    <a:pos x="109" y="67"/>
                  </a:cxn>
                  <a:cxn ang="0">
                    <a:pos x="117" y="58"/>
                  </a:cxn>
                  <a:cxn ang="0">
                    <a:pos x="117" y="44"/>
                  </a:cxn>
                  <a:cxn ang="0">
                    <a:pos x="23" y="67"/>
                  </a:cxn>
                  <a:cxn ang="0">
                    <a:pos x="24" y="47"/>
                  </a:cxn>
                  <a:cxn ang="0">
                    <a:pos x="50" y="23"/>
                  </a:cxn>
                  <a:cxn ang="0">
                    <a:pos x="51" y="39"/>
                  </a:cxn>
                  <a:cxn ang="0">
                    <a:pos x="47" y="41"/>
                  </a:cxn>
                  <a:cxn ang="0">
                    <a:pos x="37" y="60"/>
                  </a:cxn>
                  <a:cxn ang="0">
                    <a:pos x="66" y="97"/>
                  </a:cxn>
                  <a:cxn ang="0">
                    <a:pos x="48" y="79"/>
                  </a:cxn>
                  <a:cxn ang="0">
                    <a:pos x="68" y="81"/>
                  </a:cxn>
                  <a:cxn ang="0">
                    <a:pos x="66" y="97"/>
                  </a:cxn>
                  <a:cxn ang="0">
                    <a:pos x="82" y="64"/>
                  </a:cxn>
                  <a:cxn ang="0">
                    <a:pos x="74" y="42"/>
                  </a:cxn>
                  <a:cxn ang="0">
                    <a:pos x="74" y="25"/>
                  </a:cxn>
                  <a:cxn ang="0">
                    <a:pos x="89" y="36"/>
                  </a:cxn>
                  <a:cxn ang="0">
                    <a:pos x="97" y="53"/>
                  </a:cxn>
                </a:cxnLst>
                <a:rect l="0" t="0" r="r" b="b"/>
                <a:pathLst>
                  <a:path w="119" h="119">
                    <a:moveTo>
                      <a:pt x="117" y="42"/>
                    </a:moveTo>
                    <a:cubicBezTo>
                      <a:pt x="117" y="41"/>
                      <a:pt x="115" y="40"/>
                      <a:pt x="114" y="40"/>
                    </a:cubicBezTo>
                    <a:cubicBezTo>
                      <a:pt x="114" y="40"/>
                      <a:pt x="113" y="40"/>
                      <a:pt x="113" y="40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6" y="41"/>
                      <a:pt x="106" y="41"/>
                      <a:pt x="106" y="41"/>
                    </a:cubicBezTo>
                    <a:cubicBezTo>
                      <a:pt x="105" y="39"/>
                      <a:pt x="104" y="37"/>
                      <a:pt x="103" y="34"/>
                    </a:cubicBezTo>
                    <a:cubicBezTo>
                      <a:pt x="108" y="30"/>
                      <a:pt x="108" y="30"/>
                      <a:pt x="108" y="30"/>
                    </a:cubicBezTo>
                    <a:cubicBezTo>
                      <a:pt x="110" y="29"/>
                      <a:pt x="110" y="27"/>
                      <a:pt x="109" y="25"/>
                    </a:cubicBezTo>
                    <a:cubicBezTo>
                      <a:pt x="101" y="16"/>
                      <a:pt x="101" y="16"/>
                      <a:pt x="101" y="16"/>
                    </a:cubicBezTo>
                    <a:cubicBezTo>
                      <a:pt x="100" y="15"/>
                      <a:pt x="98" y="15"/>
                      <a:pt x="96" y="16"/>
                    </a:cubicBezTo>
                    <a:cubicBezTo>
                      <a:pt x="91" y="21"/>
                      <a:pt x="91" y="21"/>
                      <a:pt x="91" y="21"/>
                    </a:cubicBezTo>
                    <a:cubicBezTo>
                      <a:pt x="90" y="20"/>
                      <a:pt x="89" y="19"/>
                      <a:pt x="88" y="19"/>
                    </a:cubicBezTo>
                    <a:cubicBezTo>
                      <a:pt x="87" y="18"/>
                      <a:pt x="86" y="17"/>
                      <a:pt x="84" y="16"/>
                    </a:cubicBezTo>
                    <a:cubicBezTo>
                      <a:pt x="87" y="10"/>
                      <a:pt x="87" y="10"/>
                      <a:pt x="87" y="10"/>
                    </a:cubicBezTo>
                    <a:cubicBezTo>
                      <a:pt x="87" y="8"/>
                      <a:pt x="87" y="6"/>
                      <a:pt x="85" y="6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2" y="1"/>
                      <a:pt x="70" y="2"/>
                      <a:pt x="70" y="3"/>
                    </a:cubicBezTo>
                    <a:cubicBezTo>
                      <a:pt x="67" y="10"/>
                      <a:pt x="67" y="10"/>
                      <a:pt x="67" y="10"/>
                    </a:cubicBezTo>
                    <a:cubicBezTo>
                      <a:pt x="65" y="10"/>
                      <a:pt x="62" y="10"/>
                      <a:pt x="59" y="10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58" y="1"/>
                      <a:pt x="56" y="0"/>
                      <a:pt x="55" y="0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1" y="3"/>
                      <a:pt x="40" y="4"/>
                      <a:pt x="40" y="6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9" y="14"/>
                      <a:pt x="37" y="15"/>
                      <a:pt x="34" y="16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10"/>
                      <a:pt x="27" y="10"/>
                      <a:pt x="26" y="11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5" y="20"/>
                      <a:pt x="15" y="22"/>
                      <a:pt x="16" y="23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19" y="31"/>
                      <a:pt x="18" y="33"/>
                      <a:pt x="16" y="35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8" y="32"/>
                      <a:pt x="6" y="33"/>
                      <a:pt x="6" y="3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1" y="47"/>
                      <a:pt x="2" y="49"/>
                      <a:pt x="3" y="50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0" y="55"/>
                      <a:pt x="10" y="57"/>
                      <a:pt x="10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0" y="63"/>
                      <a:pt x="0" y="65"/>
                    </a:cubicBezTo>
                    <a:cubicBezTo>
                      <a:pt x="2" y="77"/>
                      <a:pt x="2" y="77"/>
                      <a:pt x="2" y="77"/>
                    </a:cubicBezTo>
                    <a:cubicBezTo>
                      <a:pt x="3" y="78"/>
                      <a:pt x="4" y="80"/>
                      <a:pt x="6" y="79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4" y="80"/>
                      <a:pt x="15" y="83"/>
                      <a:pt x="17" y="85"/>
                    </a:cubicBezTo>
                    <a:cubicBezTo>
                      <a:pt x="11" y="89"/>
                      <a:pt x="11" y="89"/>
                      <a:pt x="11" y="89"/>
                    </a:cubicBezTo>
                    <a:cubicBezTo>
                      <a:pt x="10" y="91"/>
                      <a:pt x="10" y="92"/>
                      <a:pt x="11" y="94"/>
                    </a:cubicBezTo>
                    <a:cubicBezTo>
                      <a:pt x="19" y="103"/>
                      <a:pt x="19" y="103"/>
                      <a:pt x="19" y="103"/>
                    </a:cubicBezTo>
                    <a:cubicBezTo>
                      <a:pt x="20" y="104"/>
                      <a:pt x="22" y="105"/>
                      <a:pt x="23" y="103"/>
                    </a:cubicBezTo>
                    <a:cubicBezTo>
                      <a:pt x="29" y="99"/>
                      <a:pt x="29" y="99"/>
                      <a:pt x="29" y="99"/>
                    </a:cubicBezTo>
                    <a:cubicBezTo>
                      <a:pt x="31" y="100"/>
                      <a:pt x="33" y="102"/>
                      <a:pt x="35" y="103"/>
                    </a:cubicBezTo>
                    <a:cubicBezTo>
                      <a:pt x="33" y="110"/>
                      <a:pt x="33" y="110"/>
                      <a:pt x="33" y="110"/>
                    </a:cubicBezTo>
                    <a:cubicBezTo>
                      <a:pt x="32" y="111"/>
                      <a:pt x="33" y="113"/>
                      <a:pt x="34" y="114"/>
                    </a:cubicBezTo>
                    <a:cubicBezTo>
                      <a:pt x="46" y="118"/>
                      <a:pt x="46" y="118"/>
                      <a:pt x="46" y="118"/>
                    </a:cubicBezTo>
                    <a:cubicBezTo>
                      <a:pt x="48" y="118"/>
                      <a:pt x="49" y="118"/>
                      <a:pt x="50" y="116"/>
                    </a:cubicBezTo>
                    <a:cubicBezTo>
                      <a:pt x="52" y="109"/>
                      <a:pt x="52" y="109"/>
                      <a:pt x="52" y="109"/>
                    </a:cubicBezTo>
                    <a:cubicBezTo>
                      <a:pt x="55" y="109"/>
                      <a:pt x="57" y="110"/>
                      <a:pt x="60" y="110"/>
                    </a:cubicBezTo>
                    <a:cubicBezTo>
                      <a:pt x="61" y="117"/>
                      <a:pt x="61" y="117"/>
                      <a:pt x="61" y="117"/>
                    </a:cubicBezTo>
                    <a:cubicBezTo>
                      <a:pt x="62" y="118"/>
                      <a:pt x="63" y="119"/>
                      <a:pt x="65" y="119"/>
                    </a:cubicBezTo>
                    <a:cubicBezTo>
                      <a:pt x="77" y="117"/>
                      <a:pt x="77" y="117"/>
                      <a:pt x="77" y="117"/>
                    </a:cubicBezTo>
                    <a:cubicBezTo>
                      <a:pt x="79" y="117"/>
                      <a:pt x="80" y="115"/>
                      <a:pt x="79" y="113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80" y="105"/>
                      <a:pt x="83" y="104"/>
                      <a:pt x="85" y="103"/>
                    </a:cubicBezTo>
                    <a:cubicBezTo>
                      <a:pt x="90" y="108"/>
                      <a:pt x="90" y="108"/>
                      <a:pt x="90" y="108"/>
                    </a:cubicBezTo>
                    <a:cubicBezTo>
                      <a:pt x="91" y="109"/>
                      <a:pt x="93" y="110"/>
                      <a:pt x="94" y="108"/>
                    </a:cubicBezTo>
                    <a:cubicBezTo>
                      <a:pt x="103" y="101"/>
                      <a:pt x="103" y="101"/>
                      <a:pt x="103" y="101"/>
                    </a:cubicBezTo>
                    <a:cubicBezTo>
                      <a:pt x="104" y="100"/>
                      <a:pt x="105" y="98"/>
                      <a:pt x="104" y="96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0" y="89"/>
                      <a:pt x="102" y="87"/>
                      <a:pt x="103" y="84"/>
                    </a:cubicBezTo>
                    <a:cubicBezTo>
                      <a:pt x="110" y="87"/>
                      <a:pt x="110" y="87"/>
                      <a:pt x="110" y="87"/>
                    </a:cubicBezTo>
                    <a:cubicBezTo>
                      <a:pt x="111" y="87"/>
                      <a:pt x="113" y="86"/>
                      <a:pt x="114" y="85"/>
                    </a:cubicBezTo>
                    <a:cubicBezTo>
                      <a:pt x="118" y="73"/>
                      <a:pt x="118" y="73"/>
                      <a:pt x="118" y="73"/>
                    </a:cubicBezTo>
                    <a:cubicBezTo>
                      <a:pt x="118" y="72"/>
                      <a:pt x="118" y="70"/>
                      <a:pt x="116" y="69"/>
                    </a:cubicBezTo>
                    <a:cubicBezTo>
                      <a:pt x="109" y="67"/>
                      <a:pt x="109" y="67"/>
                      <a:pt x="109" y="67"/>
                    </a:cubicBezTo>
                    <a:cubicBezTo>
                      <a:pt x="110" y="64"/>
                      <a:pt x="110" y="62"/>
                      <a:pt x="110" y="59"/>
                    </a:cubicBezTo>
                    <a:cubicBezTo>
                      <a:pt x="117" y="58"/>
                      <a:pt x="117" y="58"/>
                      <a:pt x="117" y="58"/>
                    </a:cubicBezTo>
                    <a:cubicBezTo>
                      <a:pt x="118" y="58"/>
                      <a:pt x="119" y="56"/>
                      <a:pt x="119" y="54"/>
                    </a:cubicBezTo>
                    <a:cubicBezTo>
                      <a:pt x="117" y="44"/>
                      <a:pt x="117" y="44"/>
                      <a:pt x="117" y="44"/>
                    </a:cubicBezTo>
                    <a:lnTo>
                      <a:pt x="117" y="42"/>
                    </a:lnTo>
                    <a:close/>
                    <a:moveTo>
                      <a:pt x="23" y="67"/>
                    </a:moveTo>
                    <a:cubicBezTo>
                      <a:pt x="23" y="66"/>
                      <a:pt x="23" y="66"/>
                      <a:pt x="23" y="66"/>
                    </a:cubicBezTo>
                    <a:cubicBezTo>
                      <a:pt x="22" y="60"/>
                      <a:pt x="22" y="53"/>
                      <a:pt x="24" y="47"/>
                    </a:cubicBezTo>
                    <a:cubicBezTo>
                      <a:pt x="28" y="37"/>
                      <a:pt x="36" y="28"/>
                      <a:pt x="47" y="24"/>
                    </a:cubicBezTo>
                    <a:cubicBezTo>
                      <a:pt x="48" y="24"/>
                      <a:pt x="49" y="24"/>
                      <a:pt x="50" y="23"/>
                    </a:cubicBezTo>
                    <a:cubicBezTo>
                      <a:pt x="51" y="23"/>
                      <a:pt x="52" y="23"/>
                      <a:pt x="52" y="23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49" y="39"/>
                      <a:pt x="48" y="40"/>
                      <a:pt x="47" y="41"/>
                    </a:cubicBezTo>
                    <a:cubicBezTo>
                      <a:pt x="42" y="44"/>
                      <a:pt x="39" y="50"/>
                      <a:pt x="38" y="56"/>
                    </a:cubicBezTo>
                    <a:cubicBezTo>
                      <a:pt x="37" y="57"/>
                      <a:pt x="37" y="59"/>
                      <a:pt x="37" y="60"/>
                    </a:cubicBezTo>
                    <a:lnTo>
                      <a:pt x="23" y="67"/>
                    </a:lnTo>
                    <a:close/>
                    <a:moveTo>
                      <a:pt x="66" y="97"/>
                    </a:moveTo>
                    <a:cubicBezTo>
                      <a:pt x="54" y="99"/>
                      <a:pt x="41" y="95"/>
                      <a:pt x="33" y="86"/>
                    </a:cubicBezTo>
                    <a:cubicBezTo>
                      <a:pt x="48" y="79"/>
                      <a:pt x="48" y="79"/>
                      <a:pt x="48" y="79"/>
                    </a:cubicBezTo>
                    <a:cubicBezTo>
                      <a:pt x="52" y="82"/>
                      <a:pt x="58" y="83"/>
                      <a:pt x="64" y="82"/>
                    </a:cubicBezTo>
                    <a:cubicBezTo>
                      <a:pt x="65" y="82"/>
                      <a:pt x="67" y="81"/>
                      <a:pt x="68" y="81"/>
                    </a:cubicBezTo>
                    <a:cubicBezTo>
                      <a:pt x="82" y="90"/>
                      <a:pt x="82" y="90"/>
                      <a:pt x="82" y="90"/>
                    </a:cubicBezTo>
                    <a:cubicBezTo>
                      <a:pt x="77" y="93"/>
                      <a:pt x="72" y="96"/>
                      <a:pt x="66" y="97"/>
                    </a:cubicBezTo>
                    <a:close/>
                    <a:moveTo>
                      <a:pt x="95" y="73"/>
                    </a:moveTo>
                    <a:cubicBezTo>
                      <a:pt x="82" y="64"/>
                      <a:pt x="82" y="64"/>
                      <a:pt x="82" y="64"/>
                    </a:cubicBezTo>
                    <a:cubicBezTo>
                      <a:pt x="82" y="62"/>
                      <a:pt x="83" y="59"/>
                      <a:pt x="82" y="56"/>
                    </a:cubicBezTo>
                    <a:cubicBezTo>
                      <a:pt x="81" y="50"/>
                      <a:pt x="78" y="45"/>
                      <a:pt x="74" y="42"/>
                    </a:cubicBezTo>
                    <a:cubicBezTo>
                      <a:pt x="73" y="42"/>
                      <a:pt x="73" y="41"/>
                      <a:pt x="72" y="41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80" y="27"/>
                      <a:pt x="85" y="31"/>
                      <a:pt x="89" y="36"/>
                    </a:cubicBezTo>
                    <a:cubicBezTo>
                      <a:pt x="91" y="38"/>
                      <a:pt x="93" y="41"/>
                      <a:pt x="94" y="44"/>
                    </a:cubicBezTo>
                    <a:cubicBezTo>
                      <a:pt x="95" y="47"/>
                      <a:pt x="96" y="50"/>
                      <a:pt x="97" y="53"/>
                    </a:cubicBezTo>
                    <a:cubicBezTo>
                      <a:pt x="98" y="60"/>
                      <a:pt x="97" y="67"/>
                      <a:pt x="95" y="7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</p:grpSp>
        <p:grpSp>
          <p:nvGrpSpPr>
            <p:cNvPr id="51" name="Group 4"/>
            <p:cNvGrpSpPr>
              <a:grpSpLocks noChangeAspect="1"/>
            </p:cNvGrpSpPr>
            <p:nvPr userDrawn="1"/>
          </p:nvGrpSpPr>
          <p:grpSpPr bwMode="auto">
            <a:xfrm>
              <a:off x="713661" y="113741"/>
              <a:ext cx="69318" cy="90152"/>
              <a:chOff x="3655" y="1900"/>
              <a:chExt cx="366" cy="476"/>
            </a:xfrm>
            <a:solidFill>
              <a:schemeClr val="bg1"/>
            </a:solidFill>
          </p:grpSpPr>
          <p:sp>
            <p:nvSpPr>
              <p:cNvPr id="63" name="Freeform 5"/>
              <p:cNvSpPr>
                <a:spLocks noEditPoints="1"/>
              </p:cNvSpPr>
              <p:nvPr/>
            </p:nvSpPr>
            <p:spPr bwMode="auto">
              <a:xfrm>
                <a:off x="3953" y="1971"/>
                <a:ext cx="68" cy="132"/>
              </a:xfrm>
              <a:custGeom>
                <a:avLst/>
                <a:gdLst>
                  <a:gd name="T0" fmla="*/ 31 w 38"/>
                  <a:gd name="T1" fmla="*/ 74 h 74"/>
                  <a:gd name="T2" fmla="*/ 27 w 38"/>
                  <a:gd name="T3" fmla="*/ 73 h 74"/>
                  <a:gd name="T4" fmla="*/ 18 w 38"/>
                  <a:gd name="T5" fmla="*/ 52 h 74"/>
                  <a:gd name="T6" fmla="*/ 17 w 38"/>
                  <a:gd name="T7" fmla="*/ 49 h 74"/>
                  <a:gd name="T8" fmla="*/ 2 w 38"/>
                  <a:gd name="T9" fmla="*/ 10 h 74"/>
                  <a:gd name="T10" fmla="*/ 4 w 38"/>
                  <a:gd name="T11" fmla="*/ 2 h 74"/>
                  <a:gd name="T12" fmla="*/ 12 w 38"/>
                  <a:gd name="T13" fmla="*/ 4 h 74"/>
                  <a:gd name="T14" fmla="*/ 29 w 38"/>
                  <a:gd name="T15" fmla="*/ 46 h 74"/>
                  <a:gd name="T16" fmla="*/ 29 w 38"/>
                  <a:gd name="T17" fmla="*/ 48 h 74"/>
                  <a:gd name="T18" fmla="*/ 30 w 38"/>
                  <a:gd name="T19" fmla="*/ 49 h 74"/>
                  <a:gd name="T20" fmla="*/ 34 w 38"/>
                  <a:gd name="T21" fmla="*/ 63 h 74"/>
                  <a:gd name="T22" fmla="*/ 36 w 38"/>
                  <a:gd name="T23" fmla="*/ 72 h 74"/>
                  <a:gd name="T24" fmla="*/ 31 w 38"/>
                  <a:gd name="T25" fmla="*/ 74 h 74"/>
                  <a:gd name="T26" fmla="*/ 31 w 38"/>
                  <a:gd name="T27" fmla="*/ 74 h 74"/>
                  <a:gd name="T28" fmla="*/ 31 w 38"/>
                  <a:gd name="T2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74">
                    <a:moveTo>
                      <a:pt x="31" y="74"/>
                    </a:moveTo>
                    <a:cubicBezTo>
                      <a:pt x="29" y="74"/>
                      <a:pt x="28" y="74"/>
                      <a:pt x="27" y="73"/>
                    </a:cubicBezTo>
                    <a:cubicBezTo>
                      <a:pt x="23" y="70"/>
                      <a:pt x="19" y="60"/>
                      <a:pt x="18" y="52"/>
                    </a:cubicBezTo>
                    <a:cubicBezTo>
                      <a:pt x="17" y="52"/>
                      <a:pt x="17" y="51"/>
                      <a:pt x="17" y="49"/>
                    </a:cubicBezTo>
                    <a:cubicBezTo>
                      <a:pt x="15" y="43"/>
                      <a:pt x="11" y="26"/>
                      <a:pt x="2" y="10"/>
                    </a:cubicBezTo>
                    <a:cubicBezTo>
                      <a:pt x="0" y="7"/>
                      <a:pt x="1" y="3"/>
                      <a:pt x="4" y="2"/>
                    </a:cubicBezTo>
                    <a:cubicBezTo>
                      <a:pt x="7" y="0"/>
                      <a:pt x="11" y="1"/>
                      <a:pt x="12" y="4"/>
                    </a:cubicBezTo>
                    <a:cubicBezTo>
                      <a:pt x="23" y="21"/>
                      <a:pt x="27" y="39"/>
                      <a:pt x="29" y="46"/>
                    </a:cubicBezTo>
                    <a:cubicBezTo>
                      <a:pt x="29" y="47"/>
                      <a:pt x="29" y="48"/>
                      <a:pt x="29" y="48"/>
                    </a:cubicBezTo>
                    <a:cubicBezTo>
                      <a:pt x="29" y="48"/>
                      <a:pt x="30" y="49"/>
                      <a:pt x="30" y="49"/>
                    </a:cubicBezTo>
                    <a:cubicBezTo>
                      <a:pt x="31" y="55"/>
                      <a:pt x="33" y="62"/>
                      <a:pt x="34" y="63"/>
                    </a:cubicBezTo>
                    <a:cubicBezTo>
                      <a:pt x="37" y="65"/>
                      <a:pt x="38" y="69"/>
                      <a:pt x="36" y="72"/>
                    </a:cubicBezTo>
                    <a:cubicBezTo>
                      <a:pt x="34" y="73"/>
                      <a:pt x="32" y="74"/>
                      <a:pt x="31" y="74"/>
                    </a:cubicBezTo>
                    <a:close/>
                    <a:moveTo>
                      <a:pt x="31" y="74"/>
                    </a:moveTo>
                    <a:cubicBezTo>
                      <a:pt x="31" y="74"/>
                      <a:pt x="31" y="74"/>
                      <a:pt x="31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4" name="Freeform 6"/>
              <p:cNvSpPr>
                <a:spLocks noEditPoints="1"/>
              </p:cNvSpPr>
              <p:nvPr/>
            </p:nvSpPr>
            <p:spPr bwMode="auto">
              <a:xfrm>
                <a:off x="3810" y="1900"/>
                <a:ext cx="143" cy="62"/>
              </a:xfrm>
              <a:custGeom>
                <a:avLst/>
                <a:gdLst>
                  <a:gd name="T0" fmla="*/ 74 w 80"/>
                  <a:gd name="T1" fmla="*/ 35 h 35"/>
                  <a:gd name="T2" fmla="*/ 69 w 80"/>
                  <a:gd name="T3" fmla="*/ 34 h 35"/>
                  <a:gd name="T4" fmla="*/ 25 w 80"/>
                  <a:gd name="T5" fmla="*/ 12 h 35"/>
                  <a:gd name="T6" fmla="*/ 8 w 80"/>
                  <a:gd name="T7" fmla="*/ 14 h 35"/>
                  <a:gd name="T8" fmla="*/ 1 w 80"/>
                  <a:gd name="T9" fmla="*/ 9 h 35"/>
                  <a:gd name="T10" fmla="*/ 6 w 80"/>
                  <a:gd name="T11" fmla="*/ 2 h 35"/>
                  <a:gd name="T12" fmla="*/ 26 w 80"/>
                  <a:gd name="T13" fmla="*/ 0 h 35"/>
                  <a:gd name="T14" fmla="*/ 26 w 80"/>
                  <a:gd name="T15" fmla="*/ 0 h 35"/>
                  <a:gd name="T16" fmla="*/ 78 w 80"/>
                  <a:gd name="T17" fmla="*/ 25 h 35"/>
                  <a:gd name="T18" fmla="*/ 78 w 80"/>
                  <a:gd name="T19" fmla="*/ 34 h 35"/>
                  <a:gd name="T20" fmla="*/ 74 w 80"/>
                  <a:gd name="T21" fmla="*/ 35 h 35"/>
                  <a:gd name="T22" fmla="*/ 74 w 80"/>
                  <a:gd name="T23" fmla="*/ 35 h 35"/>
                  <a:gd name="T24" fmla="*/ 74 w 80"/>
                  <a:gd name="T2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35">
                    <a:moveTo>
                      <a:pt x="74" y="35"/>
                    </a:moveTo>
                    <a:cubicBezTo>
                      <a:pt x="72" y="35"/>
                      <a:pt x="70" y="35"/>
                      <a:pt x="69" y="34"/>
                    </a:cubicBezTo>
                    <a:cubicBezTo>
                      <a:pt x="57" y="21"/>
                      <a:pt x="42" y="14"/>
                      <a:pt x="25" y="12"/>
                    </a:cubicBezTo>
                    <a:cubicBezTo>
                      <a:pt x="19" y="12"/>
                      <a:pt x="14" y="13"/>
                      <a:pt x="8" y="14"/>
                    </a:cubicBezTo>
                    <a:cubicBezTo>
                      <a:pt x="5" y="14"/>
                      <a:pt x="2" y="12"/>
                      <a:pt x="1" y="9"/>
                    </a:cubicBezTo>
                    <a:cubicBezTo>
                      <a:pt x="0" y="5"/>
                      <a:pt x="3" y="2"/>
                      <a:pt x="6" y="2"/>
                    </a:cubicBezTo>
                    <a:cubicBezTo>
                      <a:pt x="12" y="0"/>
                      <a:pt x="19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46" y="2"/>
                      <a:pt x="64" y="10"/>
                      <a:pt x="78" y="25"/>
                    </a:cubicBezTo>
                    <a:cubicBezTo>
                      <a:pt x="80" y="27"/>
                      <a:pt x="80" y="31"/>
                      <a:pt x="78" y="34"/>
                    </a:cubicBezTo>
                    <a:cubicBezTo>
                      <a:pt x="77" y="35"/>
                      <a:pt x="75" y="35"/>
                      <a:pt x="74" y="35"/>
                    </a:cubicBezTo>
                    <a:close/>
                    <a:moveTo>
                      <a:pt x="74" y="35"/>
                    </a:moveTo>
                    <a:cubicBezTo>
                      <a:pt x="74" y="35"/>
                      <a:pt x="74" y="35"/>
                      <a:pt x="74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5" name="Freeform 7"/>
              <p:cNvSpPr>
                <a:spLocks noEditPoints="1"/>
              </p:cNvSpPr>
              <p:nvPr/>
            </p:nvSpPr>
            <p:spPr bwMode="auto">
              <a:xfrm>
                <a:off x="3657" y="1927"/>
                <a:ext cx="120" cy="119"/>
              </a:xfrm>
              <a:custGeom>
                <a:avLst/>
                <a:gdLst>
                  <a:gd name="T0" fmla="*/ 6 w 67"/>
                  <a:gd name="T1" fmla="*/ 67 h 67"/>
                  <a:gd name="T2" fmla="*/ 5 w 67"/>
                  <a:gd name="T3" fmla="*/ 67 h 67"/>
                  <a:gd name="T4" fmla="*/ 0 w 67"/>
                  <a:gd name="T5" fmla="*/ 62 h 67"/>
                  <a:gd name="T6" fmla="*/ 3 w 67"/>
                  <a:gd name="T7" fmla="*/ 56 h 67"/>
                  <a:gd name="T8" fmla="*/ 4 w 67"/>
                  <a:gd name="T9" fmla="*/ 55 h 67"/>
                  <a:gd name="T10" fmla="*/ 14 w 67"/>
                  <a:gd name="T11" fmla="*/ 46 h 67"/>
                  <a:gd name="T12" fmla="*/ 15 w 67"/>
                  <a:gd name="T13" fmla="*/ 44 h 67"/>
                  <a:gd name="T14" fmla="*/ 24 w 67"/>
                  <a:gd name="T15" fmla="*/ 33 h 67"/>
                  <a:gd name="T16" fmla="*/ 56 w 67"/>
                  <a:gd name="T17" fmla="*/ 2 h 67"/>
                  <a:gd name="T18" fmla="*/ 65 w 67"/>
                  <a:gd name="T19" fmla="*/ 3 h 67"/>
                  <a:gd name="T20" fmla="*/ 63 w 67"/>
                  <a:gd name="T21" fmla="*/ 12 h 67"/>
                  <a:gd name="T22" fmla="*/ 33 w 67"/>
                  <a:gd name="T23" fmla="*/ 41 h 67"/>
                  <a:gd name="T24" fmla="*/ 25 w 67"/>
                  <a:gd name="T25" fmla="*/ 51 h 67"/>
                  <a:gd name="T26" fmla="*/ 24 w 67"/>
                  <a:gd name="T27" fmla="*/ 53 h 67"/>
                  <a:gd name="T28" fmla="*/ 14 w 67"/>
                  <a:gd name="T29" fmla="*/ 63 h 67"/>
                  <a:gd name="T30" fmla="*/ 6 w 67"/>
                  <a:gd name="T31" fmla="*/ 67 h 67"/>
                  <a:gd name="T32" fmla="*/ 6 w 67"/>
                  <a:gd name="T33" fmla="*/ 67 h 67"/>
                  <a:gd name="T34" fmla="*/ 6 w 67"/>
                  <a:gd name="T3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7" h="67">
                    <a:moveTo>
                      <a:pt x="6" y="67"/>
                    </a:moveTo>
                    <a:cubicBezTo>
                      <a:pt x="6" y="67"/>
                      <a:pt x="6" y="67"/>
                      <a:pt x="5" y="67"/>
                    </a:cubicBezTo>
                    <a:cubicBezTo>
                      <a:pt x="3" y="66"/>
                      <a:pt x="1" y="64"/>
                      <a:pt x="0" y="62"/>
                    </a:cubicBezTo>
                    <a:cubicBezTo>
                      <a:pt x="0" y="59"/>
                      <a:pt x="1" y="57"/>
                      <a:pt x="3" y="56"/>
                    </a:cubicBezTo>
                    <a:cubicBezTo>
                      <a:pt x="3" y="55"/>
                      <a:pt x="4" y="55"/>
                      <a:pt x="4" y="55"/>
                    </a:cubicBezTo>
                    <a:cubicBezTo>
                      <a:pt x="6" y="54"/>
                      <a:pt x="10" y="51"/>
                      <a:pt x="14" y="46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8" y="41"/>
                      <a:pt x="20" y="37"/>
                      <a:pt x="24" y="33"/>
                    </a:cubicBezTo>
                    <a:cubicBezTo>
                      <a:pt x="34" y="20"/>
                      <a:pt x="45" y="10"/>
                      <a:pt x="56" y="2"/>
                    </a:cubicBezTo>
                    <a:cubicBezTo>
                      <a:pt x="59" y="0"/>
                      <a:pt x="63" y="1"/>
                      <a:pt x="65" y="3"/>
                    </a:cubicBezTo>
                    <a:cubicBezTo>
                      <a:pt x="67" y="6"/>
                      <a:pt x="66" y="10"/>
                      <a:pt x="63" y="12"/>
                    </a:cubicBezTo>
                    <a:cubicBezTo>
                      <a:pt x="53" y="19"/>
                      <a:pt x="43" y="29"/>
                      <a:pt x="33" y="41"/>
                    </a:cubicBezTo>
                    <a:cubicBezTo>
                      <a:pt x="30" y="45"/>
                      <a:pt x="27" y="48"/>
                      <a:pt x="25" y="51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0" y="58"/>
                      <a:pt x="17" y="61"/>
                      <a:pt x="14" y="63"/>
                    </a:cubicBezTo>
                    <a:cubicBezTo>
                      <a:pt x="10" y="66"/>
                      <a:pt x="8" y="67"/>
                      <a:pt x="6" y="67"/>
                    </a:cubicBezTo>
                    <a:close/>
                    <a:moveTo>
                      <a:pt x="6" y="67"/>
                    </a:moveTo>
                    <a:cubicBezTo>
                      <a:pt x="6" y="67"/>
                      <a:pt x="6" y="67"/>
                      <a:pt x="6" y="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6" name="Freeform 8"/>
              <p:cNvSpPr>
                <a:spLocks noEditPoints="1"/>
              </p:cNvSpPr>
              <p:nvPr/>
            </p:nvSpPr>
            <p:spPr bwMode="auto">
              <a:xfrm>
                <a:off x="3655" y="2114"/>
                <a:ext cx="81" cy="44"/>
              </a:xfrm>
              <a:custGeom>
                <a:avLst/>
                <a:gdLst>
                  <a:gd name="T0" fmla="*/ 7 w 45"/>
                  <a:gd name="T1" fmla="*/ 25 h 25"/>
                  <a:gd name="T2" fmla="*/ 1 w 45"/>
                  <a:gd name="T3" fmla="*/ 21 h 25"/>
                  <a:gd name="T4" fmla="*/ 6 w 45"/>
                  <a:gd name="T5" fmla="*/ 13 h 25"/>
                  <a:gd name="T6" fmla="*/ 35 w 45"/>
                  <a:gd name="T7" fmla="*/ 1 h 25"/>
                  <a:gd name="T8" fmla="*/ 44 w 45"/>
                  <a:gd name="T9" fmla="*/ 4 h 25"/>
                  <a:gd name="T10" fmla="*/ 41 w 45"/>
                  <a:gd name="T11" fmla="*/ 12 h 25"/>
                  <a:gd name="T12" fmla="*/ 9 w 45"/>
                  <a:gd name="T13" fmla="*/ 25 h 25"/>
                  <a:gd name="T14" fmla="*/ 7 w 45"/>
                  <a:gd name="T15" fmla="*/ 25 h 25"/>
                  <a:gd name="T16" fmla="*/ 7 w 45"/>
                  <a:gd name="T17" fmla="*/ 25 h 25"/>
                  <a:gd name="T18" fmla="*/ 7 w 45"/>
                  <a:gd name="T1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5" h="25">
                    <a:moveTo>
                      <a:pt x="7" y="25"/>
                    </a:moveTo>
                    <a:cubicBezTo>
                      <a:pt x="4" y="25"/>
                      <a:pt x="2" y="24"/>
                      <a:pt x="1" y="21"/>
                    </a:cubicBezTo>
                    <a:cubicBezTo>
                      <a:pt x="0" y="17"/>
                      <a:pt x="2" y="14"/>
                      <a:pt x="6" y="13"/>
                    </a:cubicBezTo>
                    <a:cubicBezTo>
                      <a:pt x="17" y="10"/>
                      <a:pt x="28" y="5"/>
                      <a:pt x="35" y="1"/>
                    </a:cubicBezTo>
                    <a:cubicBezTo>
                      <a:pt x="38" y="0"/>
                      <a:pt x="42" y="1"/>
                      <a:pt x="44" y="4"/>
                    </a:cubicBezTo>
                    <a:cubicBezTo>
                      <a:pt x="45" y="7"/>
                      <a:pt x="44" y="11"/>
                      <a:pt x="41" y="12"/>
                    </a:cubicBezTo>
                    <a:cubicBezTo>
                      <a:pt x="33" y="16"/>
                      <a:pt x="21" y="22"/>
                      <a:pt x="9" y="25"/>
                    </a:cubicBezTo>
                    <a:cubicBezTo>
                      <a:pt x="8" y="25"/>
                      <a:pt x="8" y="25"/>
                      <a:pt x="7" y="25"/>
                    </a:cubicBezTo>
                    <a:close/>
                    <a:moveTo>
                      <a:pt x="7" y="25"/>
                    </a:moveTo>
                    <a:cubicBezTo>
                      <a:pt x="7" y="25"/>
                      <a:pt x="7" y="25"/>
                      <a:pt x="7" y="2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7" name="Freeform 9"/>
              <p:cNvSpPr>
                <a:spLocks noEditPoints="1"/>
              </p:cNvSpPr>
              <p:nvPr/>
            </p:nvSpPr>
            <p:spPr bwMode="auto">
              <a:xfrm>
                <a:off x="3738" y="1989"/>
                <a:ext cx="211" cy="132"/>
              </a:xfrm>
              <a:custGeom>
                <a:avLst/>
                <a:gdLst>
                  <a:gd name="T0" fmla="*/ 7 w 118"/>
                  <a:gd name="T1" fmla="*/ 74 h 74"/>
                  <a:gd name="T2" fmla="*/ 2 w 118"/>
                  <a:gd name="T3" fmla="*/ 71 h 74"/>
                  <a:gd name="T4" fmla="*/ 3 w 118"/>
                  <a:gd name="T5" fmla="*/ 63 h 74"/>
                  <a:gd name="T6" fmla="*/ 45 w 118"/>
                  <a:gd name="T7" fmla="*/ 27 h 74"/>
                  <a:gd name="T8" fmla="*/ 94 w 118"/>
                  <a:gd name="T9" fmla="*/ 5 h 74"/>
                  <a:gd name="T10" fmla="*/ 117 w 118"/>
                  <a:gd name="T11" fmla="*/ 27 h 74"/>
                  <a:gd name="T12" fmla="*/ 113 w 118"/>
                  <a:gd name="T13" fmla="*/ 34 h 74"/>
                  <a:gd name="T14" fmla="*/ 105 w 118"/>
                  <a:gd name="T15" fmla="*/ 30 h 74"/>
                  <a:gd name="T16" fmla="*/ 90 w 118"/>
                  <a:gd name="T17" fmla="*/ 17 h 74"/>
                  <a:gd name="T18" fmla="*/ 54 w 118"/>
                  <a:gd name="T19" fmla="*/ 35 h 74"/>
                  <a:gd name="T20" fmla="*/ 10 w 118"/>
                  <a:gd name="T21" fmla="*/ 73 h 74"/>
                  <a:gd name="T22" fmla="*/ 7 w 118"/>
                  <a:gd name="T23" fmla="*/ 74 h 74"/>
                  <a:gd name="T24" fmla="*/ 7 w 118"/>
                  <a:gd name="T25" fmla="*/ 74 h 74"/>
                  <a:gd name="T26" fmla="*/ 7 w 118"/>
                  <a:gd name="T27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8" h="74">
                    <a:moveTo>
                      <a:pt x="7" y="74"/>
                    </a:moveTo>
                    <a:cubicBezTo>
                      <a:pt x="5" y="74"/>
                      <a:pt x="3" y="73"/>
                      <a:pt x="2" y="71"/>
                    </a:cubicBezTo>
                    <a:cubicBezTo>
                      <a:pt x="0" y="69"/>
                      <a:pt x="0" y="65"/>
                      <a:pt x="3" y="63"/>
                    </a:cubicBezTo>
                    <a:cubicBezTo>
                      <a:pt x="25" y="48"/>
                      <a:pt x="45" y="27"/>
                      <a:pt x="45" y="27"/>
                    </a:cubicBezTo>
                    <a:cubicBezTo>
                      <a:pt x="61" y="8"/>
                      <a:pt x="79" y="0"/>
                      <a:pt x="94" y="5"/>
                    </a:cubicBezTo>
                    <a:cubicBezTo>
                      <a:pt x="109" y="9"/>
                      <a:pt x="115" y="19"/>
                      <a:pt x="117" y="27"/>
                    </a:cubicBezTo>
                    <a:cubicBezTo>
                      <a:pt x="118" y="30"/>
                      <a:pt x="116" y="33"/>
                      <a:pt x="113" y="34"/>
                    </a:cubicBezTo>
                    <a:cubicBezTo>
                      <a:pt x="110" y="35"/>
                      <a:pt x="106" y="34"/>
                      <a:pt x="105" y="30"/>
                    </a:cubicBezTo>
                    <a:cubicBezTo>
                      <a:pt x="103" y="24"/>
                      <a:pt x="98" y="19"/>
                      <a:pt x="90" y="17"/>
                    </a:cubicBezTo>
                    <a:cubicBezTo>
                      <a:pt x="79" y="13"/>
                      <a:pt x="64" y="24"/>
                      <a:pt x="54" y="35"/>
                    </a:cubicBezTo>
                    <a:cubicBezTo>
                      <a:pt x="52" y="38"/>
                      <a:pt x="32" y="58"/>
                      <a:pt x="10" y="73"/>
                    </a:cubicBezTo>
                    <a:cubicBezTo>
                      <a:pt x="9" y="74"/>
                      <a:pt x="8" y="74"/>
                      <a:pt x="7" y="74"/>
                    </a:cubicBezTo>
                    <a:close/>
                    <a:moveTo>
                      <a:pt x="7" y="74"/>
                    </a:moveTo>
                    <a:cubicBezTo>
                      <a:pt x="7" y="74"/>
                      <a:pt x="7" y="74"/>
                      <a:pt x="7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8" name="Freeform 10"/>
              <p:cNvSpPr>
                <a:spLocks noEditPoints="1"/>
              </p:cNvSpPr>
              <p:nvPr/>
            </p:nvSpPr>
            <p:spPr bwMode="auto">
              <a:xfrm>
                <a:off x="3677" y="2071"/>
                <a:ext cx="269" cy="203"/>
              </a:xfrm>
              <a:custGeom>
                <a:avLst/>
                <a:gdLst>
                  <a:gd name="T0" fmla="*/ 7 w 150"/>
                  <a:gd name="T1" fmla="*/ 114 h 114"/>
                  <a:gd name="T2" fmla="*/ 1 w 150"/>
                  <a:gd name="T3" fmla="*/ 110 h 114"/>
                  <a:gd name="T4" fmla="*/ 4 w 150"/>
                  <a:gd name="T5" fmla="*/ 102 h 114"/>
                  <a:gd name="T6" fmla="*/ 82 w 150"/>
                  <a:gd name="T7" fmla="*/ 58 h 114"/>
                  <a:gd name="T8" fmla="*/ 138 w 150"/>
                  <a:gd name="T9" fmla="*/ 5 h 114"/>
                  <a:gd name="T10" fmla="*/ 146 w 150"/>
                  <a:gd name="T11" fmla="*/ 1 h 114"/>
                  <a:gd name="T12" fmla="*/ 149 w 150"/>
                  <a:gd name="T13" fmla="*/ 9 h 114"/>
                  <a:gd name="T14" fmla="*/ 89 w 150"/>
                  <a:gd name="T15" fmla="*/ 69 h 114"/>
                  <a:gd name="T16" fmla="*/ 9 w 150"/>
                  <a:gd name="T17" fmla="*/ 113 h 114"/>
                  <a:gd name="T18" fmla="*/ 7 w 150"/>
                  <a:gd name="T19" fmla="*/ 114 h 114"/>
                  <a:gd name="T20" fmla="*/ 7 w 150"/>
                  <a:gd name="T21" fmla="*/ 114 h 114"/>
                  <a:gd name="T22" fmla="*/ 7 w 150"/>
                  <a:gd name="T23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0" h="114">
                    <a:moveTo>
                      <a:pt x="7" y="114"/>
                    </a:moveTo>
                    <a:cubicBezTo>
                      <a:pt x="4" y="114"/>
                      <a:pt x="2" y="113"/>
                      <a:pt x="1" y="110"/>
                    </a:cubicBezTo>
                    <a:cubicBezTo>
                      <a:pt x="0" y="107"/>
                      <a:pt x="1" y="103"/>
                      <a:pt x="4" y="102"/>
                    </a:cubicBezTo>
                    <a:cubicBezTo>
                      <a:pt x="31" y="91"/>
                      <a:pt x="68" y="68"/>
                      <a:pt x="82" y="58"/>
                    </a:cubicBezTo>
                    <a:cubicBezTo>
                      <a:pt x="112" y="39"/>
                      <a:pt x="131" y="20"/>
                      <a:pt x="138" y="5"/>
                    </a:cubicBezTo>
                    <a:cubicBezTo>
                      <a:pt x="139" y="2"/>
                      <a:pt x="143" y="0"/>
                      <a:pt x="146" y="1"/>
                    </a:cubicBezTo>
                    <a:cubicBezTo>
                      <a:pt x="149" y="3"/>
                      <a:pt x="150" y="6"/>
                      <a:pt x="149" y="9"/>
                    </a:cubicBezTo>
                    <a:cubicBezTo>
                      <a:pt x="140" y="33"/>
                      <a:pt x="111" y="54"/>
                      <a:pt x="89" y="69"/>
                    </a:cubicBezTo>
                    <a:cubicBezTo>
                      <a:pt x="74" y="78"/>
                      <a:pt x="36" y="102"/>
                      <a:pt x="9" y="113"/>
                    </a:cubicBezTo>
                    <a:cubicBezTo>
                      <a:pt x="8" y="114"/>
                      <a:pt x="8" y="114"/>
                      <a:pt x="7" y="114"/>
                    </a:cubicBezTo>
                    <a:close/>
                    <a:moveTo>
                      <a:pt x="7" y="114"/>
                    </a:moveTo>
                    <a:cubicBezTo>
                      <a:pt x="7" y="114"/>
                      <a:pt x="7" y="114"/>
                      <a:pt x="7" y="1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9" name="Freeform 11"/>
              <p:cNvSpPr>
                <a:spLocks noEditPoints="1"/>
              </p:cNvSpPr>
              <p:nvPr/>
            </p:nvSpPr>
            <p:spPr bwMode="auto">
              <a:xfrm>
                <a:off x="3766" y="1946"/>
                <a:ext cx="112" cy="73"/>
              </a:xfrm>
              <a:custGeom>
                <a:avLst/>
                <a:gdLst>
                  <a:gd name="T0" fmla="*/ 15 w 62"/>
                  <a:gd name="T1" fmla="*/ 35 h 41"/>
                  <a:gd name="T2" fmla="*/ 33 w 62"/>
                  <a:gd name="T3" fmla="*/ 21 h 41"/>
                  <a:gd name="T4" fmla="*/ 56 w 62"/>
                  <a:gd name="T5" fmla="*/ 13 h 41"/>
                  <a:gd name="T6" fmla="*/ 62 w 62"/>
                  <a:gd name="T7" fmla="*/ 7 h 41"/>
                  <a:gd name="T8" fmla="*/ 56 w 62"/>
                  <a:gd name="T9" fmla="*/ 0 h 41"/>
                  <a:gd name="T10" fmla="*/ 6 w 62"/>
                  <a:gd name="T11" fmla="*/ 26 h 41"/>
                  <a:gd name="T12" fmla="*/ 15 w 62"/>
                  <a:gd name="T13" fmla="*/ 35 h 41"/>
                  <a:gd name="T14" fmla="*/ 15 w 62"/>
                  <a:gd name="T15" fmla="*/ 35 h 41"/>
                  <a:gd name="T16" fmla="*/ 15 w 62"/>
                  <a:gd name="T17" fmla="*/ 3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41">
                    <a:moveTo>
                      <a:pt x="15" y="35"/>
                    </a:moveTo>
                    <a:cubicBezTo>
                      <a:pt x="20" y="30"/>
                      <a:pt x="26" y="25"/>
                      <a:pt x="33" y="21"/>
                    </a:cubicBezTo>
                    <a:cubicBezTo>
                      <a:pt x="40" y="17"/>
                      <a:pt x="48" y="14"/>
                      <a:pt x="56" y="13"/>
                    </a:cubicBezTo>
                    <a:cubicBezTo>
                      <a:pt x="59" y="13"/>
                      <a:pt x="62" y="10"/>
                      <a:pt x="62" y="7"/>
                    </a:cubicBezTo>
                    <a:cubicBezTo>
                      <a:pt x="62" y="4"/>
                      <a:pt x="59" y="0"/>
                      <a:pt x="56" y="0"/>
                    </a:cubicBezTo>
                    <a:cubicBezTo>
                      <a:pt x="36" y="3"/>
                      <a:pt x="20" y="13"/>
                      <a:pt x="6" y="26"/>
                    </a:cubicBezTo>
                    <a:cubicBezTo>
                      <a:pt x="0" y="32"/>
                      <a:pt x="9" y="41"/>
                      <a:pt x="15" y="35"/>
                    </a:cubicBezTo>
                    <a:close/>
                    <a:moveTo>
                      <a:pt x="15" y="35"/>
                    </a:moveTo>
                    <a:cubicBezTo>
                      <a:pt x="15" y="35"/>
                      <a:pt x="15" y="35"/>
                      <a:pt x="15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70" name="Freeform 12"/>
              <p:cNvSpPr>
                <a:spLocks noEditPoints="1"/>
              </p:cNvSpPr>
              <p:nvPr/>
            </p:nvSpPr>
            <p:spPr bwMode="auto">
              <a:xfrm>
                <a:off x="3661" y="2023"/>
                <a:ext cx="105" cy="78"/>
              </a:xfrm>
              <a:custGeom>
                <a:avLst/>
                <a:gdLst>
                  <a:gd name="T0" fmla="*/ 8 w 59"/>
                  <a:gd name="T1" fmla="*/ 43 h 44"/>
                  <a:gd name="T2" fmla="*/ 32 w 59"/>
                  <a:gd name="T3" fmla="*/ 32 h 44"/>
                  <a:gd name="T4" fmla="*/ 54 w 59"/>
                  <a:gd name="T5" fmla="*/ 14 h 44"/>
                  <a:gd name="T6" fmla="*/ 45 w 59"/>
                  <a:gd name="T7" fmla="*/ 6 h 44"/>
                  <a:gd name="T8" fmla="*/ 26 w 59"/>
                  <a:gd name="T9" fmla="*/ 21 h 44"/>
                  <a:gd name="T10" fmla="*/ 5 w 59"/>
                  <a:gd name="T11" fmla="*/ 31 h 44"/>
                  <a:gd name="T12" fmla="*/ 1 w 59"/>
                  <a:gd name="T13" fmla="*/ 39 h 44"/>
                  <a:gd name="T14" fmla="*/ 8 w 59"/>
                  <a:gd name="T15" fmla="*/ 43 h 44"/>
                  <a:gd name="T16" fmla="*/ 8 w 59"/>
                  <a:gd name="T17" fmla="*/ 43 h 44"/>
                  <a:gd name="T18" fmla="*/ 8 w 59"/>
                  <a:gd name="T1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44">
                    <a:moveTo>
                      <a:pt x="8" y="43"/>
                    </a:moveTo>
                    <a:cubicBezTo>
                      <a:pt x="17" y="41"/>
                      <a:pt x="24" y="36"/>
                      <a:pt x="32" y="32"/>
                    </a:cubicBezTo>
                    <a:cubicBezTo>
                      <a:pt x="40" y="28"/>
                      <a:pt x="47" y="21"/>
                      <a:pt x="54" y="14"/>
                    </a:cubicBezTo>
                    <a:cubicBezTo>
                      <a:pt x="59" y="9"/>
                      <a:pt x="50" y="0"/>
                      <a:pt x="45" y="6"/>
                    </a:cubicBezTo>
                    <a:cubicBezTo>
                      <a:pt x="39" y="12"/>
                      <a:pt x="33" y="17"/>
                      <a:pt x="26" y="21"/>
                    </a:cubicBezTo>
                    <a:cubicBezTo>
                      <a:pt x="19" y="25"/>
                      <a:pt x="12" y="29"/>
                      <a:pt x="5" y="31"/>
                    </a:cubicBezTo>
                    <a:cubicBezTo>
                      <a:pt x="2" y="32"/>
                      <a:pt x="0" y="36"/>
                      <a:pt x="1" y="39"/>
                    </a:cubicBezTo>
                    <a:cubicBezTo>
                      <a:pt x="1" y="42"/>
                      <a:pt x="5" y="44"/>
                      <a:pt x="8" y="43"/>
                    </a:cubicBezTo>
                    <a:close/>
                    <a:moveTo>
                      <a:pt x="8" y="43"/>
                    </a:moveTo>
                    <a:cubicBezTo>
                      <a:pt x="8" y="43"/>
                      <a:pt x="8" y="43"/>
                      <a:pt x="8" y="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71" name="Freeform 13"/>
              <p:cNvSpPr>
                <a:spLocks noEditPoints="1"/>
              </p:cNvSpPr>
              <p:nvPr/>
            </p:nvSpPr>
            <p:spPr bwMode="auto">
              <a:xfrm>
                <a:off x="3824" y="2046"/>
                <a:ext cx="75" cy="78"/>
              </a:xfrm>
              <a:custGeom>
                <a:avLst/>
                <a:gdLst>
                  <a:gd name="T0" fmla="*/ 7 w 42"/>
                  <a:gd name="T1" fmla="*/ 44 h 44"/>
                  <a:gd name="T2" fmla="*/ 3 w 42"/>
                  <a:gd name="T3" fmla="*/ 42 h 44"/>
                  <a:gd name="T4" fmla="*/ 3 w 42"/>
                  <a:gd name="T5" fmla="*/ 33 h 44"/>
                  <a:gd name="T6" fmla="*/ 30 w 42"/>
                  <a:gd name="T7" fmla="*/ 4 h 44"/>
                  <a:gd name="T8" fmla="*/ 39 w 42"/>
                  <a:gd name="T9" fmla="*/ 2 h 44"/>
                  <a:gd name="T10" fmla="*/ 40 w 42"/>
                  <a:gd name="T11" fmla="*/ 11 h 44"/>
                  <a:gd name="T12" fmla="*/ 11 w 42"/>
                  <a:gd name="T13" fmla="*/ 43 h 44"/>
                  <a:gd name="T14" fmla="*/ 7 w 42"/>
                  <a:gd name="T15" fmla="*/ 44 h 44"/>
                  <a:gd name="T16" fmla="*/ 7 w 42"/>
                  <a:gd name="T17" fmla="*/ 44 h 44"/>
                  <a:gd name="T18" fmla="*/ 7 w 42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" h="44">
                    <a:moveTo>
                      <a:pt x="7" y="44"/>
                    </a:moveTo>
                    <a:cubicBezTo>
                      <a:pt x="6" y="44"/>
                      <a:pt x="4" y="44"/>
                      <a:pt x="3" y="42"/>
                    </a:cubicBezTo>
                    <a:cubicBezTo>
                      <a:pt x="0" y="40"/>
                      <a:pt x="1" y="36"/>
                      <a:pt x="3" y="33"/>
                    </a:cubicBezTo>
                    <a:cubicBezTo>
                      <a:pt x="14" y="24"/>
                      <a:pt x="23" y="14"/>
                      <a:pt x="30" y="4"/>
                    </a:cubicBezTo>
                    <a:cubicBezTo>
                      <a:pt x="32" y="1"/>
                      <a:pt x="36" y="0"/>
                      <a:pt x="39" y="2"/>
                    </a:cubicBezTo>
                    <a:cubicBezTo>
                      <a:pt x="42" y="4"/>
                      <a:pt x="42" y="8"/>
                      <a:pt x="40" y="11"/>
                    </a:cubicBezTo>
                    <a:cubicBezTo>
                      <a:pt x="33" y="22"/>
                      <a:pt x="23" y="33"/>
                      <a:pt x="11" y="43"/>
                    </a:cubicBezTo>
                    <a:cubicBezTo>
                      <a:pt x="10" y="44"/>
                      <a:pt x="9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72" name="Freeform 14"/>
              <p:cNvSpPr>
                <a:spLocks noEditPoints="1"/>
              </p:cNvSpPr>
              <p:nvPr/>
            </p:nvSpPr>
            <p:spPr bwMode="auto">
              <a:xfrm>
                <a:off x="3662" y="2139"/>
                <a:ext cx="139" cy="78"/>
              </a:xfrm>
              <a:custGeom>
                <a:avLst/>
                <a:gdLst>
                  <a:gd name="T0" fmla="*/ 7 w 77"/>
                  <a:gd name="T1" fmla="*/ 44 h 44"/>
                  <a:gd name="T2" fmla="*/ 1 w 77"/>
                  <a:gd name="T3" fmla="*/ 40 h 44"/>
                  <a:gd name="T4" fmla="*/ 5 w 77"/>
                  <a:gd name="T5" fmla="*/ 32 h 44"/>
                  <a:gd name="T6" fmla="*/ 5 w 77"/>
                  <a:gd name="T7" fmla="*/ 32 h 44"/>
                  <a:gd name="T8" fmla="*/ 47 w 77"/>
                  <a:gd name="T9" fmla="*/ 13 h 44"/>
                  <a:gd name="T10" fmla="*/ 67 w 77"/>
                  <a:gd name="T11" fmla="*/ 1 h 44"/>
                  <a:gd name="T12" fmla="*/ 75 w 77"/>
                  <a:gd name="T13" fmla="*/ 3 h 44"/>
                  <a:gd name="T14" fmla="*/ 74 w 77"/>
                  <a:gd name="T15" fmla="*/ 12 h 44"/>
                  <a:gd name="T16" fmla="*/ 53 w 77"/>
                  <a:gd name="T17" fmla="*/ 24 h 44"/>
                  <a:gd name="T18" fmla="*/ 9 w 77"/>
                  <a:gd name="T19" fmla="*/ 44 h 44"/>
                  <a:gd name="T20" fmla="*/ 9 w 77"/>
                  <a:gd name="T21" fmla="*/ 44 h 44"/>
                  <a:gd name="T22" fmla="*/ 7 w 77"/>
                  <a:gd name="T23" fmla="*/ 44 h 44"/>
                  <a:gd name="T24" fmla="*/ 7 w 77"/>
                  <a:gd name="T25" fmla="*/ 44 h 44"/>
                  <a:gd name="T26" fmla="*/ 7 w 77"/>
                  <a:gd name="T2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7" h="44">
                    <a:moveTo>
                      <a:pt x="7" y="44"/>
                    </a:moveTo>
                    <a:cubicBezTo>
                      <a:pt x="4" y="44"/>
                      <a:pt x="2" y="43"/>
                      <a:pt x="1" y="40"/>
                    </a:cubicBezTo>
                    <a:cubicBezTo>
                      <a:pt x="0" y="37"/>
                      <a:pt x="2" y="33"/>
                      <a:pt x="5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11" y="30"/>
                      <a:pt x="28" y="24"/>
                      <a:pt x="47" y="13"/>
                    </a:cubicBezTo>
                    <a:cubicBezTo>
                      <a:pt x="54" y="9"/>
                      <a:pt x="61" y="5"/>
                      <a:pt x="67" y="1"/>
                    </a:cubicBezTo>
                    <a:cubicBezTo>
                      <a:pt x="70" y="0"/>
                      <a:pt x="73" y="0"/>
                      <a:pt x="75" y="3"/>
                    </a:cubicBezTo>
                    <a:cubicBezTo>
                      <a:pt x="77" y="6"/>
                      <a:pt x="76" y="10"/>
                      <a:pt x="74" y="12"/>
                    </a:cubicBezTo>
                    <a:cubicBezTo>
                      <a:pt x="67" y="16"/>
                      <a:pt x="60" y="20"/>
                      <a:pt x="53" y="24"/>
                    </a:cubicBezTo>
                    <a:cubicBezTo>
                      <a:pt x="33" y="35"/>
                      <a:pt x="16" y="41"/>
                      <a:pt x="9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8" y="44"/>
                      <a:pt x="8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73" name="Freeform 15"/>
              <p:cNvSpPr>
                <a:spLocks noEditPoints="1"/>
              </p:cNvSpPr>
              <p:nvPr/>
            </p:nvSpPr>
            <p:spPr bwMode="auto">
              <a:xfrm>
                <a:off x="3801" y="2215"/>
                <a:ext cx="190" cy="89"/>
              </a:xfrm>
              <a:custGeom>
                <a:avLst/>
                <a:gdLst>
                  <a:gd name="T0" fmla="*/ 99 w 106"/>
                  <a:gd name="T1" fmla="*/ 50 h 50"/>
                  <a:gd name="T2" fmla="*/ 97 w 106"/>
                  <a:gd name="T3" fmla="*/ 49 h 50"/>
                  <a:gd name="T4" fmla="*/ 64 w 106"/>
                  <a:gd name="T5" fmla="*/ 30 h 50"/>
                  <a:gd name="T6" fmla="*/ 36 w 106"/>
                  <a:gd name="T7" fmla="*/ 14 h 50"/>
                  <a:gd name="T8" fmla="*/ 10 w 106"/>
                  <a:gd name="T9" fmla="*/ 29 h 50"/>
                  <a:gd name="T10" fmla="*/ 1 w 106"/>
                  <a:gd name="T11" fmla="*/ 27 h 50"/>
                  <a:gd name="T12" fmla="*/ 3 w 106"/>
                  <a:gd name="T13" fmla="*/ 18 h 50"/>
                  <a:gd name="T14" fmla="*/ 34 w 106"/>
                  <a:gd name="T15" fmla="*/ 2 h 50"/>
                  <a:gd name="T16" fmla="*/ 71 w 106"/>
                  <a:gd name="T17" fmla="*/ 20 h 50"/>
                  <a:gd name="T18" fmla="*/ 101 w 106"/>
                  <a:gd name="T19" fmla="*/ 37 h 50"/>
                  <a:gd name="T20" fmla="*/ 105 w 106"/>
                  <a:gd name="T21" fmla="*/ 45 h 50"/>
                  <a:gd name="T22" fmla="*/ 99 w 106"/>
                  <a:gd name="T23" fmla="*/ 50 h 50"/>
                  <a:gd name="T24" fmla="*/ 99 w 106"/>
                  <a:gd name="T25" fmla="*/ 50 h 50"/>
                  <a:gd name="T26" fmla="*/ 99 w 106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6" h="50">
                    <a:moveTo>
                      <a:pt x="99" y="50"/>
                    </a:moveTo>
                    <a:cubicBezTo>
                      <a:pt x="98" y="50"/>
                      <a:pt x="97" y="49"/>
                      <a:pt x="97" y="49"/>
                    </a:cubicBezTo>
                    <a:cubicBezTo>
                      <a:pt x="86" y="46"/>
                      <a:pt x="75" y="38"/>
                      <a:pt x="64" y="30"/>
                    </a:cubicBezTo>
                    <a:cubicBezTo>
                      <a:pt x="54" y="23"/>
                      <a:pt x="41" y="13"/>
                      <a:pt x="36" y="14"/>
                    </a:cubicBezTo>
                    <a:cubicBezTo>
                      <a:pt x="31" y="15"/>
                      <a:pt x="15" y="25"/>
                      <a:pt x="10" y="29"/>
                    </a:cubicBezTo>
                    <a:cubicBezTo>
                      <a:pt x="7" y="30"/>
                      <a:pt x="3" y="30"/>
                      <a:pt x="1" y="27"/>
                    </a:cubicBezTo>
                    <a:cubicBezTo>
                      <a:pt x="0" y="24"/>
                      <a:pt x="0" y="20"/>
                      <a:pt x="3" y="18"/>
                    </a:cubicBezTo>
                    <a:cubicBezTo>
                      <a:pt x="20" y="8"/>
                      <a:pt x="28" y="3"/>
                      <a:pt x="34" y="2"/>
                    </a:cubicBezTo>
                    <a:cubicBezTo>
                      <a:pt x="44" y="0"/>
                      <a:pt x="57" y="9"/>
                      <a:pt x="71" y="20"/>
                    </a:cubicBezTo>
                    <a:cubicBezTo>
                      <a:pt x="82" y="27"/>
                      <a:pt x="92" y="35"/>
                      <a:pt x="101" y="37"/>
                    </a:cubicBezTo>
                    <a:cubicBezTo>
                      <a:pt x="104" y="39"/>
                      <a:pt x="106" y="42"/>
                      <a:pt x="105" y="45"/>
                    </a:cubicBezTo>
                    <a:cubicBezTo>
                      <a:pt x="104" y="48"/>
                      <a:pt x="101" y="50"/>
                      <a:pt x="99" y="50"/>
                    </a:cubicBezTo>
                    <a:close/>
                    <a:moveTo>
                      <a:pt x="99" y="50"/>
                    </a:moveTo>
                    <a:cubicBezTo>
                      <a:pt x="99" y="50"/>
                      <a:pt x="99" y="50"/>
                      <a:pt x="99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74" name="Freeform 16"/>
              <p:cNvSpPr>
                <a:spLocks noEditPoints="1"/>
              </p:cNvSpPr>
              <p:nvPr/>
            </p:nvSpPr>
            <p:spPr bwMode="auto">
              <a:xfrm>
                <a:off x="3702" y="2260"/>
                <a:ext cx="100" cy="66"/>
              </a:xfrm>
              <a:custGeom>
                <a:avLst/>
                <a:gdLst>
                  <a:gd name="T0" fmla="*/ 7 w 56"/>
                  <a:gd name="T1" fmla="*/ 37 h 37"/>
                  <a:gd name="T2" fmla="*/ 1 w 56"/>
                  <a:gd name="T3" fmla="*/ 33 h 37"/>
                  <a:gd name="T4" fmla="*/ 5 w 56"/>
                  <a:gd name="T5" fmla="*/ 25 h 37"/>
                  <a:gd name="T6" fmla="*/ 45 w 56"/>
                  <a:gd name="T7" fmla="*/ 2 h 37"/>
                  <a:gd name="T8" fmla="*/ 54 w 56"/>
                  <a:gd name="T9" fmla="*/ 4 h 37"/>
                  <a:gd name="T10" fmla="*/ 52 w 56"/>
                  <a:gd name="T11" fmla="*/ 12 h 37"/>
                  <a:gd name="T12" fmla="*/ 9 w 56"/>
                  <a:gd name="T13" fmla="*/ 37 h 37"/>
                  <a:gd name="T14" fmla="*/ 7 w 56"/>
                  <a:gd name="T15" fmla="*/ 37 h 37"/>
                  <a:gd name="T16" fmla="*/ 7 w 56"/>
                  <a:gd name="T17" fmla="*/ 37 h 37"/>
                  <a:gd name="T18" fmla="*/ 7 w 56"/>
                  <a:gd name="T1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37">
                    <a:moveTo>
                      <a:pt x="7" y="37"/>
                    </a:moveTo>
                    <a:cubicBezTo>
                      <a:pt x="4" y="37"/>
                      <a:pt x="2" y="35"/>
                      <a:pt x="1" y="33"/>
                    </a:cubicBezTo>
                    <a:cubicBezTo>
                      <a:pt x="0" y="29"/>
                      <a:pt x="2" y="26"/>
                      <a:pt x="5" y="25"/>
                    </a:cubicBezTo>
                    <a:cubicBezTo>
                      <a:pt x="13" y="23"/>
                      <a:pt x="31" y="11"/>
                      <a:pt x="45" y="2"/>
                    </a:cubicBezTo>
                    <a:cubicBezTo>
                      <a:pt x="48" y="0"/>
                      <a:pt x="52" y="1"/>
                      <a:pt x="54" y="4"/>
                    </a:cubicBezTo>
                    <a:cubicBezTo>
                      <a:pt x="56" y="6"/>
                      <a:pt x="55" y="10"/>
                      <a:pt x="52" y="12"/>
                    </a:cubicBezTo>
                    <a:cubicBezTo>
                      <a:pt x="32" y="25"/>
                      <a:pt x="17" y="35"/>
                      <a:pt x="9" y="37"/>
                    </a:cubicBezTo>
                    <a:cubicBezTo>
                      <a:pt x="8" y="37"/>
                      <a:pt x="7" y="37"/>
                      <a:pt x="7" y="37"/>
                    </a:cubicBezTo>
                    <a:close/>
                    <a:moveTo>
                      <a:pt x="7" y="37"/>
                    </a:moveTo>
                    <a:cubicBezTo>
                      <a:pt x="7" y="37"/>
                      <a:pt x="7" y="37"/>
                      <a:pt x="7" y="3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75" name="Freeform 17"/>
              <p:cNvSpPr>
                <a:spLocks noEditPoints="1"/>
              </p:cNvSpPr>
              <p:nvPr/>
            </p:nvSpPr>
            <p:spPr bwMode="auto">
              <a:xfrm>
                <a:off x="3906" y="2319"/>
                <a:ext cx="56" cy="39"/>
              </a:xfrm>
              <a:custGeom>
                <a:avLst/>
                <a:gdLst>
                  <a:gd name="T0" fmla="*/ 24 w 31"/>
                  <a:gd name="T1" fmla="*/ 22 h 22"/>
                  <a:gd name="T2" fmla="*/ 22 w 31"/>
                  <a:gd name="T3" fmla="*/ 21 h 22"/>
                  <a:gd name="T4" fmla="*/ 4 w 31"/>
                  <a:gd name="T5" fmla="*/ 12 h 22"/>
                  <a:gd name="T6" fmla="*/ 2 w 31"/>
                  <a:gd name="T7" fmla="*/ 4 h 22"/>
                  <a:gd name="T8" fmla="*/ 11 w 31"/>
                  <a:gd name="T9" fmla="*/ 1 h 22"/>
                  <a:gd name="T10" fmla="*/ 26 w 31"/>
                  <a:gd name="T11" fmla="*/ 10 h 22"/>
                  <a:gd name="T12" fmla="*/ 30 w 31"/>
                  <a:gd name="T13" fmla="*/ 18 h 22"/>
                  <a:gd name="T14" fmla="*/ 24 w 31"/>
                  <a:gd name="T15" fmla="*/ 22 h 22"/>
                  <a:gd name="T16" fmla="*/ 24 w 31"/>
                  <a:gd name="T17" fmla="*/ 22 h 22"/>
                  <a:gd name="T18" fmla="*/ 24 w 31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22">
                    <a:moveTo>
                      <a:pt x="24" y="22"/>
                    </a:moveTo>
                    <a:cubicBezTo>
                      <a:pt x="23" y="22"/>
                      <a:pt x="23" y="22"/>
                      <a:pt x="22" y="21"/>
                    </a:cubicBezTo>
                    <a:cubicBezTo>
                      <a:pt x="17" y="20"/>
                      <a:pt x="10" y="16"/>
                      <a:pt x="4" y="12"/>
                    </a:cubicBezTo>
                    <a:cubicBezTo>
                      <a:pt x="1" y="10"/>
                      <a:pt x="0" y="6"/>
                      <a:pt x="2" y="4"/>
                    </a:cubicBezTo>
                    <a:cubicBezTo>
                      <a:pt x="4" y="1"/>
                      <a:pt x="8" y="0"/>
                      <a:pt x="11" y="1"/>
                    </a:cubicBezTo>
                    <a:cubicBezTo>
                      <a:pt x="16" y="5"/>
                      <a:pt x="22" y="8"/>
                      <a:pt x="26" y="10"/>
                    </a:cubicBezTo>
                    <a:cubicBezTo>
                      <a:pt x="29" y="11"/>
                      <a:pt x="31" y="15"/>
                      <a:pt x="30" y="18"/>
                    </a:cubicBezTo>
                    <a:cubicBezTo>
                      <a:pt x="29" y="20"/>
                      <a:pt x="27" y="22"/>
                      <a:pt x="24" y="22"/>
                    </a:cubicBezTo>
                    <a:close/>
                    <a:moveTo>
                      <a:pt x="24" y="22"/>
                    </a:moveTo>
                    <a:cubicBezTo>
                      <a:pt x="24" y="22"/>
                      <a:pt x="24" y="22"/>
                      <a:pt x="24" y="2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76" name="Freeform 18"/>
              <p:cNvSpPr>
                <a:spLocks noEditPoints="1"/>
              </p:cNvSpPr>
              <p:nvPr/>
            </p:nvSpPr>
            <p:spPr bwMode="auto">
              <a:xfrm>
                <a:off x="3741" y="2287"/>
                <a:ext cx="165" cy="89"/>
              </a:xfrm>
              <a:custGeom>
                <a:avLst/>
                <a:gdLst>
                  <a:gd name="T0" fmla="*/ 7 w 92"/>
                  <a:gd name="T1" fmla="*/ 50 h 50"/>
                  <a:gd name="T2" fmla="*/ 2 w 92"/>
                  <a:gd name="T3" fmla="*/ 47 h 50"/>
                  <a:gd name="T4" fmla="*/ 4 w 92"/>
                  <a:gd name="T5" fmla="*/ 39 h 50"/>
                  <a:gd name="T6" fmla="*/ 12 w 92"/>
                  <a:gd name="T7" fmla="*/ 33 h 50"/>
                  <a:gd name="T8" fmla="*/ 63 w 92"/>
                  <a:gd name="T9" fmla="*/ 1 h 50"/>
                  <a:gd name="T10" fmla="*/ 88 w 92"/>
                  <a:gd name="T11" fmla="*/ 10 h 50"/>
                  <a:gd name="T12" fmla="*/ 90 w 92"/>
                  <a:gd name="T13" fmla="*/ 19 h 50"/>
                  <a:gd name="T14" fmla="*/ 81 w 92"/>
                  <a:gd name="T15" fmla="*/ 21 h 50"/>
                  <a:gd name="T16" fmla="*/ 65 w 92"/>
                  <a:gd name="T17" fmla="*/ 13 h 50"/>
                  <a:gd name="T18" fmla="*/ 19 w 92"/>
                  <a:gd name="T19" fmla="*/ 43 h 50"/>
                  <a:gd name="T20" fmla="*/ 11 w 92"/>
                  <a:gd name="T21" fmla="*/ 49 h 50"/>
                  <a:gd name="T22" fmla="*/ 7 w 92"/>
                  <a:gd name="T23" fmla="*/ 50 h 50"/>
                  <a:gd name="T24" fmla="*/ 7 w 92"/>
                  <a:gd name="T25" fmla="*/ 50 h 50"/>
                  <a:gd name="T26" fmla="*/ 7 w 92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50">
                    <a:moveTo>
                      <a:pt x="7" y="50"/>
                    </a:moveTo>
                    <a:cubicBezTo>
                      <a:pt x="5" y="50"/>
                      <a:pt x="3" y="49"/>
                      <a:pt x="2" y="47"/>
                    </a:cubicBezTo>
                    <a:cubicBezTo>
                      <a:pt x="0" y="45"/>
                      <a:pt x="1" y="41"/>
                      <a:pt x="4" y="39"/>
                    </a:cubicBezTo>
                    <a:cubicBezTo>
                      <a:pt x="6" y="37"/>
                      <a:pt x="9" y="35"/>
                      <a:pt x="12" y="33"/>
                    </a:cubicBezTo>
                    <a:cubicBezTo>
                      <a:pt x="39" y="13"/>
                      <a:pt x="55" y="2"/>
                      <a:pt x="63" y="1"/>
                    </a:cubicBezTo>
                    <a:cubicBezTo>
                      <a:pt x="68" y="0"/>
                      <a:pt x="75" y="3"/>
                      <a:pt x="88" y="10"/>
                    </a:cubicBezTo>
                    <a:cubicBezTo>
                      <a:pt x="91" y="12"/>
                      <a:pt x="92" y="16"/>
                      <a:pt x="90" y="19"/>
                    </a:cubicBezTo>
                    <a:cubicBezTo>
                      <a:pt x="88" y="22"/>
                      <a:pt x="84" y="23"/>
                      <a:pt x="81" y="21"/>
                    </a:cubicBezTo>
                    <a:cubicBezTo>
                      <a:pt x="69" y="14"/>
                      <a:pt x="66" y="13"/>
                      <a:pt x="65" y="13"/>
                    </a:cubicBezTo>
                    <a:cubicBezTo>
                      <a:pt x="58" y="14"/>
                      <a:pt x="30" y="35"/>
                      <a:pt x="19" y="43"/>
                    </a:cubicBezTo>
                    <a:cubicBezTo>
                      <a:pt x="16" y="45"/>
                      <a:pt x="13" y="48"/>
                      <a:pt x="11" y="49"/>
                    </a:cubicBezTo>
                    <a:cubicBezTo>
                      <a:pt x="10" y="50"/>
                      <a:pt x="9" y="50"/>
                      <a:pt x="7" y="50"/>
                    </a:cubicBezTo>
                    <a:close/>
                    <a:moveTo>
                      <a:pt x="7" y="50"/>
                    </a:moveTo>
                    <a:cubicBezTo>
                      <a:pt x="7" y="50"/>
                      <a:pt x="7" y="50"/>
                      <a:pt x="7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77" name="Freeform 20"/>
              <p:cNvSpPr>
                <a:spLocks noEditPoints="1"/>
              </p:cNvSpPr>
              <p:nvPr/>
            </p:nvSpPr>
            <p:spPr bwMode="auto">
              <a:xfrm>
                <a:off x="3949" y="2108"/>
                <a:ext cx="72" cy="77"/>
              </a:xfrm>
              <a:custGeom>
                <a:avLst/>
                <a:gdLst>
                  <a:gd name="T0" fmla="*/ 1 w 40"/>
                  <a:gd name="T1" fmla="*/ 11 h 43"/>
                  <a:gd name="T2" fmla="*/ 30 w 40"/>
                  <a:gd name="T3" fmla="*/ 41 h 43"/>
                  <a:gd name="T4" fmla="*/ 38 w 40"/>
                  <a:gd name="T5" fmla="*/ 39 h 43"/>
                  <a:gd name="T6" fmla="*/ 36 w 40"/>
                  <a:gd name="T7" fmla="*/ 31 h 43"/>
                  <a:gd name="T8" fmla="*/ 21 w 40"/>
                  <a:gd name="T9" fmla="*/ 23 h 43"/>
                  <a:gd name="T10" fmla="*/ 13 w 40"/>
                  <a:gd name="T11" fmla="*/ 7 h 43"/>
                  <a:gd name="T12" fmla="*/ 1 w 40"/>
                  <a:gd name="T13" fmla="*/ 11 h 43"/>
                  <a:gd name="T14" fmla="*/ 1 w 40"/>
                  <a:gd name="T15" fmla="*/ 11 h 43"/>
                  <a:gd name="T16" fmla="*/ 1 w 40"/>
                  <a:gd name="T17" fmla="*/ 1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43">
                    <a:moveTo>
                      <a:pt x="1" y="11"/>
                    </a:moveTo>
                    <a:cubicBezTo>
                      <a:pt x="4" y="27"/>
                      <a:pt x="15" y="36"/>
                      <a:pt x="30" y="41"/>
                    </a:cubicBezTo>
                    <a:cubicBezTo>
                      <a:pt x="33" y="43"/>
                      <a:pt x="36" y="42"/>
                      <a:pt x="38" y="39"/>
                    </a:cubicBezTo>
                    <a:cubicBezTo>
                      <a:pt x="40" y="37"/>
                      <a:pt x="39" y="32"/>
                      <a:pt x="36" y="31"/>
                    </a:cubicBezTo>
                    <a:cubicBezTo>
                      <a:pt x="31" y="29"/>
                      <a:pt x="25" y="26"/>
                      <a:pt x="21" y="23"/>
                    </a:cubicBezTo>
                    <a:cubicBezTo>
                      <a:pt x="16" y="19"/>
                      <a:pt x="14" y="13"/>
                      <a:pt x="13" y="7"/>
                    </a:cubicBezTo>
                    <a:cubicBezTo>
                      <a:pt x="12" y="0"/>
                      <a:pt x="0" y="3"/>
                      <a:pt x="1" y="11"/>
                    </a:cubicBezTo>
                    <a:close/>
                    <a:moveTo>
                      <a:pt x="1" y="11"/>
                    </a:moveTo>
                    <a:cubicBezTo>
                      <a:pt x="1" y="11"/>
                      <a:pt x="1" y="11"/>
                      <a:pt x="1" y="1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78" name="Freeform 21"/>
              <p:cNvSpPr>
                <a:spLocks noEditPoints="1"/>
              </p:cNvSpPr>
              <p:nvPr/>
            </p:nvSpPr>
            <p:spPr bwMode="auto">
              <a:xfrm>
                <a:off x="3906" y="2160"/>
                <a:ext cx="99" cy="86"/>
              </a:xfrm>
              <a:custGeom>
                <a:avLst/>
                <a:gdLst>
                  <a:gd name="T0" fmla="*/ 1 w 55"/>
                  <a:gd name="T1" fmla="*/ 8 h 48"/>
                  <a:gd name="T2" fmla="*/ 44 w 55"/>
                  <a:gd name="T3" fmla="*/ 46 h 48"/>
                  <a:gd name="T4" fmla="*/ 48 w 55"/>
                  <a:gd name="T5" fmla="*/ 34 h 48"/>
                  <a:gd name="T6" fmla="*/ 35 w 55"/>
                  <a:gd name="T7" fmla="*/ 28 h 48"/>
                  <a:gd name="T8" fmla="*/ 13 w 55"/>
                  <a:gd name="T9" fmla="*/ 5 h 48"/>
                  <a:gd name="T10" fmla="*/ 6 w 55"/>
                  <a:gd name="T11" fmla="*/ 1 h 48"/>
                  <a:gd name="T12" fmla="*/ 1 w 55"/>
                  <a:gd name="T13" fmla="*/ 8 h 48"/>
                  <a:gd name="T14" fmla="*/ 1 w 55"/>
                  <a:gd name="T15" fmla="*/ 8 h 48"/>
                  <a:gd name="T16" fmla="*/ 1 w 55"/>
                  <a:gd name="T17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48">
                    <a:moveTo>
                      <a:pt x="1" y="8"/>
                    </a:moveTo>
                    <a:cubicBezTo>
                      <a:pt x="9" y="27"/>
                      <a:pt x="26" y="40"/>
                      <a:pt x="44" y="46"/>
                    </a:cubicBezTo>
                    <a:cubicBezTo>
                      <a:pt x="52" y="48"/>
                      <a:pt x="55" y="36"/>
                      <a:pt x="48" y="34"/>
                    </a:cubicBezTo>
                    <a:cubicBezTo>
                      <a:pt x="43" y="33"/>
                      <a:pt x="40" y="31"/>
                      <a:pt x="35" y="28"/>
                    </a:cubicBezTo>
                    <a:cubicBezTo>
                      <a:pt x="26" y="23"/>
                      <a:pt x="17" y="15"/>
                      <a:pt x="13" y="5"/>
                    </a:cubicBezTo>
                    <a:cubicBezTo>
                      <a:pt x="12" y="2"/>
                      <a:pt x="9" y="0"/>
                      <a:pt x="6" y="1"/>
                    </a:cubicBezTo>
                    <a:cubicBezTo>
                      <a:pt x="3" y="2"/>
                      <a:pt x="0" y="5"/>
                      <a:pt x="1" y="8"/>
                    </a:cubicBezTo>
                    <a:close/>
                    <a:moveTo>
                      <a:pt x="1" y="8"/>
                    </a:moveTo>
                    <a:cubicBezTo>
                      <a:pt x="1" y="8"/>
                      <a:pt x="1" y="8"/>
                      <a:pt x="1" y="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</p:grpSp>
        <p:grpSp>
          <p:nvGrpSpPr>
            <p:cNvPr id="52" name="Group 15"/>
            <p:cNvGrpSpPr>
              <a:grpSpLocks noChangeAspect="1"/>
            </p:cNvGrpSpPr>
            <p:nvPr/>
          </p:nvGrpSpPr>
          <p:grpSpPr bwMode="auto">
            <a:xfrm>
              <a:off x="702225" y="267251"/>
              <a:ext cx="94846" cy="95277"/>
              <a:chOff x="4843" y="2141"/>
              <a:chExt cx="220" cy="22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55" name="Freeform 16"/>
              <p:cNvSpPr>
                <a:spLocks/>
              </p:cNvSpPr>
              <p:nvPr/>
            </p:nvSpPr>
            <p:spPr bwMode="auto">
              <a:xfrm>
                <a:off x="4843" y="2298"/>
                <a:ext cx="184" cy="64"/>
              </a:xfrm>
              <a:custGeom>
                <a:avLst/>
                <a:gdLst>
                  <a:gd name="T0" fmla="*/ 584 w 1371"/>
                  <a:gd name="T1" fmla="*/ 473 h 473"/>
                  <a:gd name="T2" fmla="*/ 489 w 1371"/>
                  <a:gd name="T3" fmla="*/ 464 h 473"/>
                  <a:gd name="T4" fmla="*/ 142 w 1371"/>
                  <a:gd name="T5" fmla="*/ 375 h 473"/>
                  <a:gd name="T6" fmla="*/ 18 w 1371"/>
                  <a:gd name="T7" fmla="*/ 273 h 473"/>
                  <a:gd name="T8" fmla="*/ 0 w 1371"/>
                  <a:gd name="T9" fmla="*/ 213 h 473"/>
                  <a:gd name="T10" fmla="*/ 0 w 1371"/>
                  <a:gd name="T11" fmla="*/ 17 h 473"/>
                  <a:gd name="T12" fmla="*/ 13 w 1371"/>
                  <a:gd name="T13" fmla="*/ 8 h 473"/>
                  <a:gd name="T14" fmla="*/ 285 w 1371"/>
                  <a:gd name="T15" fmla="*/ 107 h 473"/>
                  <a:gd name="T16" fmla="*/ 769 w 1371"/>
                  <a:gd name="T17" fmla="*/ 141 h 473"/>
                  <a:gd name="T18" fmla="*/ 1176 w 1371"/>
                  <a:gd name="T19" fmla="*/ 85 h 473"/>
                  <a:gd name="T20" fmla="*/ 1352 w 1371"/>
                  <a:gd name="T21" fmla="*/ 10 h 473"/>
                  <a:gd name="T22" fmla="*/ 1365 w 1371"/>
                  <a:gd name="T23" fmla="*/ 5 h 473"/>
                  <a:gd name="T24" fmla="*/ 1369 w 1371"/>
                  <a:gd name="T25" fmla="*/ 20 h 473"/>
                  <a:gd name="T26" fmla="*/ 1369 w 1371"/>
                  <a:gd name="T27" fmla="*/ 218 h 473"/>
                  <a:gd name="T28" fmla="*/ 1333 w 1371"/>
                  <a:gd name="T29" fmla="*/ 298 h 473"/>
                  <a:gd name="T30" fmla="*/ 1178 w 1371"/>
                  <a:gd name="T31" fmla="*/ 396 h 473"/>
                  <a:gd name="T32" fmla="*/ 876 w 1371"/>
                  <a:gd name="T33" fmla="*/ 464 h 473"/>
                  <a:gd name="T34" fmla="*/ 786 w 1371"/>
                  <a:gd name="T35" fmla="*/ 473 h 473"/>
                  <a:gd name="T36" fmla="*/ 584 w 1371"/>
                  <a:gd name="T37" fmla="*/ 473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71" h="473">
                    <a:moveTo>
                      <a:pt x="584" y="473"/>
                    </a:moveTo>
                    <a:cubicBezTo>
                      <a:pt x="552" y="470"/>
                      <a:pt x="520" y="467"/>
                      <a:pt x="489" y="464"/>
                    </a:cubicBezTo>
                    <a:cubicBezTo>
                      <a:pt x="369" y="450"/>
                      <a:pt x="252" y="427"/>
                      <a:pt x="142" y="375"/>
                    </a:cubicBezTo>
                    <a:cubicBezTo>
                      <a:pt x="93" y="351"/>
                      <a:pt x="47" y="322"/>
                      <a:pt x="18" y="273"/>
                    </a:cubicBezTo>
                    <a:cubicBezTo>
                      <a:pt x="7" y="255"/>
                      <a:pt x="0" y="235"/>
                      <a:pt x="0" y="213"/>
                    </a:cubicBezTo>
                    <a:cubicBezTo>
                      <a:pt x="1" y="148"/>
                      <a:pt x="1" y="82"/>
                      <a:pt x="0" y="17"/>
                    </a:cubicBezTo>
                    <a:cubicBezTo>
                      <a:pt x="0" y="8"/>
                      <a:pt x="1" y="0"/>
                      <a:pt x="13" y="8"/>
                    </a:cubicBezTo>
                    <a:cubicBezTo>
                      <a:pt x="97" y="61"/>
                      <a:pt x="190" y="87"/>
                      <a:pt x="285" y="107"/>
                    </a:cubicBezTo>
                    <a:cubicBezTo>
                      <a:pt x="445" y="140"/>
                      <a:pt x="607" y="146"/>
                      <a:pt x="769" y="141"/>
                    </a:cubicBezTo>
                    <a:cubicBezTo>
                      <a:pt x="906" y="137"/>
                      <a:pt x="1043" y="123"/>
                      <a:pt x="1176" y="85"/>
                    </a:cubicBezTo>
                    <a:cubicBezTo>
                      <a:pt x="1238" y="67"/>
                      <a:pt x="1298" y="45"/>
                      <a:pt x="1352" y="10"/>
                    </a:cubicBezTo>
                    <a:cubicBezTo>
                      <a:pt x="1356" y="8"/>
                      <a:pt x="1360" y="3"/>
                      <a:pt x="1365" y="5"/>
                    </a:cubicBezTo>
                    <a:cubicBezTo>
                      <a:pt x="1371" y="8"/>
                      <a:pt x="1369" y="15"/>
                      <a:pt x="1369" y="20"/>
                    </a:cubicBezTo>
                    <a:cubicBezTo>
                      <a:pt x="1369" y="86"/>
                      <a:pt x="1369" y="152"/>
                      <a:pt x="1369" y="218"/>
                    </a:cubicBezTo>
                    <a:cubicBezTo>
                      <a:pt x="1368" y="249"/>
                      <a:pt x="1353" y="275"/>
                      <a:pt x="1333" y="298"/>
                    </a:cubicBezTo>
                    <a:cubicBezTo>
                      <a:pt x="1291" y="346"/>
                      <a:pt x="1236" y="373"/>
                      <a:pt x="1178" y="396"/>
                    </a:cubicBezTo>
                    <a:cubicBezTo>
                      <a:pt x="1081" y="434"/>
                      <a:pt x="979" y="453"/>
                      <a:pt x="876" y="464"/>
                    </a:cubicBezTo>
                    <a:cubicBezTo>
                      <a:pt x="846" y="467"/>
                      <a:pt x="816" y="470"/>
                      <a:pt x="786" y="473"/>
                    </a:cubicBezTo>
                    <a:cubicBezTo>
                      <a:pt x="718" y="473"/>
                      <a:pt x="651" y="473"/>
                      <a:pt x="584" y="4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Freeform 17"/>
              <p:cNvSpPr>
                <a:spLocks/>
              </p:cNvSpPr>
              <p:nvPr/>
            </p:nvSpPr>
            <p:spPr bwMode="auto">
              <a:xfrm>
                <a:off x="4894" y="2141"/>
                <a:ext cx="169" cy="56"/>
              </a:xfrm>
              <a:custGeom>
                <a:avLst/>
                <a:gdLst>
                  <a:gd name="T0" fmla="*/ 1263 w 1263"/>
                  <a:gd name="T1" fmla="*/ 314 h 416"/>
                  <a:gd name="T2" fmla="*/ 1114 w 1263"/>
                  <a:gd name="T3" fmla="*/ 395 h 416"/>
                  <a:gd name="T4" fmla="*/ 1056 w 1263"/>
                  <a:gd name="T5" fmla="*/ 413 h 416"/>
                  <a:gd name="T6" fmla="*/ 1042 w 1263"/>
                  <a:gd name="T7" fmla="*/ 403 h 416"/>
                  <a:gd name="T8" fmla="*/ 943 w 1263"/>
                  <a:gd name="T9" fmla="*/ 233 h 416"/>
                  <a:gd name="T10" fmla="*/ 696 w 1263"/>
                  <a:gd name="T11" fmla="*/ 132 h 416"/>
                  <a:gd name="T12" fmla="*/ 462 w 1263"/>
                  <a:gd name="T13" fmla="*/ 99 h 416"/>
                  <a:gd name="T14" fmla="*/ 243 w 1263"/>
                  <a:gd name="T15" fmla="*/ 97 h 416"/>
                  <a:gd name="T16" fmla="*/ 15 w 1263"/>
                  <a:gd name="T17" fmla="*/ 124 h 416"/>
                  <a:gd name="T18" fmla="*/ 0 w 1263"/>
                  <a:gd name="T19" fmla="*/ 122 h 416"/>
                  <a:gd name="T20" fmla="*/ 47 w 1263"/>
                  <a:gd name="T21" fmla="*/ 96 h 416"/>
                  <a:gd name="T22" fmla="*/ 354 w 1263"/>
                  <a:gd name="T23" fmla="*/ 15 h 416"/>
                  <a:gd name="T24" fmla="*/ 648 w 1263"/>
                  <a:gd name="T25" fmla="*/ 3 h 416"/>
                  <a:gd name="T26" fmla="*/ 1057 w 1263"/>
                  <a:gd name="T27" fmla="*/ 72 h 416"/>
                  <a:gd name="T28" fmla="*/ 1213 w 1263"/>
                  <a:gd name="T29" fmla="*/ 162 h 416"/>
                  <a:gd name="T30" fmla="*/ 1263 w 1263"/>
                  <a:gd name="T31" fmla="*/ 237 h 416"/>
                  <a:gd name="T32" fmla="*/ 1263 w 1263"/>
                  <a:gd name="T33" fmla="*/ 314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63" h="416">
                    <a:moveTo>
                      <a:pt x="1263" y="314"/>
                    </a:moveTo>
                    <a:cubicBezTo>
                      <a:pt x="1221" y="355"/>
                      <a:pt x="1168" y="375"/>
                      <a:pt x="1114" y="395"/>
                    </a:cubicBezTo>
                    <a:cubicBezTo>
                      <a:pt x="1095" y="402"/>
                      <a:pt x="1075" y="407"/>
                      <a:pt x="1056" y="413"/>
                    </a:cubicBezTo>
                    <a:cubicBezTo>
                      <a:pt x="1046" y="416"/>
                      <a:pt x="1041" y="413"/>
                      <a:pt x="1042" y="403"/>
                    </a:cubicBezTo>
                    <a:cubicBezTo>
                      <a:pt x="1048" y="323"/>
                      <a:pt x="1001" y="274"/>
                      <a:pt x="943" y="233"/>
                    </a:cubicBezTo>
                    <a:cubicBezTo>
                      <a:pt x="868" y="181"/>
                      <a:pt x="783" y="153"/>
                      <a:pt x="696" y="132"/>
                    </a:cubicBezTo>
                    <a:cubicBezTo>
                      <a:pt x="619" y="114"/>
                      <a:pt x="541" y="105"/>
                      <a:pt x="462" y="99"/>
                    </a:cubicBezTo>
                    <a:cubicBezTo>
                      <a:pt x="389" y="94"/>
                      <a:pt x="316" y="95"/>
                      <a:pt x="243" y="97"/>
                    </a:cubicBezTo>
                    <a:cubicBezTo>
                      <a:pt x="166" y="100"/>
                      <a:pt x="90" y="109"/>
                      <a:pt x="15" y="124"/>
                    </a:cubicBezTo>
                    <a:cubicBezTo>
                      <a:pt x="11" y="124"/>
                      <a:pt x="7" y="126"/>
                      <a:pt x="0" y="122"/>
                    </a:cubicBezTo>
                    <a:cubicBezTo>
                      <a:pt x="17" y="113"/>
                      <a:pt x="31" y="104"/>
                      <a:pt x="47" y="96"/>
                    </a:cubicBezTo>
                    <a:cubicBezTo>
                      <a:pt x="144" y="51"/>
                      <a:pt x="248" y="29"/>
                      <a:pt x="354" y="15"/>
                    </a:cubicBezTo>
                    <a:cubicBezTo>
                      <a:pt x="452" y="2"/>
                      <a:pt x="550" y="0"/>
                      <a:pt x="648" y="3"/>
                    </a:cubicBezTo>
                    <a:cubicBezTo>
                      <a:pt x="787" y="7"/>
                      <a:pt x="925" y="23"/>
                      <a:pt x="1057" y="72"/>
                    </a:cubicBezTo>
                    <a:cubicBezTo>
                      <a:pt x="1114" y="93"/>
                      <a:pt x="1168" y="120"/>
                      <a:pt x="1213" y="162"/>
                    </a:cubicBezTo>
                    <a:cubicBezTo>
                      <a:pt x="1236" y="183"/>
                      <a:pt x="1251" y="209"/>
                      <a:pt x="1263" y="237"/>
                    </a:cubicBezTo>
                    <a:cubicBezTo>
                      <a:pt x="1263" y="262"/>
                      <a:pt x="1263" y="288"/>
                      <a:pt x="1263" y="3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Freeform 18"/>
              <p:cNvSpPr>
                <a:spLocks/>
              </p:cNvSpPr>
              <p:nvPr/>
            </p:nvSpPr>
            <p:spPr bwMode="auto">
              <a:xfrm>
                <a:off x="5034" y="2192"/>
                <a:ext cx="29" cy="48"/>
              </a:xfrm>
              <a:custGeom>
                <a:avLst/>
                <a:gdLst>
                  <a:gd name="T0" fmla="*/ 221 w 221"/>
                  <a:gd name="T1" fmla="*/ 259 h 360"/>
                  <a:gd name="T2" fmla="*/ 52 w 221"/>
                  <a:gd name="T3" fmla="*/ 345 h 360"/>
                  <a:gd name="T4" fmla="*/ 13 w 221"/>
                  <a:gd name="T5" fmla="*/ 357 h 360"/>
                  <a:gd name="T6" fmla="*/ 0 w 221"/>
                  <a:gd name="T7" fmla="*/ 347 h 360"/>
                  <a:gd name="T8" fmla="*/ 0 w 221"/>
                  <a:gd name="T9" fmla="*/ 338 h 360"/>
                  <a:gd name="T10" fmla="*/ 0 w 221"/>
                  <a:gd name="T11" fmla="*/ 106 h 360"/>
                  <a:gd name="T12" fmla="*/ 19 w 221"/>
                  <a:gd name="T13" fmla="*/ 80 h 360"/>
                  <a:gd name="T14" fmla="*/ 215 w 221"/>
                  <a:gd name="T15" fmla="*/ 1 h 360"/>
                  <a:gd name="T16" fmla="*/ 221 w 221"/>
                  <a:gd name="T17" fmla="*/ 0 h 360"/>
                  <a:gd name="T18" fmla="*/ 221 w 221"/>
                  <a:gd name="T19" fmla="*/ 259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1" h="360">
                    <a:moveTo>
                      <a:pt x="221" y="259"/>
                    </a:moveTo>
                    <a:cubicBezTo>
                      <a:pt x="172" y="302"/>
                      <a:pt x="113" y="326"/>
                      <a:pt x="52" y="345"/>
                    </a:cubicBezTo>
                    <a:cubicBezTo>
                      <a:pt x="39" y="349"/>
                      <a:pt x="26" y="353"/>
                      <a:pt x="13" y="357"/>
                    </a:cubicBezTo>
                    <a:cubicBezTo>
                      <a:pt x="4" y="360"/>
                      <a:pt x="0" y="356"/>
                      <a:pt x="0" y="347"/>
                    </a:cubicBezTo>
                    <a:cubicBezTo>
                      <a:pt x="0" y="344"/>
                      <a:pt x="0" y="341"/>
                      <a:pt x="0" y="338"/>
                    </a:cubicBezTo>
                    <a:cubicBezTo>
                      <a:pt x="0" y="260"/>
                      <a:pt x="0" y="183"/>
                      <a:pt x="0" y="106"/>
                    </a:cubicBezTo>
                    <a:cubicBezTo>
                      <a:pt x="0" y="91"/>
                      <a:pt x="4" y="84"/>
                      <a:pt x="19" y="80"/>
                    </a:cubicBezTo>
                    <a:cubicBezTo>
                      <a:pt x="87" y="62"/>
                      <a:pt x="154" y="39"/>
                      <a:pt x="215" y="1"/>
                    </a:cubicBezTo>
                    <a:cubicBezTo>
                      <a:pt x="217" y="0"/>
                      <a:pt x="219" y="0"/>
                      <a:pt x="221" y="0"/>
                    </a:cubicBezTo>
                    <a:cubicBezTo>
                      <a:pt x="221" y="86"/>
                      <a:pt x="221" y="172"/>
                      <a:pt x="221" y="2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Freeform 19"/>
              <p:cNvSpPr>
                <a:spLocks/>
              </p:cNvSpPr>
              <p:nvPr/>
            </p:nvSpPr>
            <p:spPr bwMode="auto">
              <a:xfrm>
                <a:off x="5034" y="2235"/>
                <a:ext cx="29" cy="49"/>
              </a:xfrm>
              <a:custGeom>
                <a:avLst/>
                <a:gdLst>
                  <a:gd name="T0" fmla="*/ 221 w 221"/>
                  <a:gd name="T1" fmla="*/ 262 h 362"/>
                  <a:gd name="T2" fmla="*/ 19 w 221"/>
                  <a:gd name="T3" fmla="*/ 357 h 362"/>
                  <a:gd name="T4" fmla="*/ 0 w 221"/>
                  <a:gd name="T5" fmla="*/ 344 h 362"/>
                  <a:gd name="T6" fmla="*/ 0 w 221"/>
                  <a:gd name="T7" fmla="*/ 111 h 362"/>
                  <a:gd name="T8" fmla="*/ 17 w 221"/>
                  <a:gd name="T9" fmla="*/ 87 h 362"/>
                  <a:gd name="T10" fmla="*/ 179 w 221"/>
                  <a:gd name="T11" fmla="*/ 23 h 362"/>
                  <a:gd name="T12" fmla="*/ 221 w 221"/>
                  <a:gd name="T13" fmla="*/ 0 h 362"/>
                  <a:gd name="T14" fmla="*/ 221 w 221"/>
                  <a:gd name="T15" fmla="*/ 2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1" h="362">
                    <a:moveTo>
                      <a:pt x="221" y="262"/>
                    </a:moveTo>
                    <a:cubicBezTo>
                      <a:pt x="162" y="311"/>
                      <a:pt x="91" y="336"/>
                      <a:pt x="19" y="357"/>
                    </a:cubicBezTo>
                    <a:cubicBezTo>
                      <a:pt x="2" y="362"/>
                      <a:pt x="0" y="361"/>
                      <a:pt x="0" y="344"/>
                    </a:cubicBezTo>
                    <a:cubicBezTo>
                      <a:pt x="0" y="266"/>
                      <a:pt x="0" y="188"/>
                      <a:pt x="0" y="111"/>
                    </a:cubicBezTo>
                    <a:cubicBezTo>
                      <a:pt x="0" y="97"/>
                      <a:pt x="5" y="91"/>
                      <a:pt x="17" y="87"/>
                    </a:cubicBezTo>
                    <a:cubicBezTo>
                      <a:pt x="72" y="68"/>
                      <a:pt x="128" y="51"/>
                      <a:pt x="179" y="23"/>
                    </a:cubicBezTo>
                    <a:cubicBezTo>
                      <a:pt x="193" y="16"/>
                      <a:pt x="207" y="8"/>
                      <a:pt x="221" y="0"/>
                    </a:cubicBezTo>
                    <a:cubicBezTo>
                      <a:pt x="221" y="87"/>
                      <a:pt x="221" y="175"/>
                      <a:pt x="221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Freeform 20"/>
              <p:cNvSpPr>
                <a:spLocks/>
              </p:cNvSpPr>
              <p:nvPr/>
            </p:nvSpPr>
            <p:spPr bwMode="auto">
              <a:xfrm>
                <a:off x="5034" y="2279"/>
                <a:ext cx="29" cy="54"/>
              </a:xfrm>
              <a:custGeom>
                <a:avLst/>
                <a:gdLst>
                  <a:gd name="T0" fmla="*/ 216 w 216"/>
                  <a:gd name="T1" fmla="*/ 237 h 402"/>
                  <a:gd name="T2" fmla="*/ 39 w 216"/>
                  <a:gd name="T3" fmla="*/ 388 h 402"/>
                  <a:gd name="T4" fmla="*/ 10 w 216"/>
                  <a:gd name="T5" fmla="*/ 400 h 402"/>
                  <a:gd name="T6" fmla="*/ 4 w 216"/>
                  <a:gd name="T7" fmla="*/ 393 h 402"/>
                  <a:gd name="T8" fmla="*/ 23 w 216"/>
                  <a:gd name="T9" fmla="*/ 269 h 402"/>
                  <a:gd name="T10" fmla="*/ 23 w 216"/>
                  <a:gd name="T11" fmla="*/ 106 h 402"/>
                  <a:gd name="T12" fmla="*/ 33 w 216"/>
                  <a:gd name="T13" fmla="*/ 84 h 402"/>
                  <a:gd name="T14" fmla="*/ 211 w 216"/>
                  <a:gd name="T15" fmla="*/ 1 h 402"/>
                  <a:gd name="T16" fmla="*/ 216 w 216"/>
                  <a:gd name="T17" fmla="*/ 0 h 402"/>
                  <a:gd name="T18" fmla="*/ 216 w 216"/>
                  <a:gd name="T19" fmla="*/ 237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6" h="402">
                    <a:moveTo>
                      <a:pt x="216" y="237"/>
                    </a:moveTo>
                    <a:cubicBezTo>
                      <a:pt x="185" y="320"/>
                      <a:pt x="113" y="355"/>
                      <a:pt x="39" y="388"/>
                    </a:cubicBezTo>
                    <a:cubicBezTo>
                      <a:pt x="30" y="393"/>
                      <a:pt x="20" y="396"/>
                      <a:pt x="10" y="400"/>
                    </a:cubicBezTo>
                    <a:cubicBezTo>
                      <a:pt x="3" y="402"/>
                      <a:pt x="0" y="399"/>
                      <a:pt x="4" y="393"/>
                    </a:cubicBezTo>
                    <a:cubicBezTo>
                      <a:pt x="28" y="354"/>
                      <a:pt x="23" y="311"/>
                      <a:pt x="23" y="269"/>
                    </a:cubicBezTo>
                    <a:cubicBezTo>
                      <a:pt x="23" y="214"/>
                      <a:pt x="23" y="160"/>
                      <a:pt x="23" y="106"/>
                    </a:cubicBezTo>
                    <a:cubicBezTo>
                      <a:pt x="23" y="97"/>
                      <a:pt x="23" y="89"/>
                      <a:pt x="33" y="84"/>
                    </a:cubicBezTo>
                    <a:cubicBezTo>
                      <a:pt x="93" y="57"/>
                      <a:pt x="152" y="29"/>
                      <a:pt x="211" y="1"/>
                    </a:cubicBezTo>
                    <a:cubicBezTo>
                      <a:pt x="213" y="0"/>
                      <a:pt x="214" y="0"/>
                      <a:pt x="216" y="0"/>
                    </a:cubicBezTo>
                    <a:cubicBezTo>
                      <a:pt x="216" y="79"/>
                      <a:pt x="216" y="158"/>
                      <a:pt x="216" y="2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Freeform 21"/>
              <p:cNvSpPr>
                <a:spLocks/>
              </p:cNvSpPr>
              <p:nvPr/>
            </p:nvSpPr>
            <p:spPr bwMode="auto">
              <a:xfrm>
                <a:off x="4843" y="2161"/>
                <a:ext cx="184" cy="63"/>
              </a:xfrm>
              <a:custGeom>
                <a:avLst/>
                <a:gdLst>
                  <a:gd name="T0" fmla="*/ 689 w 1377"/>
                  <a:gd name="T1" fmla="*/ 0 h 468"/>
                  <a:gd name="T2" fmla="*/ 1073 w 1377"/>
                  <a:gd name="T3" fmla="*/ 42 h 468"/>
                  <a:gd name="T4" fmla="*/ 1298 w 1377"/>
                  <a:gd name="T5" fmla="*/ 141 h 468"/>
                  <a:gd name="T6" fmla="*/ 1369 w 1377"/>
                  <a:gd name="T7" fmla="*/ 235 h 468"/>
                  <a:gd name="T8" fmla="*/ 1372 w 1377"/>
                  <a:gd name="T9" fmla="*/ 308 h 468"/>
                  <a:gd name="T10" fmla="*/ 1350 w 1377"/>
                  <a:gd name="T11" fmla="*/ 330 h 468"/>
                  <a:gd name="T12" fmla="*/ 1252 w 1377"/>
                  <a:gd name="T13" fmla="*/ 383 h 468"/>
                  <a:gd name="T14" fmla="*/ 965 w 1377"/>
                  <a:gd name="T15" fmla="*/ 450 h 468"/>
                  <a:gd name="T16" fmla="*/ 703 w 1377"/>
                  <a:gd name="T17" fmla="*/ 468 h 468"/>
                  <a:gd name="T18" fmla="*/ 472 w 1377"/>
                  <a:gd name="T19" fmla="*/ 457 h 468"/>
                  <a:gd name="T20" fmla="*/ 204 w 1377"/>
                  <a:gd name="T21" fmla="*/ 409 h 468"/>
                  <a:gd name="T22" fmla="*/ 30 w 1377"/>
                  <a:gd name="T23" fmla="*/ 333 h 468"/>
                  <a:gd name="T24" fmla="*/ 4 w 1377"/>
                  <a:gd name="T25" fmla="*/ 284 h 468"/>
                  <a:gd name="T26" fmla="*/ 75 w 1377"/>
                  <a:gd name="T27" fmla="*/ 143 h 468"/>
                  <a:gd name="T28" fmla="*/ 304 w 1377"/>
                  <a:gd name="T29" fmla="*/ 42 h 468"/>
                  <a:gd name="T30" fmla="*/ 584 w 1377"/>
                  <a:gd name="T31" fmla="*/ 3 h 468"/>
                  <a:gd name="T32" fmla="*/ 689 w 1377"/>
                  <a:gd name="T33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7" h="468">
                    <a:moveTo>
                      <a:pt x="689" y="0"/>
                    </a:moveTo>
                    <a:cubicBezTo>
                      <a:pt x="819" y="0"/>
                      <a:pt x="947" y="10"/>
                      <a:pt x="1073" y="42"/>
                    </a:cubicBezTo>
                    <a:cubicBezTo>
                      <a:pt x="1153" y="62"/>
                      <a:pt x="1231" y="90"/>
                      <a:pt x="1298" y="141"/>
                    </a:cubicBezTo>
                    <a:cubicBezTo>
                      <a:pt x="1331" y="165"/>
                      <a:pt x="1357" y="195"/>
                      <a:pt x="1369" y="235"/>
                    </a:cubicBezTo>
                    <a:cubicBezTo>
                      <a:pt x="1377" y="259"/>
                      <a:pt x="1373" y="283"/>
                      <a:pt x="1372" y="308"/>
                    </a:cubicBezTo>
                    <a:cubicBezTo>
                      <a:pt x="1371" y="318"/>
                      <a:pt x="1359" y="324"/>
                      <a:pt x="1350" y="330"/>
                    </a:cubicBezTo>
                    <a:cubicBezTo>
                      <a:pt x="1320" y="353"/>
                      <a:pt x="1287" y="369"/>
                      <a:pt x="1252" y="383"/>
                    </a:cubicBezTo>
                    <a:cubicBezTo>
                      <a:pt x="1159" y="418"/>
                      <a:pt x="1063" y="437"/>
                      <a:pt x="965" y="450"/>
                    </a:cubicBezTo>
                    <a:cubicBezTo>
                      <a:pt x="878" y="462"/>
                      <a:pt x="791" y="467"/>
                      <a:pt x="703" y="468"/>
                    </a:cubicBezTo>
                    <a:cubicBezTo>
                      <a:pt x="626" y="468"/>
                      <a:pt x="549" y="465"/>
                      <a:pt x="472" y="457"/>
                    </a:cubicBezTo>
                    <a:cubicBezTo>
                      <a:pt x="381" y="448"/>
                      <a:pt x="292" y="434"/>
                      <a:pt x="204" y="409"/>
                    </a:cubicBezTo>
                    <a:cubicBezTo>
                      <a:pt x="143" y="391"/>
                      <a:pt x="83" y="370"/>
                      <a:pt x="30" y="333"/>
                    </a:cubicBezTo>
                    <a:cubicBezTo>
                      <a:pt x="12" y="321"/>
                      <a:pt x="5" y="307"/>
                      <a:pt x="4" y="284"/>
                    </a:cubicBezTo>
                    <a:cubicBezTo>
                      <a:pt x="0" y="222"/>
                      <a:pt x="30" y="179"/>
                      <a:pt x="75" y="143"/>
                    </a:cubicBezTo>
                    <a:cubicBezTo>
                      <a:pt x="143" y="90"/>
                      <a:pt x="222" y="63"/>
                      <a:pt x="304" y="42"/>
                    </a:cubicBezTo>
                    <a:cubicBezTo>
                      <a:pt x="396" y="19"/>
                      <a:pt x="489" y="7"/>
                      <a:pt x="584" y="3"/>
                    </a:cubicBezTo>
                    <a:cubicBezTo>
                      <a:pt x="619" y="1"/>
                      <a:pt x="654" y="1"/>
                      <a:pt x="68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Freeform 22"/>
              <p:cNvSpPr>
                <a:spLocks/>
              </p:cNvSpPr>
              <p:nvPr/>
            </p:nvSpPr>
            <p:spPr bwMode="auto">
              <a:xfrm>
                <a:off x="4843" y="2211"/>
                <a:ext cx="184" cy="56"/>
              </a:xfrm>
              <a:custGeom>
                <a:avLst/>
                <a:gdLst>
                  <a:gd name="T0" fmla="*/ 1 w 1370"/>
                  <a:gd name="T1" fmla="*/ 131 h 418"/>
                  <a:gd name="T2" fmla="*/ 1 w 1370"/>
                  <a:gd name="T3" fmla="*/ 15 h 418"/>
                  <a:gd name="T4" fmla="*/ 14 w 1370"/>
                  <a:gd name="T5" fmla="*/ 7 h 418"/>
                  <a:gd name="T6" fmla="*/ 261 w 1370"/>
                  <a:gd name="T7" fmla="*/ 96 h 418"/>
                  <a:gd name="T8" fmla="*/ 523 w 1370"/>
                  <a:gd name="T9" fmla="*/ 133 h 418"/>
                  <a:gd name="T10" fmla="*/ 761 w 1370"/>
                  <a:gd name="T11" fmla="*/ 138 h 418"/>
                  <a:gd name="T12" fmla="*/ 1236 w 1370"/>
                  <a:gd name="T13" fmla="*/ 62 h 418"/>
                  <a:gd name="T14" fmla="*/ 1354 w 1370"/>
                  <a:gd name="T15" fmla="*/ 8 h 418"/>
                  <a:gd name="T16" fmla="*/ 1370 w 1370"/>
                  <a:gd name="T17" fmla="*/ 17 h 418"/>
                  <a:gd name="T18" fmla="*/ 1370 w 1370"/>
                  <a:gd name="T19" fmla="*/ 245 h 418"/>
                  <a:gd name="T20" fmla="*/ 1357 w 1370"/>
                  <a:gd name="T21" fmla="*/ 270 h 418"/>
                  <a:gd name="T22" fmla="*/ 1220 w 1370"/>
                  <a:gd name="T23" fmla="*/ 341 h 418"/>
                  <a:gd name="T24" fmla="*/ 890 w 1370"/>
                  <a:gd name="T25" fmla="*/ 406 h 418"/>
                  <a:gd name="T26" fmla="*/ 610 w 1370"/>
                  <a:gd name="T27" fmla="*/ 415 h 418"/>
                  <a:gd name="T28" fmla="*/ 160 w 1370"/>
                  <a:gd name="T29" fmla="*/ 344 h 418"/>
                  <a:gd name="T30" fmla="*/ 21 w 1370"/>
                  <a:gd name="T31" fmla="*/ 277 h 418"/>
                  <a:gd name="T32" fmla="*/ 1 w 1370"/>
                  <a:gd name="T33" fmla="*/ 237 h 418"/>
                  <a:gd name="T34" fmla="*/ 1 w 1370"/>
                  <a:gd name="T35" fmla="*/ 131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70" h="418">
                    <a:moveTo>
                      <a:pt x="1" y="131"/>
                    </a:moveTo>
                    <a:cubicBezTo>
                      <a:pt x="2" y="92"/>
                      <a:pt x="2" y="54"/>
                      <a:pt x="1" y="15"/>
                    </a:cubicBezTo>
                    <a:cubicBezTo>
                      <a:pt x="1" y="5"/>
                      <a:pt x="4" y="0"/>
                      <a:pt x="14" y="7"/>
                    </a:cubicBezTo>
                    <a:cubicBezTo>
                      <a:pt x="90" y="54"/>
                      <a:pt x="175" y="78"/>
                      <a:pt x="261" y="96"/>
                    </a:cubicBezTo>
                    <a:cubicBezTo>
                      <a:pt x="347" y="115"/>
                      <a:pt x="435" y="126"/>
                      <a:pt x="523" y="133"/>
                    </a:cubicBezTo>
                    <a:cubicBezTo>
                      <a:pt x="603" y="139"/>
                      <a:pt x="682" y="141"/>
                      <a:pt x="761" y="138"/>
                    </a:cubicBezTo>
                    <a:cubicBezTo>
                      <a:pt x="923" y="131"/>
                      <a:pt x="1082" y="113"/>
                      <a:pt x="1236" y="62"/>
                    </a:cubicBezTo>
                    <a:cubicBezTo>
                      <a:pt x="1277" y="48"/>
                      <a:pt x="1317" y="31"/>
                      <a:pt x="1354" y="8"/>
                    </a:cubicBezTo>
                    <a:cubicBezTo>
                      <a:pt x="1367" y="0"/>
                      <a:pt x="1370" y="1"/>
                      <a:pt x="1370" y="17"/>
                    </a:cubicBezTo>
                    <a:cubicBezTo>
                      <a:pt x="1370" y="93"/>
                      <a:pt x="1370" y="169"/>
                      <a:pt x="1370" y="245"/>
                    </a:cubicBezTo>
                    <a:cubicBezTo>
                      <a:pt x="1370" y="256"/>
                      <a:pt x="1366" y="264"/>
                      <a:pt x="1357" y="270"/>
                    </a:cubicBezTo>
                    <a:cubicBezTo>
                      <a:pt x="1316" y="304"/>
                      <a:pt x="1269" y="324"/>
                      <a:pt x="1220" y="341"/>
                    </a:cubicBezTo>
                    <a:cubicBezTo>
                      <a:pt x="1113" y="377"/>
                      <a:pt x="1002" y="396"/>
                      <a:pt x="890" y="406"/>
                    </a:cubicBezTo>
                    <a:cubicBezTo>
                      <a:pt x="797" y="415"/>
                      <a:pt x="704" y="418"/>
                      <a:pt x="610" y="415"/>
                    </a:cubicBezTo>
                    <a:cubicBezTo>
                      <a:pt x="458" y="409"/>
                      <a:pt x="307" y="392"/>
                      <a:pt x="160" y="344"/>
                    </a:cubicBezTo>
                    <a:cubicBezTo>
                      <a:pt x="111" y="328"/>
                      <a:pt x="64" y="308"/>
                      <a:pt x="21" y="277"/>
                    </a:cubicBezTo>
                    <a:cubicBezTo>
                      <a:pt x="7" y="267"/>
                      <a:pt x="0" y="255"/>
                      <a:pt x="1" y="237"/>
                    </a:cubicBezTo>
                    <a:cubicBezTo>
                      <a:pt x="3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Freeform 23"/>
              <p:cNvSpPr>
                <a:spLocks/>
              </p:cNvSpPr>
              <p:nvPr/>
            </p:nvSpPr>
            <p:spPr bwMode="auto">
              <a:xfrm>
                <a:off x="4843" y="2255"/>
                <a:ext cx="184" cy="56"/>
              </a:xfrm>
              <a:custGeom>
                <a:avLst/>
                <a:gdLst>
                  <a:gd name="T0" fmla="*/ 1 w 1370"/>
                  <a:gd name="T1" fmla="*/ 131 h 419"/>
                  <a:gd name="T2" fmla="*/ 1 w 1370"/>
                  <a:gd name="T3" fmla="*/ 14 h 419"/>
                  <a:gd name="T4" fmla="*/ 14 w 1370"/>
                  <a:gd name="T5" fmla="*/ 7 h 419"/>
                  <a:gd name="T6" fmla="*/ 307 w 1370"/>
                  <a:gd name="T7" fmla="*/ 107 h 419"/>
                  <a:gd name="T8" fmla="*/ 615 w 1370"/>
                  <a:gd name="T9" fmla="*/ 138 h 419"/>
                  <a:gd name="T10" fmla="*/ 1137 w 1370"/>
                  <a:gd name="T11" fmla="*/ 91 h 419"/>
                  <a:gd name="T12" fmla="*/ 1357 w 1370"/>
                  <a:gd name="T13" fmla="*/ 6 h 419"/>
                  <a:gd name="T14" fmla="*/ 1370 w 1370"/>
                  <a:gd name="T15" fmla="*/ 14 h 419"/>
                  <a:gd name="T16" fmla="*/ 1370 w 1370"/>
                  <a:gd name="T17" fmla="*/ 248 h 419"/>
                  <a:gd name="T18" fmla="*/ 1355 w 1370"/>
                  <a:gd name="T19" fmla="*/ 272 h 419"/>
                  <a:gd name="T20" fmla="*/ 1238 w 1370"/>
                  <a:gd name="T21" fmla="*/ 334 h 419"/>
                  <a:gd name="T22" fmla="*/ 943 w 1370"/>
                  <a:gd name="T23" fmla="*/ 401 h 419"/>
                  <a:gd name="T24" fmla="*/ 637 w 1370"/>
                  <a:gd name="T25" fmla="*/ 416 h 419"/>
                  <a:gd name="T26" fmla="*/ 167 w 1370"/>
                  <a:gd name="T27" fmla="*/ 347 h 419"/>
                  <a:gd name="T28" fmla="*/ 21 w 1370"/>
                  <a:gd name="T29" fmla="*/ 277 h 419"/>
                  <a:gd name="T30" fmla="*/ 1 w 1370"/>
                  <a:gd name="T31" fmla="*/ 238 h 419"/>
                  <a:gd name="T32" fmla="*/ 1 w 1370"/>
                  <a:gd name="T33" fmla="*/ 131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0" h="419">
                    <a:moveTo>
                      <a:pt x="1" y="131"/>
                    </a:moveTo>
                    <a:cubicBezTo>
                      <a:pt x="1" y="92"/>
                      <a:pt x="2" y="53"/>
                      <a:pt x="1" y="14"/>
                    </a:cubicBezTo>
                    <a:cubicBezTo>
                      <a:pt x="1" y="3"/>
                      <a:pt x="4" y="1"/>
                      <a:pt x="14" y="7"/>
                    </a:cubicBezTo>
                    <a:cubicBezTo>
                      <a:pt x="104" y="62"/>
                      <a:pt x="205" y="88"/>
                      <a:pt x="307" y="107"/>
                    </a:cubicBezTo>
                    <a:cubicBezTo>
                      <a:pt x="409" y="127"/>
                      <a:pt x="512" y="135"/>
                      <a:pt x="615" y="138"/>
                    </a:cubicBezTo>
                    <a:cubicBezTo>
                      <a:pt x="791" y="143"/>
                      <a:pt x="966" y="133"/>
                      <a:pt x="1137" y="91"/>
                    </a:cubicBezTo>
                    <a:cubicBezTo>
                      <a:pt x="1214" y="73"/>
                      <a:pt x="1289" y="49"/>
                      <a:pt x="1357" y="6"/>
                    </a:cubicBezTo>
                    <a:cubicBezTo>
                      <a:pt x="1367" y="0"/>
                      <a:pt x="1370" y="4"/>
                      <a:pt x="1370" y="14"/>
                    </a:cubicBezTo>
                    <a:cubicBezTo>
                      <a:pt x="1370" y="92"/>
                      <a:pt x="1370" y="170"/>
                      <a:pt x="1370" y="248"/>
                    </a:cubicBezTo>
                    <a:cubicBezTo>
                      <a:pt x="1370" y="260"/>
                      <a:pt x="1363" y="266"/>
                      <a:pt x="1355" y="272"/>
                    </a:cubicBezTo>
                    <a:cubicBezTo>
                      <a:pt x="1320" y="301"/>
                      <a:pt x="1280" y="319"/>
                      <a:pt x="1238" y="334"/>
                    </a:cubicBezTo>
                    <a:cubicBezTo>
                      <a:pt x="1143" y="370"/>
                      <a:pt x="1044" y="389"/>
                      <a:pt x="943" y="401"/>
                    </a:cubicBezTo>
                    <a:cubicBezTo>
                      <a:pt x="841" y="413"/>
                      <a:pt x="739" y="419"/>
                      <a:pt x="637" y="416"/>
                    </a:cubicBezTo>
                    <a:cubicBezTo>
                      <a:pt x="477" y="411"/>
                      <a:pt x="320" y="395"/>
                      <a:pt x="167" y="347"/>
                    </a:cubicBezTo>
                    <a:cubicBezTo>
                      <a:pt x="115" y="330"/>
                      <a:pt x="65" y="310"/>
                      <a:pt x="21" y="277"/>
                    </a:cubicBezTo>
                    <a:cubicBezTo>
                      <a:pt x="7" y="267"/>
                      <a:pt x="0" y="256"/>
                      <a:pt x="1" y="238"/>
                    </a:cubicBezTo>
                    <a:cubicBezTo>
                      <a:pt x="2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53" name="Рисунок 52"/>
            <p:cNvPicPr>
              <a:picLocks noChangeAspect="1"/>
            </p:cNvPicPr>
            <p:nvPr userDrawn="1"/>
          </p:nvPicPr>
          <p:blipFill>
            <a:blip r:embed="rId6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964" y="255927"/>
              <a:ext cx="132047" cy="120941"/>
            </a:xfrm>
            <a:prstGeom prst="rect">
              <a:avLst/>
            </a:prstGeom>
          </p:spPr>
        </p:pic>
        <p:sp>
          <p:nvSpPr>
            <p:cNvPr id="54" name="Freeform 413"/>
            <p:cNvSpPr>
              <a:spLocks noEditPoints="1"/>
            </p:cNvSpPr>
            <p:nvPr userDrawn="1"/>
          </p:nvSpPr>
          <p:spPr bwMode="auto">
            <a:xfrm>
              <a:off x="467432" y="411832"/>
              <a:ext cx="136834" cy="109909"/>
            </a:xfrm>
            <a:custGeom>
              <a:avLst/>
              <a:gdLst/>
              <a:ahLst/>
              <a:cxnLst>
                <a:cxn ang="0">
                  <a:pos x="235" y="365"/>
                </a:cxn>
                <a:cxn ang="0">
                  <a:pos x="246" y="344"/>
                </a:cxn>
                <a:cxn ang="0">
                  <a:pos x="226" y="329"/>
                </a:cxn>
                <a:cxn ang="0">
                  <a:pos x="217" y="320"/>
                </a:cxn>
                <a:cxn ang="0">
                  <a:pos x="206" y="328"/>
                </a:cxn>
                <a:cxn ang="0">
                  <a:pos x="142" y="348"/>
                </a:cxn>
                <a:cxn ang="0">
                  <a:pos x="31" y="237"/>
                </a:cxn>
                <a:cxn ang="0">
                  <a:pos x="106" y="133"/>
                </a:cxn>
                <a:cxn ang="0">
                  <a:pos x="106" y="132"/>
                </a:cxn>
                <a:cxn ang="0">
                  <a:pos x="144" y="127"/>
                </a:cxn>
                <a:cxn ang="0">
                  <a:pos x="201" y="141"/>
                </a:cxn>
                <a:cxn ang="0">
                  <a:pos x="132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6" y="104"/>
                </a:cxn>
                <a:cxn ang="0">
                  <a:pos x="49" y="130"/>
                </a:cxn>
                <a:cxn ang="0">
                  <a:pos x="49" y="129"/>
                </a:cxn>
                <a:cxn ang="0">
                  <a:pos x="0" y="237"/>
                </a:cxn>
                <a:cxn ang="0">
                  <a:pos x="142" y="380"/>
                </a:cxn>
                <a:cxn ang="0">
                  <a:pos x="214" y="360"/>
                </a:cxn>
                <a:cxn ang="0">
                  <a:pos x="231" y="371"/>
                </a:cxn>
                <a:cxn ang="0">
                  <a:pos x="235" y="365"/>
                </a:cxn>
                <a:cxn ang="0">
                  <a:pos x="453" y="183"/>
                </a:cxn>
                <a:cxn ang="0">
                  <a:pos x="454" y="175"/>
                </a:cxn>
                <a:cxn ang="0">
                  <a:pos x="348" y="70"/>
                </a:cxn>
                <a:cxn ang="0">
                  <a:pos x="327" y="72"/>
                </a:cxn>
                <a:cxn ang="0">
                  <a:pos x="212" y="0"/>
                </a:cxn>
                <a:cxn ang="0">
                  <a:pos x="90" y="89"/>
                </a:cxn>
                <a:cxn ang="0">
                  <a:pos x="125" y="86"/>
                </a:cxn>
                <a:cxn ang="0">
                  <a:pos x="212" y="32"/>
                </a:cxn>
                <a:cxn ang="0">
                  <a:pos x="302" y="96"/>
                </a:cxn>
                <a:cxn ang="0">
                  <a:pos x="308" y="112"/>
                </a:cxn>
                <a:cxn ang="0">
                  <a:pos x="323" y="106"/>
                </a:cxn>
                <a:cxn ang="0">
                  <a:pos x="348" y="101"/>
                </a:cxn>
                <a:cxn ang="0">
                  <a:pos x="422" y="175"/>
                </a:cxn>
                <a:cxn ang="0">
                  <a:pos x="420" y="192"/>
                </a:cxn>
                <a:cxn ang="0">
                  <a:pos x="416" y="209"/>
                </a:cxn>
                <a:cxn ang="0">
                  <a:pos x="434" y="211"/>
                </a:cxn>
                <a:cxn ang="0">
                  <a:pos x="492" y="275"/>
                </a:cxn>
                <a:cxn ang="0">
                  <a:pos x="428" y="338"/>
                </a:cxn>
                <a:cxn ang="0">
                  <a:pos x="394" y="329"/>
                </a:cxn>
                <a:cxn ang="0">
                  <a:pos x="384" y="322"/>
                </a:cxn>
                <a:cxn ang="0">
                  <a:pos x="375" y="330"/>
                </a:cxn>
                <a:cxn ang="0">
                  <a:pos x="358" y="343"/>
                </a:cxn>
                <a:cxn ang="0">
                  <a:pos x="352" y="359"/>
                </a:cxn>
                <a:cxn ang="0">
                  <a:pos x="342" y="384"/>
                </a:cxn>
                <a:cxn ang="0">
                  <a:pos x="387" y="361"/>
                </a:cxn>
                <a:cxn ang="0">
                  <a:pos x="428" y="370"/>
                </a:cxn>
                <a:cxn ang="0">
                  <a:pos x="523" y="275"/>
                </a:cxn>
                <a:cxn ang="0">
                  <a:pos x="453" y="183"/>
                </a:cxn>
                <a:cxn ang="0">
                  <a:pos x="383" y="292"/>
                </a:cxn>
                <a:cxn ang="0">
                  <a:pos x="313" y="171"/>
                </a:cxn>
                <a:cxn ang="0">
                  <a:pos x="244" y="292"/>
                </a:cxn>
                <a:cxn ang="0">
                  <a:pos x="282" y="292"/>
                </a:cxn>
                <a:cxn ang="0">
                  <a:pos x="220" y="420"/>
                </a:cxn>
                <a:cxn ang="0">
                  <a:pos x="297" y="420"/>
                </a:cxn>
                <a:cxn ang="0">
                  <a:pos x="343" y="292"/>
                </a:cxn>
                <a:cxn ang="0">
                  <a:pos x="383" y="292"/>
                </a:cxn>
              </a:cxnLst>
              <a:rect l="0" t="0" r="r" b="b"/>
              <a:pathLst>
                <a:path w="523" h="420">
                  <a:moveTo>
                    <a:pt x="235" y="365"/>
                  </a:moveTo>
                  <a:cubicBezTo>
                    <a:pt x="239" y="358"/>
                    <a:pt x="243" y="351"/>
                    <a:pt x="246" y="344"/>
                  </a:cubicBezTo>
                  <a:cubicBezTo>
                    <a:pt x="239" y="340"/>
                    <a:pt x="232" y="335"/>
                    <a:pt x="226" y="329"/>
                  </a:cubicBezTo>
                  <a:cubicBezTo>
                    <a:pt x="217" y="320"/>
                    <a:pt x="217" y="320"/>
                    <a:pt x="217" y="320"/>
                  </a:cubicBezTo>
                  <a:cubicBezTo>
                    <a:pt x="206" y="328"/>
                    <a:pt x="206" y="328"/>
                    <a:pt x="206" y="328"/>
                  </a:cubicBezTo>
                  <a:cubicBezTo>
                    <a:pt x="187" y="341"/>
                    <a:pt x="165" y="348"/>
                    <a:pt x="142" y="348"/>
                  </a:cubicBezTo>
                  <a:cubicBezTo>
                    <a:pt x="81" y="348"/>
                    <a:pt x="31" y="299"/>
                    <a:pt x="31" y="237"/>
                  </a:cubicBezTo>
                  <a:cubicBezTo>
                    <a:pt x="31" y="190"/>
                    <a:pt x="61" y="148"/>
                    <a:pt x="106" y="133"/>
                  </a:cubicBezTo>
                  <a:cubicBezTo>
                    <a:pt x="106" y="132"/>
                    <a:pt x="106" y="132"/>
                    <a:pt x="106" y="132"/>
                  </a:cubicBezTo>
                  <a:cubicBezTo>
                    <a:pt x="117" y="129"/>
                    <a:pt x="129" y="127"/>
                    <a:pt x="144" y="127"/>
                  </a:cubicBezTo>
                  <a:cubicBezTo>
                    <a:pt x="167" y="127"/>
                    <a:pt x="187" y="132"/>
                    <a:pt x="201" y="141"/>
                  </a:cubicBezTo>
                  <a:cubicBezTo>
                    <a:pt x="208" y="131"/>
                    <a:pt x="195" y="103"/>
                    <a:pt x="132" y="103"/>
                  </a:cubicBezTo>
                  <a:cubicBezTo>
                    <a:pt x="127" y="103"/>
                    <a:pt x="123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8" y="103"/>
                    <a:pt x="117" y="104"/>
                    <a:pt x="116" y="104"/>
                  </a:cubicBezTo>
                  <a:cubicBezTo>
                    <a:pt x="77" y="107"/>
                    <a:pt x="49" y="130"/>
                    <a:pt x="49" y="130"/>
                  </a:cubicBezTo>
                  <a:cubicBezTo>
                    <a:pt x="49" y="129"/>
                    <a:pt x="49" y="129"/>
                    <a:pt x="49" y="129"/>
                  </a:cubicBezTo>
                  <a:cubicBezTo>
                    <a:pt x="18" y="156"/>
                    <a:pt x="0" y="195"/>
                    <a:pt x="0" y="237"/>
                  </a:cubicBezTo>
                  <a:cubicBezTo>
                    <a:pt x="0" y="316"/>
                    <a:pt x="63" y="380"/>
                    <a:pt x="142" y="380"/>
                  </a:cubicBezTo>
                  <a:cubicBezTo>
                    <a:pt x="168" y="380"/>
                    <a:pt x="192" y="373"/>
                    <a:pt x="214" y="360"/>
                  </a:cubicBezTo>
                  <a:cubicBezTo>
                    <a:pt x="220" y="364"/>
                    <a:pt x="225" y="368"/>
                    <a:pt x="231" y="371"/>
                  </a:cubicBezTo>
                  <a:lnTo>
                    <a:pt x="235" y="365"/>
                  </a:lnTo>
                  <a:close/>
                  <a:moveTo>
                    <a:pt x="453" y="183"/>
                  </a:moveTo>
                  <a:cubicBezTo>
                    <a:pt x="454" y="180"/>
                    <a:pt x="454" y="178"/>
                    <a:pt x="454" y="175"/>
                  </a:cubicBezTo>
                  <a:cubicBezTo>
                    <a:pt x="454" y="117"/>
                    <a:pt x="407" y="70"/>
                    <a:pt x="348" y="70"/>
                  </a:cubicBezTo>
                  <a:cubicBezTo>
                    <a:pt x="341" y="70"/>
                    <a:pt x="334" y="71"/>
                    <a:pt x="327" y="72"/>
                  </a:cubicBezTo>
                  <a:cubicBezTo>
                    <a:pt x="305" y="29"/>
                    <a:pt x="261" y="0"/>
                    <a:pt x="212" y="0"/>
                  </a:cubicBezTo>
                  <a:cubicBezTo>
                    <a:pt x="155" y="0"/>
                    <a:pt x="106" y="37"/>
                    <a:pt x="90" y="89"/>
                  </a:cubicBezTo>
                  <a:cubicBezTo>
                    <a:pt x="103" y="86"/>
                    <a:pt x="116" y="85"/>
                    <a:pt x="125" y="86"/>
                  </a:cubicBezTo>
                  <a:cubicBezTo>
                    <a:pt x="141" y="53"/>
                    <a:pt x="174" y="32"/>
                    <a:pt x="212" y="32"/>
                  </a:cubicBezTo>
                  <a:cubicBezTo>
                    <a:pt x="253" y="32"/>
                    <a:pt x="289" y="58"/>
                    <a:pt x="302" y="96"/>
                  </a:cubicBezTo>
                  <a:cubicBezTo>
                    <a:pt x="308" y="112"/>
                    <a:pt x="308" y="112"/>
                    <a:pt x="308" y="112"/>
                  </a:cubicBezTo>
                  <a:cubicBezTo>
                    <a:pt x="323" y="106"/>
                    <a:pt x="323" y="106"/>
                    <a:pt x="323" y="106"/>
                  </a:cubicBezTo>
                  <a:cubicBezTo>
                    <a:pt x="331" y="103"/>
                    <a:pt x="340" y="101"/>
                    <a:pt x="348" y="101"/>
                  </a:cubicBezTo>
                  <a:cubicBezTo>
                    <a:pt x="389" y="101"/>
                    <a:pt x="422" y="135"/>
                    <a:pt x="422" y="175"/>
                  </a:cubicBezTo>
                  <a:cubicBezTo>
                    <a:pt x="422" y="181"/>
                    <a:pt x="421" y="186"/>
                    <a:pt x="420" y="192"/>
                  </a:cubicBezTo>
                  <a:cubicBezTo>
                    <a:pt x="416" y="209"/>
                    <a:pt x="416" y="209"/>
                    <a:pt x="416" y="209"/>
                  </a:cubicBezTo>
                  <a:cubicBezTo>
                    <a:pt x="434" y="211"/>
                    <a:pt x="434" y="211"/>
                    <a:pt x="434" y="211"/>
                  </a:cubicBezTo>
                  <a:cubicBezTo>
                    <a:pt x="467" y="214"/>
                    <a:pt x="492" y="242"/>
                    <a:pt x="492" y="275"/>
                  </a:cubicBezTo>
                  <a:cubicBezTo>
                    <a:pt x="492" y="310"/>
                    <a:pt x="463" y="338"/>
                    <a:pt x="428" y="338"/>
                  </a:cubicBezTo>
                  <a:cubicBezTo>
                    <a:pt x="416" y="338"/>
                    <a:pt x="404" y="335"/>
                    <a:pt x="394" y="329"/>
                  </a:cubicBezTo>
                  <a:cubicBezTo>
                    <a:pt x="384" y="322"/>
                    <a:pt x="384" y="322"/>
                    <a:pt x="384" y="322"/>
                  </a:cubicBezTo>
                  <a:cubicBezTo>
                    <a:pt x="375" y="330"/>
                    <a:pt x="375" y="330"/>
                    <a:pt x="375" y="330"/>
                  </a:cubicBezTo>
                  <a:cubicBezTo>
                    <a:pt x="370" y="335"/>
                    <a:pt x="364" y="339"/>
                    <a:pt x="358" y="343"/>
                  </a:cubicBezTo>
                  <a:cubicBezTo>
                    <a:pt x="356" y="348"/>
                    <a:pt x="354" y="354"/>
                    <a:pt x="352" y="359"/>
                  </a:cubicBezTo>
                  <a:cubicBezTo>
                    <a:pt x="349" y="367"/>
                    <a:pt x="346" y="376"/>
                    <a:pt x="342" y="384"/>
                  </a:cubicBezTo>
                  <a:cubicBezTo>
                    <a:pt x="358" y="379"/>
                    <a:pt x="374" y="371"/>
                    <a:pt x="387" y="361"/>
                  </a:cubicBezTo>
                  <a:cubicBezTo>
                    <a:pt x="400" y="367"/>
                    <a:pt x="414" y="370"/>
                    <a:pt x="428" y="370"/>
                  </a:cubicBezTo>
                  <a:cubicBezTo>
                    <a:pt x="481" y="370"/>
                    <a:pt x="523" y="327"/>
                    <a:pt x="523" y="275"/>
                  </a:cubicBezTo>
                  <a:cubicBezTo>
                    <a:pt x="523" y="231"/>
                    <a:pt x="494" y="194"/>
                    <a:pt x="453" y="183"/>
                  </a:cubicBezTo>
                  <a:close/>
                  <a:moveTo>
                    <a:pt x="383" y="292"/>
                  </a:moveTo>
                  <a:cubicBezTo>
                    <a:pt x="313" y="171"/>
                    <a:pt x="313" y="171"/>
                    <a:pt x="313" y="171"/>
                  </a:cubicBezTo>
                  <a:cubicBezTo>
                    <a:pt x="244" y="292"/>
                    <a:pt x="244" y="292"/>
                    <a:pt x="244" y="292"/>
                  </a:cubicBezTo>
                  <a:cubicBezTo>
                    <a:pt x="282" y="292"/>
                    <a:pt x="282" y="292"/>
                    <a:pt x="282" y="292"/>
                  </a:cubicBezTo>
                  <a:cubicBezTo>
                    <a:pt x="274" y="341"/>
                    <a:pt x="252" y="385"/>
                    <a:pt x="220" y="420"/>
                  </a:cubicBezTo>
                  <a:cubicBezTo>
                    <a:pt x="297" y="420"/>
                    <a:pt x="297" y="420"/>
                    <a:pt x="297" y="420"/>
                  </a:cubicBezTo>
                  <a:cubicBezTo>
                    <a:pt x="321" y="382"/>
                    <a:pt x="338" y="338"/>
                    <a:pt x="343" y="292"/>
                  </a:cubicBezTo>
                  <a:lnTo>
                    <a:pt x="383" y="29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</p:grpSp>
      <p:sp>
        <p:nvSpPr>
          <p:cNvPr id="89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11790055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0621371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ur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066147C5-186D-4E4C-9242-8148410B3D18}"/>
              </a:ext>
            </a:extLst>
          </p:cNvPr>
          <p:cNvSpPr/>
          <p:nvPr userDrawn="1"/>
        </p:nvSpPr>
        <p:spPr>
          <a:xfrm>
            <a:off x="0" y="-18878"/>
            <a:ext cx="12192000" cy="6876879"/>
          </a:xfrm>
          <a:prstGeom prst="rect">
            <a:avLst/>
          </a:prstGeom>
          <a:gradFill flip="none" rotWithShape="1">
            <a:gsLst>
              <a:gs pos="18000">
                <a:schemeClr val="accent6">
                  <a:lumMod val="67000"/>
                </a:schemeClr>
              </a:gs>
              <a:gs pos="100000">
                <a:schemeClr val="accent6"/>
              </a:gs>
            </a:gsLst>
            <a:lin ang="162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5FCFC23A-FBBD-1442-BC6B-7AACBBDF17DB}"/>
              </a:ext>
            </a:extLst>
          </p:cNvPr>
          <p:cNvGrpSpPr/>
          <p:nvPr userDrawn="1"/>
        </p:nvGrpSpPr>
        <p:grpSpPr>
          <a:xfrm>
            <a:off x="0" y="-18879"/>
            <a:ext cx="12192000" cy="675904"/>
            <a:chOff x="0" y="4267200"/>
            <a:chExt cx="12192000" cy="675904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A96D3F2C-5F04-B84F-B9D5-D61433C77E05}"/>
                </a:ext>
              </a:extLst>
            </p:cNvPr>
            <p:cNvSpPr/>
            <p:nvPr userDrawn="1"/>
          </p:nvSpPr>
          <p:spPr>
            <a:xfrm>
              <a:off x="122213" y="4435305"/>
              <a:ext cx="11951853" cy="4294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dist="88900" dir="5400000" sx="97000" sy="97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xmlns="" id="{4BCEF6D8-1372-DA4D-AAD1-0712D4C4C8D4}"/>
                </a:ext>
              </a:extLst>
            </p:cNvPr>
            <p:cNvSpPr/>
            <p:nvPr userDrawn="1"/>
          </p:nvSpPr>
          <p:spPr>
            <a:xfrm>
              <a:off x="0" y="4267200"/>
              <a:ext cx="12192000" cy="675904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grpSp>
        <p:nvGrpSpPr>
          <p:cNvPr id="59" name="Группа 58"/>
          <p:cNvGrpSpPr/>
          <p:nvPr userDrawn="1"/>
        </p:nvGrpSpPr>
        <p:grpSpPr>
          <a:xfrm>
            <a:off x="1026696" y="85663"/>
            <a:ext cx="482547" cy="471819"/>
            <a:chOff x="5348707" y="4513334"/>
            <a:chExt cx="686676" cy="671411"/>
          </a:xfrm>
        </p:grpSpPr>
        <p:sp>
          <p:nvSpPr>
            <p:cNvPr id="60" name="Oval 5">
              <a:extLst>
                <a:ext uri="{FF2B5EF4-FFF2-40B4-BE49-F238E27FC236}">
                  <a16:creationId xmlns:a16="http://schemas.microsoft.com/office/drawing/2014/main" xmlns="" id="{3DF6420D-E176-5C42-ABBA-A6D11E2EA40A}"/>
                </a:ext>
              </a:extLst>
            </p:cNvPr>
            <p:cNvSpPr/>
            <p:nvPr/>
          </p:nvSpPr>
          <p:spPr>
            <a:xfrm>
              <a:off x="5348707" y="4513334"/>
              <a:ext cx="686676" cy="671411"/>
            </a:xfrm>
            <a:prstGeom prst="ellipse">
              <a:avLst/>
            </a:prstGeom>
            <a:solidFill>
              <a:schemeClr val="accent6"/>
            </a:solidFill>
            <a:ln w="127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lIns="96746" tIns="48373" rIns="96746" bIns="48373" rtlCol="0" anchor="ctr"/>
            <a:lstStyle/>
            <a:p>
              <a:pPr algn="ctr" defTabSz="967502">
                <a:defRPr/>
              </a:pPr>
              <a:endParaRPr lang="en-US" sz="1481" kern="0" dirty="0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1" name="Freeform 5"/>
            <p:cNvSpPr>
              <a:spLocks noEditPoints="1"/>
            </p:cNvSpPr>
            <p:nvPr/>
          </p:nvSpPr>
          <p:spPr bwMode="auto">
            <a:xfrm>
              <a:off x="5505895" y="4638991"/>
              <a:ext cx="363780" cy="421308"/>
            </a:xfrm>
            <a:custGeom>
              <a:avLst/>
              <a:gdLst>
                <a:gd name="T0" fmla="*/ 247 w 247"/>
                <a:gd name="T1" fmla="*/ 30 h 287"/>
                <a:gd name="T2" fmla="*/ 236 w 247"/>
                <a:gd name="T3" fmla="*/ 22 h 287"/>
                <a:gd name="T4" fmla="*/ 199 w 247"/>
                <a:gd name="T5" fmla="*/ 27 h 287"/>
                <a:gd name="T6" fmla="*/ 129 w 247"/>
                <a:gd name="T7" fmla="*/ 0 h 287"/>
                <a:gd name="T8" fmla="*/ 119 w 247"/>
                <a:gd name="T9" fmla="*/ 0 h 287"/>
                <a:gd name="T10" fmla="*/ 48 w 247"/>
                <a:gd name="T11" fmla="*/ 27 h 287"/>
                <a:gd name="T12" fmla="*/ 12 w 247"/>
                <a:gd name="T13" fmla="*/ 22 h 287"/>
                <a:gd name="T14" fmla="*/ 1 w 247"/>
                <a:gd name="T15" fmla="*/ 30 h 287"/>
                <a:gd name="T16" fmla="*/ 0 w 247"/>
                <a:gd name="T17" fmla="*/ 47 h 287"/>
                <a:gd name="T18" fmla="*/ 122 w 247"/>
                <a:gd name="T19" fmla="*/ 287 h 287"/>
                <a:gd name="T20" fmla="*/ 126 w 247"/>
                <a:gd name="T21" fmla="*/ 287 h 287"/>
                <a:gd name="T22" fmla="*/ 247 w 247"/>
                <a:gd name="T23" fmla="*/ 47 h 287"/>
                <a:gd name="T24" fmla="*/ 247 w 247"/>
                <a:gd name="T25" fmla="*/ 30 h 287"/>
                <a:gd name="T26" fmla="*/ 124 w 247"/>
                <a:gd name="T27" fmla="*/ 270 h 287"/>
                <a:gd name="T28" fmla="*/ 27 w 247"/>
                <a:gd name="T29" fmla="*/ 146 h 287"/>
                <a:gd name="T30" fmla="*/ 129 w 247"/>
                <a:gd name="T31" fmla="*/ 146 h 287"/>
                <a:gd name="T32" fmla="*/ 129 w 247"/>
                <a:gd name="T33" fmla="*/ 21 h 287"/>
                <a:gd name="T34" fmla="*/ 199 w 247"/>
                <a:gd name="T35" fmla="*/ 45 h 287"/>
                <a:gd name="T36" fmla="*/ 230 w 247"/>
                <a:gd name="T37" fmla="*/ 41 h 287"/>
                <a:gd name="T38" fmla="*/ 230 w 247"/>
                <a:gd name="T39" fmla="*/ 47 h 287"/>
                <a:gd name="T40" fmla="*/ 220 w 247"/>
                <a:gd name="T41" fmla="*/ 146 h 287"/>
                <a:gd name="T42" fmla="*/ 129 w 247"/>
                <a:gd name="T43" fmla="*/ 146 h 287"/>
                <a:gd name="T44" fmla="*/ 129 w 247"/>
                <a:gd name="T45" fmla="*/ 268 h 287"/>
                <a:gd name="T46" fmla="*/ 124 w 247"/>
                <a:gd name="T47" fmla="*/ 27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7" h="287">
                  <a:moveTo>
                    <a:pt x="247" y="30"/>
                  </a:moveTo>
                  <a:cubicBezTo>
                    <a:pt x="236" y="22"/>
                    <a:pt x="236" y="22"/>
                    <a:pt x="236" y="22"/>
                  </a:cubicBezTo>
                  <a:cubicBezTo>
                    <a:pt x="224" y="25"/>
                    <a:pt x="212" y="27"/>
                    <a:pt x="199" y="27"/>
                  </a:cubicBezTo>
                  <a:cubicBezTo>
                    <a:pt x="177" y="27"/>
                    <a:pt x="154" y="18"/>
                    <a:pt x="129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94" y="18"/>
                    <a:pt x="70" y="27"/>
                    <a:pt x="48" y="27"/>
                  </a:cubicBezTo>
                  <a:cubicBezTo>
                    <a:pt x="36" y="27"/>
                    <a:pt x="24" y="25"/>
                    <a:pt x="12" y="22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1" y="36"/>
                    <a:pt x="0" y="42"/>
                    <a:pt x="0" y="47"/>
                  </a:cubicBezTo>
                  <a:cubicBezTo>
                    <a:pt x="0" y="230"/>
                    <a:pt x="76" y="276"/>
                    <a:pt x="122" y="287"/>
                  </a:cubicBezTo>
                  <a:cubicBezTo>
                    <a:pt x="126" y="287"/>
                    <a:pt x="126" y="287"/>
                    <a:pt x="126" y="287"/>
                  </a:cubicBezTo>
                  <a:cubicBezTo>
                    <a:pt x="171" y="276"/>
                    <a:pt x="247" y="230"/>
                    <a:pt x="247" y="47"/>
                  </a:cubicBezTo>
                  <a:cubicBezTo>
                    <a:pt x="247" y="42"/>
                    <a:pt x="247" y="36"/>
                    <a:pt x="247" y="30"/>
                  </a:cubicBezTo>
                  <a:close/>
                  <a:moveTo>
                    <a:pt x="124" y="270"/>
                  </a:moveTo>
                  <a:cubicBezTo>
                    <a:pt x="76" y="257"/>
                    <a:pt x="43" y="214"/>
                    <a:pt x="27" y="146"/>
                  </a:cubicBezTo>
                  <a:cubicBezTo>
                    <a:pt x="129" y="146"/>
                    <a:pt x="129" y="146"/>
                    <a:pt x="129" y="146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53" y="37"/>
                    <a:pt x="177" y="45"/>
                    <a:pt x="199" y="45"/>
                  </a:cubicBezTo>
                  <a:cubicBezTo>
                    <a:pt x="210" y="45"/>
                    <a:pt x="220" y="43"/>
                    <a:pt x="230" y="41"/>
                  </a:cubicBezTo>
                  <a:cubicBezTo>
                    <a:pt x="230" y="43"/>
                    <a:pt x="230" y="45"/>
                    <a:pt x="230" y="47"/>
                  </a:cubicBezTo>
                  <a:cubicBezTo>
                    <a:pt x="230" y="84"/>
                    <a:pt x="227" y="117"/>
                    <a:pt x="220" y="146"/>
                  </a:cubicBezTo>
                  <a:cubicBezTo>
                    <a:pt x="129" y="146"/>
                    <a:pt x="129" y="146"/>
                    <a:pt x="129" y="146"/>
                  </a:cubicBezTo>
                  <a:cubicBezTo>
                    <a:pt x="129" y="268"/>
                    <a:pt x="129" y="268"/>
                    <a:pt x="129" y="268"/>
                  </a:cubicBezTo>
                  <a:cubicBezTo>
                    <a:pt x="127" y="269"/>
                    <a:pt x="125" y="269"/>
                    <a:pt x="124" y="270"/>
                  </a:cubicBezTo>
                  <a:close/>
                </a:path>
              </a:pathLst>
            </a:custGeom>
            <a:solidFill>
              <a:schemeClr val="accent4"/>
            </a:solidFill>
            <a:ln w="22225"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</p:grp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3E5CDD5-3156-47A9-A019-94E8642F4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7" y="162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19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F3E5CDD5-3156-47A9-A019-94E8642F4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62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"/>
          <p:cNvSpPr>
            <a:spLocks noGrp="1"/>
          </p:cNvSpPr>
          <p:nvPr>
            <p:ph type="title" hasCustomPrompt="1"/>
          </p:nvPr>
        </p:nvSpPr>
        <p:spPr>
          <a:xfrm>
            <a:off x="1602515" y="177110"/>
            <a:ext cx="9905376" cy="30780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000" kern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45780014-60AD-4D4C-B6BB-A0DF121B2FEB}"/>
              </a:ext>
            </a:extLst>
          </p:cNvPr>
          <p:cNvSpPr>
            <a:spLocks/>
          </p:cNvSpPr>
          <p:nvPr userDrawn="1"/>
        </p:nvSpPr>
        <p:spPr bwMode="auto">
          <a:xfrm>
            <a:off x="11662261" y="161564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102572" tIns="102572" rIns="102572" bIns="102572" rtlCol="0" anchor="ctr"/>
          <a:lstStyle/>
          <a:p>
            <a:pPr marL="0" marR="0" lvl="0" indent="0" algn="ctr" defTabSz="121866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>
              <a:ln>
                <a:noFill/>
              </a:ln>
              <a:solidFill>
                <a:srgbClr val="787E7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4" name="Группа 3"/>
          <p:cNvGrpSpPr/>
          <p:nvPr userDrawn="1"/>
        </p:nvGrpSpPr>
        <p:grpSpPr>
          <a:xfrm>
            <a:off x="146651" y="90377"/>
            <a:ext cx="802256" cy="446347"/>
            <a:chOff x="146650" y="90376"/>
            <a:chExt cx="802256" cy="446347"/>
          </a:xfrm>
        </p:grpSpPr>
        <p:grpSp>
          <p:nvGrpSpPr>
            <p:cNvPr id="79" name="Группа 78"/>
            <p:cNvGrpSpPr/>
            <p:nvPr userDrawn="1"/>
          </p:nvGrpSpPr>
          <p:grpSpPr>
            <a:xfrm>
              <a:off x="146650" y="90376"/>
              <a:ext cx="802256" cy="446347"/>
              <a:chOff x="3215754" y="3239215"/>
              <a:chExt cx="5277696" cy="2936328"/>
            </a:xfrm>
            <a:solidFill>
              <a:schemeClr val="accent6"/>
            </a:solidFill>
          </p:grpSpPr>
          <p:sp>
            <p:nvSpPr>
              <p:cNvPr id="114" name="Round Diagonal Corner Rectangle 73"/>
              <p:cNvSpPr/>
              <p:nvPr/>
            </p:nvSpPr>
            <p:spPr>
              <a:xfrm rot="16200000" flipV="1">
                <a:off x="4045695" y="2409275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6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115" name="Round Diagonal Corner Rectangle 73"/>
              <p:cNvSpPr/>
              <p:nvPr/>
            </p:nvSpPr>
            <p:spPr>
              <a:xfrm rot="16200000" flipV="1">
                <a:off x="6763017" y="2409276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116" name="Round Diagonal Corner Rectangle 73"/>
              <p:cNvSpPr/>
              <p:nvPr/>
            </p:nvSpPr>
            <p:spPr>
              <a:xfrm rot="16200000" flipV="1">
                <a:off x="4045695" y="3427192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117" name="Round Diagonal Corner Rectangle 73"/>
              <p:cNvSpPr/>
              <p:nvPr/>
            </p:nvSpPr>
            <p:spPr>
              <a:xfrm rot="16200000" flipV="1">
                <a:off x="6763017" y="3427193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118" name="Round Diagonal Corner Rectangle 73"/>
              <p:cNvSpPr/>
              <p:nvPr/>
            </p:nvSpPr>
            <p:spPr>
              <a:xfrm rot="16200000" flipV="1">
                <a:off x="5404355" y="3086448"/>
                <a:ext cx="900494" cy="527769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6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</p:grpSp>
        <p:grpSp>
          <p:nvGrpSpPr>
            <p:cNvPr id="80" name="Group 2"/>
            <p:cNvGrpSpPr/>
            <p:nvPr userDrawn="1"/>
          </p:nvGrpSpPr>
          <p:grpSpPr>
            <a:xfrm>
              <a:off x="298733" y="103728"/>
              <a:ext cx="90401" cy="105401"/>
              <a:chOff x="6670675" y="3513137"/>
              <a:chExt cx="1071561" cy="1249363"/>
            </a:xfrm>
            <a:solidFill>
              <a:schemeClr val="accent6">
                <a:lumMod val="60000"/>
                <a:lumOff val="40000"/>
              </a:schemeClr>
            </a:solidFill>
          </p:grpSpPr>
          <p:grpSp>
            <p:nvGrpSpPr>
              <p:cNvPr id="109" name="Group 115"/>
              <p:cNvGrpSpPr/>
              <p:nvPr/>
            </p:nvGrpSpPr>
            <p:grpSpPr>
              <a:xfrm>
                <a:off x="6670675" y="3513137"/>
                <a:ext cx="700087" cy="1249363"/>
                <a:chOff x="-2524125" y="-798513"/>
                <a:chExt cx="700087" cy="1249363"/>
              </a:xfrm>
              <a:grpFill/>
            </p:grpSpPr>
            <p:sp>
              <p:nvSpPr>
                <p:cNvPr id="111" name="Oval 273"/>
                <p:cNvSpPr>
                  <a:spLocks noChangeArrowheads="1"/>
                </p:cNvSpPr>
                <p:nvPr/>
              </p:nvSpPr>
              <p:spPr bwMode="auto">
                <a:xfrm>
                  <a:off x="-2268538" y="-798513"/>
                  <a:ext cx="200025" cy="23812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112" name="Freeform 274"/>
                <p:cNvSpPr>
                  <a:spLocks noEditPoints="1"/>
                </p:cNvSpPr>
                <p:nvPr/>
              </p:nvSpPr>
              <p:spPr bwMode="auto">
                <a:xfrm>
                  <a:off x="-2524125" y="-536575"/>
                  <a:ext cx="700087" cy="987425"/>
                </a:xfrm>
                <a:custGeom>
                  <a:avLst/>
                  <a:gdLst/>
                  <a:ahLst/>
                  <a:cxnLst>
                    <a:cxn ang="0">
                      <a:pos x="123" y="27"/>
                    </a:cxn>
                    <a:cxn ang="0">
                      <a:pos x="122" y="26"/>
                    </a:cxn>
                    <a:cxn ang="0">
                      <a:pos x="116" y="22"/>
                    </a:cxn>
                    <a:cxn ang="0">
                      <a:pos x="91" y="3"/>
                    </a:cxn>
                    <a:cxn ang="0">
                      <a:pos x="85" y="1"/>
                    </a:cxn>
                    <a:cxn ang="0">
                      <a:pos x="77" y="1"/>
                    </a:cxn>
                    <a:cxn ang="0">
                      <a:pos x="75" y="11"/>
                    </a:cxn>
                    <a:cxn ang="0">
                      <a:pos x="68" y="43"/>
                    </a:cxn>
                    <a:cxn ang="0">
                      <a:pos x="68" y="7"/>
                    </a:cxn>
                    <a:cxn ang="0">
                      <a:pos x="59" y="0"/>
                    </a:cxn>
                    <a:cxn ang="0">
                      <a:pos x="59" y="9"/>
                    </a:cxn>
                    <a:cxn ang="0">
                      <a:pos x="46" y="18"/>
                    </a:cxn>
                    <a:cxn ang="0">
                      <a:pos x="41" y="7"/>
                    </a:cxn>
                    <a:cxn ang="0">
                      <a:pos x="48" y="0"/>
                    </a:cxn>
                    <a:cxn ang="0">
                      <a:pos x="39" y="1"/>
                    </a:cxn>
                    <a:cxn ang="0">
                      <a:pos x="3" y="36"/>
                    </a:cxn>
                    <a:cxn ang="0">
                      <a:pos x="3" y="36"/>
                    </a:cxn>
                    <a:cxn ang="0">
                      <a:pos x="1" y="49"/>
                    </a:cxn>
                    <a:cxn ang="0">
                      <a:pos x="1" y="49"/>
                    </a:cxn>
                    <a:cxn ang="0">
                      <a:pos x="2" y="51"/>
                    </a:cxn>
                    <a:cxn ang="0">
                      <a:pos x="6" y="58"/>
                    </a:cxn>
                    <a:cxn ang="0">
                      <a:pos x="20" y="86"/>
                    </a:cxn>
                    <a:cxn ang="0">
                      <a:pos x="33" y="91"/>
                    </a:cxn>
                    <a:cxn ang="0">
                      <a:pos x="35" y="92"/>
                    </a:cxn>
                    <a:cxn ang="0">
                      <a:pos x="61" y="174"/>
                    </a:cxn>
                    <a:cxn ang="0">
                      <a:pos x="57" y="112"/>
                    </a:cxn>
                    <a:cxn ang="0">
                      <a:pos x="91" y="34"/>
                    </a:cxn>
                    <a:cxn ang="0">
                      <a:pos x="95" y="32"/>
                    </a:cxn>
                    <a:cxn ang="0">
                      <a:pos x="77" y="46"/>
                    </a:cxn>
                    <a:cxn ang="0">
                      <a:pos x="91" y="34"/>
                    </a:cxn>
                    <a:cxn ang="0">
                      <a:pos x="31" y="56"/>
                    </a:cxn>
                    <a:cxn ang="0">
                      <a:pos x="24" y="44"/>
                    </a:cxn>
                    <a:cxn ang="0">
                      <a:pos x="34" y="61"/>
                    </a:cxn>
                  </a:cxnLst>
                  <a:rect l="0" t="0" r="r" b="b"/>
                  <a:pathLst>
                    <a:path w="123" h="174">
                      <a:moveTo>
                        <a:pt x="122" y="42"/>
                      </a:moveTo>
                      <a:cubicBezTo>
                        <a:pt x="122" y="35"/>
                        <a:pt x="123" y="24"/>
                        <a:pt x="123" y="27"/>
                      </a:cubicBezTo>
                      <a:cubicBezTo>
                        <a:pt x="123" y="26"/>
                        <a:pt x="123" y="26"/>
                        <a:pt x="123" y="26"/>
                      </a:cubicBezTo>
                      <a:cubicBezTo>
                        <a:pt x="122" y="26"/>
                        <a:pt x="122" y="26"/>
                        <a:pt x="122" y="26"/>
                      </a:cubicBezTo>
                      <a:cubicBezTo>
                        <a:pt x="120" y="25"/>
                        <a:pt x="120" y="25"/>
                        <a:pt x="120" y="25"/>
                      </a:cubicBezTo>
                      <a:cubicBezTo>
                        <a:pt x="116" y="22"/>
                        <a:pt x="116" y="22"/>
                        <a:pt x="116" y="22"/>
                      </a:cubicBezTo>
                      <a:cubicBezTo>
                        <a:pt x="108" y="15"/>
                        <a:pt x="108" y="15"/>
                        <a:pt x="108" y="15"/>
                      </a:cubicBezTo>
                      <a:cubicBezTo>
                        <a:pt x="91" y="3"/>
                        <a:pt x="91" y="3"/>
                        <a:pt x="91" y="3"/>
                      </a:cubicBezTo>
                      <a:cubicBezTo>
                        <a:pt x="90" y="2"/>
                        <a:pt x="88" y="1"/>
                        <a:pt x="86" y="1"/>
                      </a:cubicBezTo>
                      <a:cubicBezTo>
                        <a:pt x="85" y="1"/>
                        <a:pt x="85" y="1"/>
                        <a:pt x="85" y="1"/>
                      </a:cubicBezTo>
                      <a:cubicBezTo>
                        <a:pt x="83" y="1"/>
                        <a:pt x="80" y="1"/>
                        <a:pt x="77" y="0"/>
                      </a:cubicBez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84" y="7"/>
                        <a:pt x="84" y="7"/>
                        <a:pt x="84" y="7"/>
                      </a:cubicBezTo>
                      <a:cubicBezTo>
                        <a:pt x="75" y="11"/>
                        <a:pt x="75" y="11"/>
                        <a:pt x="75" y="11"/>
                      </a:cubicBezTo>
                      <a:cubicBezTo>
                        <a:pt x="80" y="18"/>
                        <a:pt x="80" y="18"/>
                        <a:pt x="80" y="18"/>
                      </a:cubicBezTo>
                      <a:cubicBezTo>
                        <a:pt x="68" y="43"/>
                        <a:pt x="68" y="43"/>
                        <a:pt x="68" y="43"/>
                      </a:cubicBezTo>
                      <a:cubicBezTo>
                        <a:pt x="67" y="9"/>
                        <a:pt x="67" y="9"/>
                        <a:pt x="67" y="9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7" y="7"/>
                        <a:pt x="57" y="7"/>
                        <a:pt x="57" y="7"/>
                      </a:cubicBezTo>
                      <a:cubicBezTo>
                        <a:pt x="59" y="9"/>
                        <a:pt x="59" y="9"/>
                        <a:pt x="59" y="9"/>
                      </a:cubicBezTo>
                      <a:cubicBezTo>
                        <a:pt x="57" y="43"/>
                        <a:pt x="57" y="43"/>
                        <a:pt x="57" y="43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50" y="11"/>
                        <a:pt x="50" y="11"/>
                        <a:pt x="50" y="11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8" y="1"/>
                        <a:pt x="48" y="1"/>
                        <a:pt x="48" y="1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5" y="1"/>
                        <a:pt x="43" y="1"/>
                        <a:pt x="40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6" y="1"/>
                        <a:pt x="34" y="3"/>
                        <a:pt x="32" y="5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0" y="61"/>
                        <a:pt x="2" y="43"/>
                        <a:pt x="1" y="48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2" y="49"/>
                        <a:pt x="2" y="49"/>
                        <a:pt x="2" y="49"/>
                      </a:cubicBezTo>
                      <a:cubicBezTo>
                        <a:pt x="2" y="51"/>
                        <a:pt x="2" y="51"/>
                        <a:pt x="2" y="51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6" y="58"/>
                        <a:pt x="6" y="58"/>
                        <a:pt x="6" y="58"/>
                      </a:cubicBezTo>
                      <a:cubicBezTo>
                        <a:pt x="11" y="67"/>
                        <a:pt x="11" y="67"/>
                        <a:pt x="11" y="67"/>
                      </a:cubicBezTo>
                      <a:cubicBezTo>
                        <a:pt x="20" y="86"/>
                        <a:pt x="20" y="86"/>
                        <a:pt x="20" y="86"/>
                      </a:cubicBezTo>
                      <a:cubicBezTo>
                        <a:pt x="25" y="84"/>
                        <a:pt x="29" y="82"/>
                        <a:pt x="33" y="79"/>
                      </a:cubicBezTo>
                      <a:cubicBezTo>
                        <a:pt x="33" y="83"/>
                        <a:pt x="33" y="87"/>
                        <a:pt x="33" y="91"/>
                      </a:cubicBezTo>
                      <a:cubicBezTo>
                        <a:pt x="33" y="92"/>
                        <a:pt x="33" y="92"/>
                        <a:pt x="33" y="92"/>
                      </a:cubicBezTo>
                      <a:cubicBezTo>
                        <a:pt x="35" y="92"/>
                        <a:pt x="35" y="92"/>
                        <a:pt x="35" y="92"/>
                      </a:cubicBezTo>
                      <a:cubicBezTo>
                        <a:pt x="38" y="174"/>
                        <a:pt x="38" y="174"/>
                        <a:pt x="38" y="174"/>
                      </a:cubicBezTo>
                      <a:cubicBezTo>
                        <a:pt x="61" y="174"/>
                        <a:pt x="61" y="174"/>
                        <a:pt x="61" y="174"/>
                      </a:cubicBezTo>
                      <a:cubicBezTo>
                        <a:pt x="62" y="163"/>
                        <a:pt x="62" y="150"/>
                        <a:pt x="62" y="137"/>
                      </a:cubicBezTo>
                      <a:cubicBezTo>
                        <a:pt x="59" y="129"/>
                        <a:pt x="57" y="121"/>
                        <a:pt x="57" y="112"/>
                      </a:cubicBezTo>
                      <a:cubicBezTo>
                        <a:pt x="57" y="75"/>
                        <a:pt x="86" y="45"/>
                        <a:pt x="122" y="42"/>
                      </a:cubicBezTo>
                      <a:close/>
                      <a:moveTo>
                        <a:pt x="91" y="34"/>
                      </a:moveTo>
                      <a:cubicBezTo>
                        <a:pt x="91" y="32"/>
                        <a:pt x="91" y="30"/>
                        <a:pt x="90" y="28"/>
                      </a:cubicBezTo>
                      <a:cubicBezTo>
                        <a:pt x="95" y="32"/>
                        <a:pt x="95" y="32"/>
                        <a:pt x="95" y="32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ubicBezTo>
                        <a:pt x="77" y="46"/>
                        <a:pt x="77" y="46"/>
                        <a:pt x="77" y="46"/>
                      </a:cubicBezTo>
                      <a:cubicBezTo>
                        <a:pt x="75" y="43"/>
                        <a:pt x="75" y="43"/>
                        <a:pt x="75" y="43"/>
                      </a:cubicBezTo>
                      <a:lnTo>
                        <a:pt x="91" y="34"/>
                      </a:lnTo>
                      <a:close/>
                      <a:moveTo>
                        <a:pt x="34" y="61"/>
                      </a:moveTo>
                      <a:cubicBezTo>
                        <a:pt x="31" y="56"/>
                        <a:pt x="31" y="56"/>
                        <a:pt x="31" y="56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4" y="44"/>
                        <a:pt x="24" y="44"/>
                        <a:pt x="24" y="44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cubicBezTo>
                        <a:pt x="34" y="41"/>
                        <a:pt x="34" y="51"/>
                        <a:pt x="34" y="6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113" name="Freeform 275"/>
                <p:cNvSpPr>
                  <a:spLocks/>
                </p:cNvSpPr>
                <p:nvPr/>
              </p:nvSpPr>
              <p:spPr bwMode="auto">
                <a:xfrm>
                  <a:off x="-2154238" y="287337"/>
                  <a:ext cx="141287" cy="1635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" y="29"/>
                    </a:cxn>
                    <a:cxn ang="0">
                      <a:pos x="25" y="29"/>
                    </a:cxn>
                    <a:cxn ang="0">
                      <a:pos x="25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5" h="29">
                      <a:moveTo>
                        <a:pt x="0" y="0"/>
                      </a:move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25" y="29"/>
                        <a:pt x="25" y="29"/>
                        <a:pt x="25" y="29"/>
                      </a:cubicBezTo>
                      <a:cubicBezTo>
                        <a:pt x="25" y="28"/>
                        <a:pt x="25" y="27"/>
                        <a:pt x="25" y="26"/>
                      </a:cubicBezTo>
                      <a:cubicBezTo>
                        <a:pt x="15" y="19"/>
                        <a:pt x="6" y="10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</p:grpSp>
          <p:sp>
            <p:nvSpPr>
              <p:cNvPr id="110" name="Freeform 209"/>
              <p:cNvSpPr>
                <a:spLocks noEditPoints="1"/>
              </p:cNvSpPr>
              <p:nvPr/>
            </p:nvSpPr>
            <p:spPr bwMode="auto">
              <a:xfrm>
                <a:off x="7032625" y="4046538"/>
                <a:ext cx="709611" cy="709611"/>
              </a:xfrm>
              <a:custGeom>
                <a:avLst/>
                <a:gdLst/>
                <a:ahLst/>
                <a:cxnLst>
                  <a:cxn ang="0">
                    <a:pos x="114" y="40"/>
                  </a:cxn>
                  <a:cxn ang="0">
                    <a:pos x="109" y="41"/>
                  </a:cxn>
                  <a:cxn ang="0">
                    <a:pos x="103" y="34"/>
                  </a:cxn>
                  <a:cxn ang="0">
                    <a:pos x="109" y="25"/>
                  </a:cxn>
                  <a:cxn ang="0">
                    <a:pos x="96" y="16"/>
                  </a:cxn>
                  <a:cxn ang="0">
                    <a:pos x="88" y="19"/>
                  </a:cxn>
                  <a:cxn ang="0">
                    <a:pos x="87" y="10"/>
                  </a:cxn>
                  <a:cxn ang="0">
                    <a:pos x="74" y="2"/>
                  </a:cxn>
                  <a:cxn ang="0">
                    <a:pos x="70" y="3"/>
                  </a:cxn>
                  <a:cxn ang="0">
                    <a:pos x="59" y="10"/>
                  </a:cxn>
                  <a:cxn ang="0">
                    <a:pos x="55" y="0"/>
                  </a:cxn>
                  <a:cxn ang="0">
                    <a:pos x="47" y="2"/>
                  </a:cxn>
                  <a:cxn ang="0">
                    <a:pos x="45" y="2"/>
                  </a:cxn>
                  <a:cxn ang="0">
                    <a:pos x="40" y="6"/>
                  </a:cxn>
                  <a:cxn ang="0">
                    <a:pos x="34" y="16"/>
                  </a:cxn>
                  <a:cxn ang="0">
                    <a:pos x="26" y="11"/>
                  </a:cxn>
                  <a:cxn ang="0">
                    <a:pos x="16" y="19"/>
                  </a:cxn>
                  <a:cxn ang="0">
                    <a:pos x="21" y="29"/>
                  </a:cxn>
                  <a:cxn ang="0">
                    <a:pos x="14" y="34"/>
                  </a:cxn>
                  <a:cxn ang="0">
                    <a:pos x="6" y="34"/>
                  </a:cxn>
                  <a:cxn ang="0">
                    <a:pos x="2" y="46"/>
                  </a:cxn>
                  <a:cxn ang="0">
                    <a:pos x="10" y="52"/>
                  </a:cxn>
                  <a:cxn ang="0">
                    <a:pos x="3" y="61"/>
                  </a:cxn>
                  <a:cxn ang="0">
                    <a:pos x="2" y="77"/>
                  </a:cxn>
                  <a:cxn ang="0">
                    <a:pos x="13" y="78"/>
                  </a:cxn>
                  <a:cxn ang="0">
                    <a:pos x="11" y="89"/>
                  </a:cxn>
                  <a:cxn ang="0">
                    <a:pos x="19" y="103"/>
                  </a:cxn>
                  <a:cxn ang="0">
                    <a:pos x="29" y="99"/>
                  </a:cxn>
                  <a:cxn ang="0">
                    <a:pos x="33" y="110"/>
                  </a:cxn>
                  <a:cxn ang="0">
                    <a:pos x="46" y="118"/>
                  </a:cxn>
                  <a:cxn ang="0">
                    <a:pos x="52" y="109"/>
                  </a:cxn>
                  <a:cxn ang="0">
                    <a:pos x="61" y="117"/>
                  </a:cxn>
                  <a:cxn ang="0">
                    <a:pos x="77" y="117"/>
                  </a:cxn>
                  <a:cxn ang="0">
                    <a:pos x="78" y="106"/>
                  </a:cxn>
                  <a:cxn ang="0">
                    <a:pos x="90" y="108"/>
                  </a:cxn>
                  <a:cxn ang="0">
                    <a:pos x="103" y="101"/>
                  </a:cxn>
                  <a:cxn ang="0">
                    <a:pos x="99" y="91"/>
                  </a:cxn>
                  <a:cxn ang="0">
                    <a:pos x="110" y="87"/>
                  </a:cxn>
                  <a:cxn ang="0">
                    <a:pos x="118" y="73"/>
                  </a:cxn>
                  <a:cxn ang="0">
                    <a:pos x="109" y="67"/>
                  </a:cxn>
                  <a:cxn ang="0">
                    <a:pos x="117" y="58"/>
                  </a:cxn>
                  <a:cxn ang="0">
                    <a:pos x="117" y="44"/>
                  </a:cxn>
                  <a:cxn ang="0">
                    <a:pos x="23" y="67"/>
                  </a:cxn>
                  <a:cxn ang="0">
                    <a:pos x="24" y="47"/>
                  </a:cxn>
                  <a:cxn ang="0">
                    <a:pos x="50" y="23"/>
                  </a:cxn>
                  <a:cxn ang="0">
                    <a:pos x="51" y="39"/>
                  </a:cxn>
                  <a:cxn ang="0">
                    <a:pos x="47" y="41"/>
                  </a:cxn>
                  <a:cxn ang="0">
                    <a:pos x="37" y="60"/>
                  </a:cxn>
                  <a:cxn ang="0">
                    <a:pos x="66" y="97"/>
                  </a:cxn>
                  <a:cxn ang="0">
                    <a:pos x="48" y="79"/>
                  </a:cxn>
                  <a:cxn ang="0">
                    <a:pos x="68" y="81"/>
                  </a:cxn>
                  <a:cxn ang="0">
                    <a:pos x="66" y="97"/>
                  </a:cxn>
                  <a:cxn ang="0">
                    <a:pos x="82" y="64"/>
                  </a:cxn>
                  <a:cxn ang="0">
                    <a:pos x="74" y="42"/>
                  </a:cxn>
                  <a:cxn ang="0">
                    <a:pos x="74" y="25"/>
                  </a:cxn>
                  <a:cxn ang="0">
                    <a:pos x="89" y="36"/>
                  </a:cxn>
                  <a:cxn ang="0">
                    <a:pos x="97" y="53"/>
                  </a:cxn>
                </a:cxnLst>
                <a:rect l="0" t="0" r="r" b="b"/>
                <a:pathLst>
                  <a:path w="119" h="119">
                    <a:moveTo>
                      <a:pt x="117" y="42"/>
                    </a:moveTo>
                    <a:cubicBezTo>
                      <a:pt x="117" y="41"/>
                      <a:pt x="115" y="40"/>
                      <a:pt x="114" y="40"/>
                    </a:cubicBezTo>
                    <a:cubicBezTo>
                      <a:pt x="114" y="40"/>
                      <a:pt x="113" y="40"/>
                      <a:pt x="113" y="40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6" y="41"/>
                      <a:pt x="106" y="41"/>
                      <a:pt x="106" y="41"/>
                    </a:cubicBezTo>
                    <a:cubicBezTo>
                      <a:pt x="105" y="39"/>
                      <a:pt x="104" y="37"/>
                      <a:pt x="103" y="34"/>
                    </a:cubicBezTo>
                    <a:cubicBezTo>
                      <a:pt x="108" y="30"/>
                      <a:pt x="108" y="30"/>
                      <a:pt x="108" y="30"/>
                    </a:cubicBezTo>
                    <a:cubicBezTo>
                      <a:pt x="110" y="29"/>
                      <a:pt x="110" y="27"/>
                      <a:pt x="109" y="25"/>
                    </a:cubicBezTo>
                    <a:cubicBezTo>
                      <a:pt x="101" y="16"/>
                      <a:pt x="101" y="16"/>
                      <a:pt x="101" y="16"/>
                    </a:cubicBezTo>
                    <a:cubicBezTo>
                      <a:pt x="100" y="15"/>
                      <a:pt x="98" y="15"/>
                      <a:pt x="96" y="16"/>
                    </a:cubicBezTo>
                    <a:cubicBezTo>
                      <a:pt x="91" y="21"/>
                      <a:pt x="91" y="21"/>
                      <a:pt x="91" y="21"/>
                    </a:cubicBezTo>
                    <a:cubicBezTo>
                      <a:pt x="90" y="20"/>
                      <a:pt x="89" y="19"/>
                      <a:pt x="88" y="19"/>
                    </a:cubicBezTo>
                    <a:cubicBezTo>
                      <a:pt x="87" y="18"/>
                      <a:pt x="86" y="17"/>
                      <a:pt x="84" y="16"/>
                    </a:cubicBezTo>
                    <a:cubicBezTo>
                      <a:pt x="87" y="10"/>
                      <a:pt x="87" y="10"/>
                      <a:pt x="87" y="10"/>
                    </a:cubicBezTo>
                    <a:cubicBezTo>
                      <a:pt x="87" y="8"/>
                      <a:pt x="87" y="6"/>
                      <a:pt x="85" y="6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2" y="1"/>
                      <a:pt x="70" y="2"/>
                      <a:pt x="70" y="3"/>
                    </a:cubicBezTo>
                    <a:cubicBezTo>
                      <a:pt x="67" y="10"/>
                      <a:pt x="67" y="10"/>
                      <a:pt x="67" y="10"/>
                    </a:cubicBezTo>
                    <a:cubicBezTo>
                      <a:pt x="65" y="10"/>
                      <a:pt x="62" y="10"/>
                      <a:pt x="59" y="10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58" y="1"/>
                      <a:pt x="56" y="0"/>
                      <a:pt x="55" y="0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1" y="3"/>
                      <a:pt x="40" y="4"/>
                      <a:pt x="40" y="6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9" y="14"/>
                      <a:pt x="37" y="15"/>
                      <a:pt x="34" y="16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10"/>
                      <a:pt x="27" y="10"/>
                      <a:pt x="26" y="11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5" y="20"/>
                      <a:pt x="15" y="22"/>
                      <a:pt x="16" y="23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19" y="31"/>
                      <a:pt x="18" y="33"/>
                      <a:pt x="16" y="35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8" y="32"/>
                      <a:pt x="6" y="33"/>
                      <a:pt x="6" y="3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1" y="47"/>
                      <a:pt x="2" y="49"/>
                      <a:pt x="3" y="50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0" y="55"/>
                      <a:pt x="10" y="57"/>
                      <a:pt x="10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0" y="63"/>
                      <a:pt x="0" y="65"/>
                    </a:cubicBezTo>
                    <a:cubicBezTo>
                      <a:pt x="2" y="77"/>
                      <a:pt x="2" y="77"/>
                      <a:pt x="2" y="77"/>
                    </a:cubicBezTo>
                    <a:cubicBezTo>
                      <a:pt x="3" y="78"/>
                      <a:pt x="4" y="80"/>
                      <a:pt x="6" y="79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4" y="80"/>
                      <a:pt x="15" y="83"/>
                      <a:pt x="17" y="85"/>
                    </a:cubicBezTo>
                    <a:cubicBezTo>
                      <a:pt x="11" y="89"/>
                      <a:pt x="11" y="89"/>
                      <a:pt x="11" y="89"/>
                    </a:cubicBezTo>
                    <a:cubicBezTo>
                      <a:pt x="10" y="91"/>
                      <a:pt x="10" y="92"/>
                      <a:pt x="11" y="94"/>
                    </a:cubicBezTo>
                    <a:cubicBezTo>
                      <a:pt x="19" y="103"/>
                      <a:pt x="19" y="103"/>
                      <a:pt x="19" y="103"/>
                    </a:cubicBezTo>
                    <a:cubicBezTo>
                      <a:pt x="20" y="104"/>
                      <a:pt x="22" y="105"/>
                      <a:pt x="23" y="103"/>
                    </a:cubicBezTo>
                    <a:cubicBezTo>
                      <a:pt x="29" y="99"/>
                      <a:pt x="29" y="99"/>
                      <a:pt x="29" y="99"/>
                    </a:cubicBezTo>
                    <a:cubicBezTo>
                      <a:pt x="31" y="100"/>
                      <a:pt x="33" y="102"/>
                      <a:pt x="35" y="103"/>
                    </a:cubicBezTo>
                    <a:cubicBezTo>
                      <a:pt x="33" y="110"/>
                      <a:pt x="33" y="110"/>
                      <a:pt x="33" y="110"/>
                    </a:cubicBezTo>
                    <a:cubicBezTo>
                      <a:pt x="32" y="111"/>
                      <a:pt x="33" y="113"/>
                      <a:pt x="34" y="114"/>
                    </a:cubicBezTo>
                    <a:cubicBezTo>
                      <a:pt x="46" y="118"/>
                      <a:pt x="46" y="118"/>
                      <a:pt x="46" y="118"/>
                    </a:cubicBezTo>
                    <a:cubicBezTo>
                      <a:pt x="48" y="118"/>
                      <a:pt x="49" y="118"/>
                      <a:pt x="50" y="116"/>
                    </a:cubicBezTo>
                    <a:cubicBezTo>
                      <a:pt x="52" y="109"/>
                      <a:pt x="52" y="109"/>
                      <a:pt x="52" y="109"/>
                    </a:cubicBezTo>
                    <a:cubicBezTo>
                      <a:pt x="55" y="109"/>
                      <a:pt x="57" y="110"/>
                      <a:pt x="60" y="110"/>
                    </a:cubicBezTo>
                    <a:cubicBezTo>
                      <a:pt x="61" y="117"/>
                      <a:pt x="61" y="117"/>
                      <a:pt x="61" y="117"/>
                    </a:cubicBezTo>
                    <a:cubicBezTo>
                      <a:pt x="62" y="118"/>
                      <a:pt x="63" y="119"/>
                      <a:pt x="65" y="119"/>
                    </a:cubicBezTo>
                    <a:cubicBezTo>
                      <a:pt x="77" y="117"/>
                      <a:pt x="77" y="117"/>
                      <a:pt x="77" y="117"/>
                    </a:cubicBezTo>
                    <a:cubicBezTo>
                      <a:pt x="79" y="117"/>
                      <a:pt x="80" y="115"/>
                      <a:pt x="79" y="113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80" y="105"/>
                      <a:pt x="83" y="104"/>
                      <a:pt x="85" y="103"/>
                    </a:cubicBezTo>
                    <a:cubicBezTo>
                      <a:pt x="90" y="108"/>
                      <a:pt x="90" y="108"/>
                      <a:pt x="90" y="108"/>
                    </a:cubicBezTo>
                    <a:cubicBezTo>
                      <a:pt x="91" y="109"/>
                      <a:pt x="93" y="110"/>
                      <a:pt x="94" y="108"/>
                    </a:cubicBezTo>
                    <a:cubicBezTo>
                      <a:pt x="103" y="101"/>
                      <a:pt x="103" y="101"/>
                      <a:pt x="103" y="101"/>
                    </a:cubicBezTo>
                    <a:cubicBezTo>
                      <a:pt x="104" y="100"/>
                      <a:pt x="105" y="98"/>
                      <a:pt x="104" y="96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0" y="89"/>
                      <a:pt x="102" y="87"/>
                      <a:pt x="103" y="84"/>
                    </a:cubicBezTo>
                    <a:cubicBezTo>
                      <a:pt x="110" y="87"/>
                      <a:pt x="110" y="87"/>
                      <a:pt x="110" y="87"/>
                    </a:cubicBezTo>
                    <a:cubicBezTo>
                      <a:pt x="111" y="87"/>
                      <a:pt x="113" y="86"/>
                      <a:pt x="114" y="85"/>
                    </a:cubicBezTo>
                    <a:cubicBezTo>
                      <a:pt x="118" y="73"/>
                      <a:pt x="118" y="73"/>
                      <a:pt x="118" y="73"/>
                    </a:cubicBezTo>
                    <a:cubicBezTo>
                      <a:pt x="118" y="72"/>
                      <a:pt x="118" y="70"/>
                      <a:pt x="116" y="69"/>
                    </a:cubicBezTo>
                    <a:cubicBezTo>
                      <a:pt x="109" y="67"/>
                      <a:pt x="109" y="67"/>
                      <a:pt x="109" y="67"/>
                    </a:cubicBezTo>
                    <a:cubicBezTo>
                      <a:pt x="110" y="64"/>
                      <a:pt x="110" y="62"/>
                      <a:pt x="110" y="59"/>
                    </a:cubicBezTo>
                    <a:cubicBezTo>
                      <a:pt x="117" y="58"/>
                      <a:pt x="117" y="58"/>
                      <a:pt x="117" y="58"/>
                    </a:cubicBezTo>
                    <a:cubicBezTo>
                      <a:pt x="118" y="58"/>
                      <a:pt x="119" y="56"/>
                      <a:pt x="119" y="54"/>
                    </a:cubicBezTo>
                    <a:cubicBezTo>
                      <a:pt x="117" y="44"/>
                      <a:pt x="117" y="44"/>
                      <a:pt x="117" y="44"/>
                    </a:cubicBezTo>
                    <a:lnTo>
                      <a:pt x="117" y="42"/>
                    </a:lnTo>
                    <a:close/>
                    <a:moveTo>
                      <a:pt x="23" y="67"/>
                    </a:moveTo>
                    <a:cubicBezTo>
                      <a:pt x="23" y="66"/>
                      <a:pt x="23" y="66"/>
                      <a:pt x="23" y="66"/>
                    </a:cubicBezTo>
                    <a:cubicBezTo>
                      <a:pt x="22" y="60"/>
                      <a:pt x="22" y="53"/>
                      <a:pt x="24" y="47"/>
                    </a:cubicBezTo>
                    <a:cubicBezTo>
                      <a:pt x="28" y="37"/>
                      <a:pt x="36" y="28"/>
                      <a:pt x="47" y="24"/>
                    </a:cubicBezTo>
                    <a:cubicBezTo>
                      <a:pt x="48" y="24"/>
                      <a:pt x="49" y="24"/>
                      <a:pt x="50" y="23"/>
                    </a:cubicBezTo>
                    <a:cubicBezTo>
                      <a:pt x="51" y="23"/>
                      <a:pt x="52" y="23"/>
                      <a:pt x="52" y="23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49" y="39"/>
                      <a:pt x="48" y="40"/>
                      <a:pt x="47" y="41"/>
                    </a:cubicBezTo>
                    <a:cubicBezTo>
                      <a:pt x="42" y="44"/>
                      <a:pt x="39" y="50"/>
                      <a:pt x="38" y="56"/>
                    </a:cubicBezTo>
                    <a:cubicBezTo>
                      <a:pt x="37" y="57"/>
                      <a:pt x="37" y="59"/>
                      <a:pt x="37" y="60"/>
                    </a:cubicBezTo>
                    <a:lnTo>
                      <a:pt x="23" y="67"/>
                    </a:lnTo>
                    <a:close/>
                    <a:moveTo>
                      <a:pt x="66" y="97"/>
                    </a:moveTo>
                    <a:cubicBezTo>
                      <a:pt x="54" y="99"/>
                      <a:pt x="41" y="95"/>
                      <a:pt x="33" y="86"/>
                    </a:cubicBezTo>
                    <a:cubicBezTo>
                      <a:pt x="48" y="79"/>
                      <a:pt x="48" y="79"/>
                      <a:pt x="48" y="79"/>
                    </a:cubicBezTo>
                    <a:cubicBezTo>
                      <a:pt x="52" y="82"/>
                      <a:pt x="58" y="83"/>
                      <a:pt x="64" y="82"/>
                    </a:cubicBezTo>
                    <a:cubicBezTo>
                      <a:pt x="65" y="82"/>
                      <a:pt x="67" y="81"/>
                      <a:pt x="68" y="81"/>
                    </a:cubicBezTo>
                    <a:cubicBezTo>
                      <a:pt x="82" y="90"/>
                      <a:pt x="82" y="90"/>
                      <a:pt x="82" y="90"/>
                    </a:cubicBezTo>
                    <a:cubicBezTo>
                      <a:pt x="77" y="93"/>
                      <a:pt x="72" y="96"/>
                      <a:pt x="66" y="97"/>
                    </a:cubicBezTo>
                    <a:close/>
                    <a:moveTo>
                      <a:pt x="95" y="73"/>
                    </a:moveTo>
                    <a:cubicBezTo>
                      <a:pt x="82" y="64"/>
                      <a:pt x="82" y="64"/>
                      <a:pt x="82" y="64"/>
                    </a:cubicBezTo>
                    <a:cubicBezTo>
                      <a:pt x="82" y="62"/>
                      <a:pt x="83" y="59"/>
                      <a:pt x="82" y="56"/>
                    </a:cubicBezTo>
                    <a:cubicBezTo>
                      <a:pt x="81" y="50"/>
                      <a:pt x="78" y="45"/>
                      <a:pt x="74" y="42"/>
                    </a:cubicBezTo>
                    <a:cubicBezTo>
                      <a:pt x="73" y="42"/>
                      <a:pt x="73" y="41"/>
                      <a:pt x="72" y="41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80" y="27"/>
                      <a:pt x="85" y="31"/>
                      <a:pt x="89" y="36"/>
                    </a:cubicBezTo>
                    <a:cubicBezTo>
                      <a:pt x="91" y="38"/>
                      <a:pt x="93" y="41"/>
                      <a:pt x="94" y="44"/>
                    </a:cubicBezTo>
                    <a:cubicBezTo>
                      <a:pt x="95" y="47"/>
                      <a:pt x="96" y="50"/>
                      <a:pt x="97" y="53"/>
                    </a:cubicBezTo>
                    <a:cubicBezTo>
                      <a:pt x="98" y="60"/>
                      <a:pt x="97" y="67"/>
                      <a:pt x="95" y="7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</p:grpSp>
        <p:grpSp>
          <p:nvGrpSpPr>
            <p:cNvPr id="81" name="Group 4"/>
            <p:cNvGrpSpPr>
              <a:grpSpLocks noChangeAspect="1"/>
            </p:cNvGrpSpPr>
            <p:nvPr userDrawn="1"/>
          </p:nvGrpSpPr>
          <p:grpSpPr bwMode="auto">
            <a:xfrm>
              <a:off x="713661" y="113741"/>
              <a:ext cx="69318" cy="90152"/>
              <a:chOff x="3655" y="1900"/>
              <a:chExt cx="366" cy="476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93" name="Freeform 5"/>
              <p:cNvSpPr>
                <a:spLocks noEditPoints="1"/>
              </p:cNvSpPr>
              <p:nvPr/>
            </p:nvSpPr>
            <p:spPr bwMode="auto">
              <a:xfrm>
                <a:off x="3953" y="1971"/>
                <a:ext cx="68" cy="132"/>
              </a:xfrm>
              <a:custGeom>
                <a:avLst/>
                <a:gdLst>
                  <a:gd name="T0" fmla="*/ 31 w 38"/>
                  <a:gd name="T1" fmla="*/ 74 h 74"/>
                  <a:gd name="T2" fmla="*/ 27 w 38"/>
                  <a:gd name="T3" fmla="*/ 73 h 74"/>
                  <a:gd name="T4" fmla="*/ 18 w 38"/>
                  <a:gd name="T5" fmla="*/ 52 h 74"/>
                  <a:gd name="T6" fmla="*/ 17 w 38"/>
                  <a:gd name="T7" fmla="*/ 49 h 74"/>
                  <a:gd name="T8" fmla="*/ 2 w 38"/>
                  <a:gd name="T9" fmla="*/ 10 h 74"/>
                  <a:gd name="T10" fmla="*/ 4 w 38"/>
                  <a:gd name="T11" fmla="*/ 2 h 74"/>
                  <a:gd name="T12" fmla="*/ 12 w 38"/>
                  <a:gd name="T13" fmla="*/ 4 h 74"/>
                  <a:gd name="T14" fmla="*/ 29 w 38"/>
                  <a:gd name="T15" fmla="*/ 46 h 74"/>
                  <a:gd name="T16" fmla="*/ 29 w 38"/>
                  <a:gd name="T17" fmla="*/ 48 h 74"/>
                  <a:gd name="T18" fmla="*/ 30 w 38"/>
                  <a:gd name="T19" fmla="*/ 49 h 74"/>
                  <a:gd name="T20" fmla="*/ 34 w 38"/>
                  <a:gd name="T21" fmla="*/ 63 h 74"/>
                  <a:gd name="T22" fmla="*/ 36 w 38"/>
                  <a:gd name="T23" fmla="*/ 72 h 74"/>
                  <a:gd name="T24" fmla="*/ 31 w 38"/>
                  <a:gd name="T25" fmla="*/ 74 h 74"/>
                  <a:gd name="T26" fmla="*/ 31 w 38"/>
                  <a:gd name="T27" fmla="*/ 74 h 74"/>
                  <a:gd name="T28" fmla="*/ 31 w 38"/>
                  <a:gd name="T2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74">
                    <a:moveTo>
                      <a:pt x="31" y="74"/>
                    </a:moveTo>
                    <a:cubicBezTo>
                      <a:pt x="29" y="74"/>
                      <a:pt x="28" y="74"/>
                      <a:pt x="27" y="73"/>
                    </a:cubicBezTo>
                    <a:cubicBezTo>
                      <a:pt x="23" y="70"/>
                      <a:pt x="19" y="60"/>
                      <a:pt x="18" y="52"/>
                    </a:cubicBezTo>
                    <a:cubicBezTo>
                      <a:pt x="17" y="52"/>
                      <a:pt x="17" y="51"/>
                      <a:pt x="17" y="49"/>
                    </a:cubicBezTo>
                    <a:cubicBezTo>
                      <a:pt x="15" y="43"/>
                      <a:pt x="11" y="26"/>
                      <a:pt x="2" y="10"/>
                    </a:cubicBezTo>
                    <a:cubicBezTo>
                      <a:pt x="0" y="7"/>
                      <a:pt x="1" y="3"/>
                      <a:pt x="4" y="2"/>
                    </a:cubicBezTo>
                    <a:cubicBezTo>
                      <a:pt x="7" y="0"/>
                      <a:pt x="11" y="1"/>
                      <a:pt x="12" y="4"/>
                    </a:cubicBezTo>
                    <a:cubicBezTo>
                      <a:pt x="23" y="21"/>
                      <a:pt x="27" y="39"/>
                      <a:pt x="29" y="46"/>
                    </a:cubicBezTo>
                    <a:cubicBezTo>
                      <a:pt x="29" y="47"/>
                      <a:pt x="29" y="48"/>
                      <a:pt x="29" y="48"/>
                    </a:cubicBezTo>
                    <a:cubicBezTo>
                      <a:pt x="29" y="48"/>
                      <a:pt x="30" y="49"/>
                      <a:pt x="30" y="49"/>
                    </a:cubicBezTo>
                    <a:cubicBezTo>
                      <a:pt x="31" y="55"/>
                      <a:pt x="33" y="62"/>
                      <a:pt x="34" y="63"/>
                    </a:cubicBezTo>
                    <a:cubicBezTo>
                      <a:pt x="37" y="65"/>
                      <a:pt x="38" y="69"/>
                      <a:pt x="36" y="72"/>
                    </a:cubicBezTo>
                    <a:cubicBezTo>
                      <a:pt x="34" y="73"/>
                      <a:pt x="32" y="74"/>
                      <a:pt x="31" y="74"/>
                    </a:cubicBezTo>
                    <a:close/>
                    <a:moveTo>
                      <a:pt x="31" y="74"/>
                    </a:moveTo>
                    <a:cubicBezTo>
                      <a:pt x="31" y="74"/>
                      <a:pt x="31" y="74"/>
                      <a:pt x="31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94" name="Freeform 6"/>
              <p:cNvSpPr>
                <a:spLocks noEditPoints="1"/>
              </p:cNvSpPr>
              <p:nvPr/>
            </p:nvSpPr>
            <p:spPr bwMode="auto">
              <a:xfrm>
                <a:off x="3810" y="1900"/>
                <a:ext cx="143" cy="62"/>
              </a:xfrm>
              <a:custGeom>
                <a:avLst/>
                <a:gdLst>
                  <a:gd name="T0" fmla="*/ 74 w 80"/>
                  <a:gd name="T1" fmla="*/ 35 h 35"/>
                  <a:gd name="T2" fmla="*/ 69 w 80"/>
                  <a:gd name="T3" fmla="*/ 34 h 35"/>
                  <a:gd name="T4" fmla="*/ 25 w 80"/>
                  <a:gd name="T5" fmla="*/ 12 h 35"/>
                  <a:gd name="T6" fmla="*/ 8 w 80"/>
                  <a:gd name="T7" fmla="*/ 14 h 35"/>
                  <a:gd name="T8" fmla="*/ 1 w 80"/>
                  <a:gd name="T9" fmla="*/ 9 h 35"/>
                  <a:gd name="T10" fmla="*/ 6 w 80"/>
                  <a:gd name="T11" fmla="*/ 2 h 35"/>
                  <a:gd name="T12" fmla="*/ 26 w 80"/>
                  <a:gd name="T13" fmla="*/ 0 h 35"/>
                  <a:gd name="T14" fmla="*/ 26 w 80"/>
                  <a:gd name="T15" fmla="*/ 0 h 35"/>
                  <a:gd name="T16" fmla="*/ 78 w 80"/>
                  <a:gd name="T17" fmla="*/ 25 h 35"/>
                  <a:gd name="T18" fmla="*/ 78 w 80"/>
                  <a:gd name="T19" fmla="*/ 34 h 35"/>
                  <a:gd name="T20" fmla="*/ 74 w 80"/>
                  <a:gd name="T21" fmla="*/ 35 h 35"/>
                  <a:gd name="T22" fmla="*/ 74 w 80"/>
                  <a:gd name="T23" fmla="*/ 35 h 35"/>
                  <a:gd name="T24" fmla="*/ 74 w 80"/>
                  <a:gd name="T2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35">
                    <a:moveTo>
                      <a:pt x="74" y="35"/>
                    </a:moveTo>
                    <a:cubicBezTo>
                      <a:pt x="72" y="35"/>
                      <a:pt x="70" y="35"/>
                      <a:pt x="69" y="34"/>
                    </a:cubicBezTo>
                    <a:cubicBezTo>
                      <a:pt x="57" y="21"/>
                      <a:pt x="42" y="14"/>
                      <a:pt x="25" y="12"/>
                    </a:cubicBezTo>
                    <a:cubicBezTo>
                      <a:pt x="19" y="12"/>
                      <a:pt x="14" y="13"/>
                      <a:pt x="8" y="14"/>
                    </a:cubicBezTo>
                    <a:cubicBezTo>
                      <a:pt x="5" y="14"/>
                      <a:pt x="2" y="12"/>
                      <a:pt x="1" y="9"/>
                    </a:cubicBezTo>
                    <a:cubicBezTo>
                      <a:pt x="0" y="5"/>
                      <a:pt x="3" y="2"/>
                      <a:pt x="6" y="2"/>
                    </a:cubicBezTo>
                    <a:cubicBezTo>
                      <a:pt x="12" y="0"/>
                      <a:pt x="19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46" y="2"/>
                      <a:pt x="64" y="10"/>
                      <a:pt x="78" y="25"/>
                    </a:cubicBezTo>
                    <a:cubicBezTo>
                      <a:pt x="80" y="27"/>
                      <a:pt x="80" y="31"/>
                      <a:pt x="78" y="34"/>
                    </a:cubicBezTo>
                    <a:cubicBezTo>
                      <a:pt x="77" y="35"/>
                      <a:pt x="75" y="35"/>
                      <a:pt x="74" y="35"/>
                    </a:cubicBezTo>
                    <a:close/>
                    <a:moveTo>
                      <a:pt x="74" y="35"/>
                    </a:moveTo>
                    <a:cubicBezTo>
                      <a:pt x="74" y="35"/>
                      <a:pt x="74" y="35"/>
                      <a:pt x="74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95" name="Freeform 7"/>
              <p:cNvSpPr>
                <a:spLocks noEditPoints="1"/>
              </p:cNvSpPr>
              <p:nvPr/>
            </p:nvSpPr>
            <p:spPr bwMode="auto">
              <a:xfrm>
                <a:off x="3657" y="1927"/>
                <a:ext cx="120" cy="119"/>
              </a:xfrm>
              <a:custGeom>
                <a:avLst/>
                <a:gdLst>
                  <a:gd name="T0" fmla="*/ 6 w 67"/>
                  <a:gd name="T1" fmla="*/ 67 h 67"/>
                  <a:gd name="T2" fmla="*/ 5 w 67"/>
                  <a:gd name="T3" fmla="*/ 67 h 67"/>
                  <a:gd name="T4" fmla="*/ 0 w 67"/>
                  <a:gd name="T5" fmla="*/ 62 h 67"/>
                  <a:gd name="T6" fmla="*/ 3 w 67"/>
                  <a:gd name="T7" fmla="*/ 56 h 67"/>
                  <a:gd name="T8" fmla="*/ 4 w 67"/>
                  <a:gd name="T9" fmla="*/ 55 h 67"/>
                  <a:gd name="T10" fmla="*/ 14 w 67"/>
                  <a:gd name="T11" fmla="*/ 46 h 67"/>
                  <a:gd name="T12" fmla="*/ 15 w 67"/>
                  <a:gd name="T13" fmla="*/ 44 h 67"/>
                  <a:gd name="T14" fmla="*/ 24 w 67"/>
                  <a:gd name="T15" fmla="*/ 33 h 67"/>
                  <a:gd name="T16" fmla="*/ 56 w 67"/>
                  <a:gd name="T17" fmla="*/ 2 h 67"/>
                  <a:gd name="T18" fmla="*/ 65 w 67"/>
                  <a:gd name="T19" fmla="*/ 3 h 67"/>
                  <a:gd name="T20" fmla="*/ 63 w 67"/>
                  <a:gd name="T21" fmla="*/ 12 h 67"/>
                  <a:gd name="T22" fmla="*/ 33 w 67"/>
                  <a:gd name="T23" fmla="*/ 41 h 67"/>
                  <a:gd name="T24" fmla="*/ 25 w 67"/>
                  <a:gd name="T25" fmla="*/ 51 h 67"/>
                  <a:gd name="T26" fmla="*/ 24 w 67"/>
                  <a:gd name="T27" fmla="*/ 53 h 67"/>
                  <a:gd name="T28" fmla="*/ 14 w 67"/>
                  <a:gd name="T29" fmla="*/ 63 h 67"/>
                  <a:gd name="T30" fmla="*/ 6 w 67"/>
                  <a:gd name="T31" fmla="*/ 67 h 67"/>
                  <a:gd name="T32" fmla="*/ 6 w 67"/>
                  <a:gd name="T33" fmla="*/ 67 h 67"/>
                  <a:gd name="T34" fmla="*/ 6 w 67"/>
                  <a:gd name="T3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7" h="67">
                    <a:moveTo>
                      <a:pt x="6" y="67"/>
                    </a:moveTo>
                    <a:cubicBezTo>
                      <a:pt x="6" y="67"/>
                      <a:pt x="6" y="67"/>
                      <a:pt x="5" y="67"/>
                    </a:cubicBezTo>
                    <a:cubicBezTo>
                      <a:pt x="3" y="66"/>
                      <a:pt x="1" y="64"/>
                      <a:pt x="0" y="62"/>
                    </a:cubicBezTo>
                    <a:cubicBezTo>
                      <a:pt x="0" y="59"/>
                      <a:pt x="1" y="57"/>
                      <a:pt x="3" y="56"/>
                    </a:cubicBezTo>
                    <a:cubicBezTo>
                      <a:pt x="3" y="55"/>
                      <a:pt x="4" y="55"/>
                      <a:pt x="4" y="55"/>
                    </a:cubicBezTo>
                    <a:cubicBezTo>
                      <a:pt x="6" y="54"/>
                      <a:pt x="10" y="51"/>
                      <a:pt x="14" y="46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8" y="41"/>
                      <a:pt x="20" y="37"/>
                      <a:pt x="24" y="33"/>
                    </a:cubicBezTo>
                    <a:cubicBezTo>
                      <a:pt x="34" y="20"/>
                      <a:pt x="45" y="10"/>
                      <a:pt x="56" y="2"/>
                    </a:cubicBezTo>
                    <a:cubicBezTo>
                      <a:pt x="59" y="0"/>
                      <a:pt x="63" y="1"/>
                      <a:pt x="65" y="3"/>
                    </a:cubicBezTo>
                    <a:cubicBezTo>
                      <a:pt x="67" y="6"/>
                      <a:pt x="66" y="10"/>
                      <a:pt x="63" y="12"/>
                    </a:cubicBezTo>
                    <a:cubicBezTo>
                      <a:pt x="53" y="19"/>
                      <a:pt x="43" y="29"/>
                      <a:pt x="33" y="41"/>
                    </a:cubicBezTo>
                    <a:cubicBezTo>
                      <a:pt x="30" y="45"/>
                      <a:pt x="27" y="48"/>
                      <a:pt x="25" y="51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0" y="58"/>
                      <a:pt x="17" y="61"/>
                      <a:pt x="14" y="63"/>
                    </a:cubicBezTo>
                    <a:cubicBezTo>
                      <a:pt x="10" y="66"/>
                      <a:pt x="8" y="67"/>
                      <a:pt x="6" y="67"/>
                    </a:cubicBezTo>
                    <a:close/>
                    <a:moveTo>
                      <a:pt x="6" y="67"/>
                    </a:moveTo>
                    <a:cubicBezTo>
                      <a:pt x="6" y="67"/>
                      <a:pt x="6" y="67"/>
                      <a:pt x="6" y="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96" name="Freeform 8"/>
              <p:cNvSpPr>
                <a:spLocks noEditPoints="1"/>
              </p:cNvSpPr>
              <p:nvPr/>
            </p:nvSpPr>
            <p:spPr bwMode="auto">
              <a:xfrm>
                <a:off x="3655" y="2114"/>
                <a:ext cx="81" cy="44"/>
              </a:xfrm>
              <a:custGeom>
                <a:avLst/>
                <a:gdLst>
                  <a:gd name="T0" fmla="*/ 7 w 45"/>
                  <a:gd name="T1" fmla="*/ 25 h 25"/>
                  <a:gd name="T2" fmla="*/ 1 w 45"/>
                  <a:gd name="T3" fmla="*/ 21 h 25"/>
                  <a:gd name="T4" fmla="*/ 6 w 45"/>
                  <a:gd name="T5" fmla="*/ 13 h 25"/>
                  <a:gd name="T6" fmla="*/ 35 w 45"/>
                  <a:gd name="T7" fmla="*/ 1 h 25"/>
                  <a:gd name="T8" fmla="*/ 44 w 45"/>
                  <a:gd name="T9" fmla="*/ 4 h 25"/>
                  <a:gd name="T10" fmla="*/ 41 w 45"/>
                  <a:gd name="T11" fmla="*/ 12 h 25"/>
                  <a:gd name="T12" fmla="*/ 9 w 45"/>
                  <a:gd name="T13" fmla="*/ 25 h 25"/>
                  <a:gd name="T14" fmla="*/ 7 w 45"/>
                  <a:gd name="T15" fmla="*/ 25 h 25"/>
                  <a:gd name="T16" fmla="*/ 7 w 45"/>
                  <a:gd name="T17" fmla="*/ 25 h 25"/>
                  <a:gd name="T18" fmla="*/ 7 w 45"/>
                  <a:gd name="T1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5" h="25">
                    <a:moveTo>
                      <a:pt x="7" y="25"/>
                    </a:moveTo>
                    <a:cubicBezTo>
                      <a:pt x="4" y="25"/>
                      <a:pt x="2" y="24"/>
                      <a:pt x="1" y="21"/>
                    </a:cubicBezTo>
                    <a:cubicBezTo>
                      <a:pt x="0" y="17"/>
                      <a:pt x="2" y="14"/>
                      <a:pt x="6" y="13"/>
                    </a:cubicBezTo>
                    <a:cubicBezTo>
                      <a:pt x="17" y="10"/>
                      <a:pt x="28" y="5"/>
                      <a:pt x="35" y="1"/>
                    </a:cubicBezTo>
                    <a:cubicBezTo>
                      <a:pt x="38" y="0"/>
                      <a:pt x="42" y="1"/>
                      <a:pt x="44" y="4"/>
                    </a:cubicBezTo>
                    <a:cubicBezTo>
                      <a:pt x="45" y="7"/>
                      <a:pt x="44" y="11"/>
                      <a:pt x="41" y="12"/>
                    </a:cubicBezTo>
                    <a:cubicBezTo>
                      <a:pt x="33" y="16"/>
                      <a:pt x="21" y="22"/>
                      <a:pt x="9" y="25"/>
                    </a:cubicBezTo>
                    <a:cubicBezTo>
                      <a:pt x="8" y="25"/>
                      <a:pt x="8" y="25"/>
                      <a:pt x="7" y="25"/>
                    </a:cubicBezTo>
                    <a:close/>
                    <a:moveTo>
                      <a:pt x="7" y="25"/>
                    </a:moveTo>
                    <a:cubicBezTo>
                      <a:pt x="7" y="25"/>
                      <a:pt x="7" y="25"/>
                      <a:pt x="7" y="2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97" name="Freeform 9"/>
              <p:cNvSpPr>
                <a:spLocks noEditPoints="1"/>
              </p:cNvSpPr>
              <p:nvPr/>
            </p:nvSpPr>
            <p:spPr bwMode="auto">
              <a:xfrm>
                <a:off x="3738" y="1989"/>
                <a:ext cx="211" cy="132"/>
              </a:xfrm>
              <a:custGeom>
                <a:avLst/>
                <a:gdLst>
                  <a:gd name="T0" fmla="*/ 7 w 118"/>
                  <a:gd name="T1" fmla="*/ 74 h 74"/>
                  <a:gd name="T2" fmla="*/ 2 w 118"/>
                  <a:gd name="T3" fmla="*/ 71 h 74"/>
                  <a:gd name="T4" fmla="*/ 3 w 118"/>
                  <a:gd name="T5" fmla="*/ 63 h 74"/>
                  <a:gd name="T6" fmla="*/ 45 w 118"/>
                  <a:gd name="T7" fmla="*/ 27 h 74"/>
                  <a:gd name="T8" fmla="*/ 94 w 118"/>
                  <a:gd name="T9" fmla="*/ 5 h 74"/>
                  <a:gd name="T10" fmla="*/ 117 w 118"/>
                  <a:gd name="T11" fmla="*/ 27 h 74"/>
                  <a:gd name="T12" fmla="*/ 113 w 118"/>
                  <a:gd name="T13" fmla="*/ 34 h 74"/>
                  <a:gd name="T14" fmla="*/ 105 w 118"/>
                  <a:gd name="T15" fmla="*/ 30 h 74"/>
                  <a:gd name="T16" fmla="*/ 90 w 118"/>
                  <a:gd name="T17" fmla="*/ 17 h 74"/>
                  <a:gd name="T18" fmla="*/ 54 w 118"/>
                  <a:gd name="T19" fmla="*/ 35 h 74"/>
                  <a:gd name="T20" fmla="*/ 10 w 118"/>
                  <a:gd name="T21" fmla="*/ 73 h 74"/>
                  <a:gd name="T22" fmla="*/ 7 w 118"/>
                  <a:gd name="T23" fmla="*/ 74 h 74"/>
                  <a:gd name="T24" fmla="*/ 7 w 118"/>
                  <a:gd name="T25" fmla="*/ 74 h 74"/>
                  <a:gd name="T26" fmla="*/ 7 w 118"/>
                  <a:gd name="T27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8" h="74">
                    <a:moveTo>
                      <a:pt x="7" y="74"/>
                    </a:moveTo>
                    <a:cubicBezTo>
                      <a:pt x="5" y="74"/>
                      <a:pt x="3" y="73"/>
                      <a:pt x="2" y="71"/>
                    </a:cubicBezTo>
                    <a:cubicBezTo>
                      <a:pt x="0" y="69"/>
                      <a:pt x="0" y="65"/>
                      <a:pt x="3" y="63"/>
                    </a:cubicBezTo>
                    <a:cubicBezTo>
                      <a:pt x="25" y="48"/>
                      <a:pt x="45" y="27"/>
                      <a:pt x="45" y="27"/>
                    </a:cubicBezTo>
                    <a:cubicBezTo>
                      <a:pt x="61" y="8"/>
                      <a:pt x="79" y="0"/>
                      <a:pt x="94" y="5"/>
                    </a:cubicBezTo>
                    <a:cubicBezTo>
                      <a:pt x="109" y="9"/>
                      <a:pt x="115" y="19"/>
                      <a:pt x="117" y="27"/>
                    </a:cubicBezTo>
                    <a:cubicBezTo>
                      <a:pt x="118" y="30"/>
                      <a:pt x="116" y="33"/>
                      <a:pt x="113" y="34"/>
                    </a:cubicBezTo>
                    <a:cubicBezTo>
                      <a:pt x="110" y="35"/>
                      <a:pt x="106" y="34"/>
                      <a:pt x="105" y="30"/>
                    </a:cubicBezTo>
                    <a:cubicBezTo>
                      <a:pt x="103" y="24"/>
                      <a:pt x="98" y="19"/>
                      <a:pt x="90" y="17"/>
                    </a:cubicBezTo>
                    <a:cubicBezTo>
                      <a:pt x="79" y="13"/>
                      <a:pt x="64" y="24"/>
                      <a:pt x="54" y="35"/>
                    </a:cubicBezTo>
                    <a:cubicBezTo>
                      <a:pt x="52" y="38"/>
                      <a:pt x="32" y="58"/>
                      <a:pt x="10" y="73"/>
                    </a:cubicBezTo>
                    <a:cubicBezTo>
                      <a:pt x="9" y="74"/>
                      <a:pt x="8" y="74"/>
                      <a:pt x="7" y="74"/>
                    </a:cubicBezTo>
                    <a:close/>
                    <a:moveTo>
                      <a:pt x="7" y="74"/>
                    </a:moveTo>
                    <a:cubicBezTo>
                      <a:pt x="7" y="74"/>
                      <a:pt x="7" y="74"/>
                      <a:pt x="7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98" name="Freeform 10"/>
              <p:cNvSpPr>
                <a:spLocks noEditPoints="1"/>
              </p:cNvSpPr>
              <p:nvPr/>
            </p:nvSpPr>
            <p:spPr bwMode="auto">
              <a:xfrm>
                <a:off x="3677" y="2071"/>
                <a:ext cx="269" cy="203"/>
              </a:xfrm>
              <a:custGeom>
                <a:avLst/>
                <a:gdLst>
                  <a:gd name="T0" fmla="*/ 7 w 150"/>
                  <a:gd name="T1" fmla="*/ 114 h 114"/>
                  <a:gd name="T2" fmla="*/ 1 w 150"/>
                  <a:gd name="T3" fmla="*/ 110 h 114"/>
                  <a:gd name="T4" fmla="*/ 4 w 150"/>
                  <a:gd name="T5" fmla="*/ 102 h 114"/>
                  <a:gd name="T6" fmla="*/ 82 w 150"/>
                  <a:gd name="T7" fmla="*/ 58 h 114"/>
                  <a:gd name="T8" fmla="*/ 138 w 150"/>
                  <a:gd name="T9" fmla="*/ 5 h 114"/>
                  <a:gd name="T10" fmla="*/ 146 w 150"/>
                  <a:gd name="T11" fmla="*/ 1 h 114"/>
                  <a:gd name="T12" fmla="*/ 149 w 150"/>
                  <a:gd name="T13" fmla="*/ 9 h 114"/>
                  <a:gd name="T14" fmla="*/ 89 w 150"/>
                  <a:gd name="T15" fmla="*/ 69 h 114"/>
                  <a:gd name="T16" fmla="*/ 9 w 150"/>
                  <a:gd name="T17" fmla="*/ 113 h 114"/>
                  <a:gd name="T18" fmla="*/ 7 w 150"/>
                  <a:gd name="T19" fmla="*/ 114 h 114"/>
                  <a:gd name="T20" fmla="*/ 7 w 150"/>
                  <a:gd name="T21" fmla="*/ 114 h 114"/>
                  <a:gd name="T22" fmla="*/ 7 w 150"/>
                  <a:gd name="T23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0" h="114">
                    <a:moveTo>
                      <a:pt x="7" y="114"/>
                    </a:moveTo>
                    <a:cubicBezTo>
                      <a:pt x="4" y="114"/>
                      <a:pt x="2" y="113"/>
                      <a:pt x="1" y="110"/>
                    </a:cubicBezTo>
                    <a:cubicBezTo>
                      <a:pt x="0" y="107"/>
                      <a:pt x="1" y="103"/>
                      <a:pt x="4" y="102"/>
                    </a:cubicBezTo>
                    <a:cubicBezTo>
                      <a:pt x="31" y="91"/>
                      <a:pt x="68" y="68"/>
                      <a:pt x="82" y="58"/>
                    </a:cubicBezTo>
                    <a:cubicBezTo>
                      <a:pt x="112" y="39"/>
                      <a:pt x="131" y="20"/>
                      <a:pt x="138" y="5"/>
                    </a:cubicBezTo>
                    <a:cubicBezTo>
                      <a:pt x="139" y="2"/>
                      <a:pt x="143" y="0"/>
                      <a:pt x="146" y="1"/>
                    </a:cubicBezTo>
                    <a:cubicBezTo>
                      <a:pt x="149" y="3"/>
                      <a:pt x="150" y="6"/>
                      <a:pt x="149" y="9"/>
                    </a:cubicBezTo>
                    <a:cubicBezTo>
                      <a:pt x="140" y="33"/>
                      <a:pt x="111" y="54"/>
                      <a:pt x="89" y="69"/>
                    </a:cubicBezTo>
                    <a:cubicBezTo>
                      <a:pt x="74" y="78"/>
                      <a:pt x="36" y="102"/>
                      <a:pt x="9" y="113"/>
                    </a:cubicBezTo>
                    <a:cubicBezTo>
                      <a:pt x="8" y="114"/>
                      <a:pt x="8" y="114"/>
                      <a:pt x="7" y="114"/>
                    </a:cubicBezTo>
                    <a:close/>
                    <a:moveTo>
                      <a:pt x="7" y="114"/>
                    </a:moveTo>
                    <a:cubicBezTo>
                      <a:pt x="7" y="114"/>
                      <a:pt x="7" y="114"/>
                      <a:pt x="7" y="1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99" name="Freeform 11"/>
              <p:cNvSpPr>
                <a:spLocks noEditPoints="1"/>
              </p:cNvSpPr>
              <p:nvPr/>
            </p:nvSpPr>
            <p:spPr bwMode="auto">
              <a:xfrm>
                <a:off x="3766" y="1946"/>
                <a:ext cx="112" cy="73"/>
              </a:xfrm>
              <a:custGeom>
                <a:avLst/>
                <a:gdLst>
                  <a:gd name="T0" fmla="*/ 15 w 62"/>
                  <a:gd name="T1" fmla="*/ 35 h 41"/>
                  <a:gd name="T2" fmla="*/ 33 w 62"/>
                  <a:gd name="T3" fmla="*/ 21 h 41"/>
                  <a:gd name="T4" fmla="*/ 56 w 62"/>
                  <a:gd name="T5" fmla="*/ 13 h 41"/>
                  <a:gd name="T6" fmla="*/ 62 w 62"/>
                  <a:gd name="T7" fmla="*/ 7 h 41"/>
                  <a:gd name="T8" fmla="*/ 56 w 62"/>
                  <a:gd name="T9" fmla="*/ 0 h 41"/>
                  <a:gd name="T10" fmla="*/ 6 w 62"/>
                  <a:gd name="T11" fmla="*/ 26 h 41"/>
                  <a:gd name="T12" fmla="*/ 15 w 62"/>
                  <a:gd name="T13" fmla="*/ 35 h 41"/>
                  <a:gd name="T14" fmla="*/ 15 w 62"/>
                  <a:gd name="T15" fmla="*/ 35 h 41"/>
                  <a:gd name="T16" fmla="*/ 15 w 62"/>
                  <a:gd name="T17" fmla="*/ 3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41">
                    <a:moveTo>
                      <a:pt x="15" y="35"/>
                    </a:moveTo>
                    <a:cubicBezTo>
                      <a:pt x="20" y="30"/>
                      <a:pt x="26" y="25"/>
                      <a:pt x="33" y="21"/>
                    </a:cubicBezTo>
                    <a:cubicBezTo>
                      <a:pt x="40" y="17"/>
                      <a:pt x="48" y="14"/>
                      <a:pt x="56" y="13"/>
                    </a:cubicBezTo>
                    <a:cubicBezTo>
                      <a:pt x="59" y="13"/>
                      <a:pt x="62" y="10"/>
                      <a:pt x="62" y="7"/>
                    </a:cubicBezTo>
                    <a:cubicBezTo>
                      <a:pt x="62" y="4"/>
                      <a:pt x="59" y="0"/>
                      <a:pt x="56" y="0"/>
                    </a:cubicBezTo>
                    <a:cubicBezTo>
                      <a:pt x="36" y="3"/>
                      <a:pt x="20" y="13"/>
                      <a:pt x="6" y="26"/>
                    </a:cubicBezTo>
                    <a:cubicBezTo>
                      <a:pt x="0" y="32"/>
                      <a:pt x="9" y="41"/>
                      <a:pt x="15" y="35"/>
                    </a:cubicBezTo>
                    <a:close/>
                    <a:moveTo>
                      <a:pt x="15" y="35"/>
                    </a:moveTo>
                    <a:cubicBezTo>
                      <a:pt x="15" y="35"/>
                      <a:pt x="15" y="35"/>
                      <a:pt x="15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0" name="Freeform 12"/>
              <p:cNvSpPr>
                <a:spLocks noEditPoints="1"/>
              </p:cNvSpPr>
              <p:nvPr/>
            </p:nvSpPr>
            <p:spPr bwMode="auto">
              <a:xfrm>
                <a:off x="3661" y="2023"/>
                <a:ext cx="105" cy="78"/>
              </a:xfrm>
              <a:custGeom>
                <a:avLst/>
                <a:gdLst>
                  <a:gd name="T0" fmla="*/ 8 w 59"/>
                  <a:gd name="T1" fmla="*/ 43 h 44"/>
                  <a:gd name="T2" fmla="*/ 32 w 59"/>
                  <a:gd name="T3" fmla="*/ 32 h 44"/>
                  <a:gd name="T4" fmla="*/ 54 w 59"/>
                  <a:gd name="T5" fmla="*/ 14 h 44"/>
                  <a:gd name="T6" fmla="*/ 45 w 59"/>
                  <a:gd name="T7" fmla="*/ 6 h 44"/>
                  <a:gd name="T8" fmla="*/ 26 w 59"/>
                  <a:gd name="T9" fmla="*/ 21 h 44"/>
                  <a:gd name="T10" fmla="*/ 5 w 59"/>
                  <a:gd name="T11" fmla="*/ 31 h 44"/>
                  <a:gd name="T12" fmla="*/ 1 w 59"/>
                  <a:gd name="T13" fmla="*/ 39 h 44"/>
                  <a:gd name="T14" fmla="*/ 8 w 59"/>
                  <a:gd name="T15" fmla="*/ 43 h 44"/>
                  <a:gd name="T16" fmla="*/ 8 w 59"/>
                  <a:gd name="T17" fmla="*/ 43 h 44"/>
                  <a:gd name="T18" fmla="*/ 8 w 59"/>
                  <a:gd name="T1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44">
                    <a:moveTo>
                      <a:pt x="8" y="43"/>
                    </a:moveTo>
                    <a:cubicBezTo>
                      <a:pt x="17" y="41"/>
                      <a:pt x="24" y="36"/>
                      <a:pt x="32" y="32"/>
                    </a:cubicBezTo>
                    <a:cubicBezTo>
                      <a:pt x="40" y="28"/>
                      <a:pt x="47" y="21"/>
                      <a:pt x="54" y="14"/>
                    </a:cubicBezTo>
                    <a:cubicBezTo>
                      <a:pt x="59" y="9"/>
                      <a:pt x="50" y="0"/>
                      <a:pt x="45" y="6"/>
                    </a:cubicBezTo>
                    <a:cubicBezTo>
                      <a:pt x="39" y="12"/>
                      <a:pt x="33" y="17"/>
                      <a:pt x="26" y="21"/>
                    </a:cubicBezTo>
                    <a:cubicBezTo>
                      <a:pt x="19" y="25"/>
                      <a:pt x="12" y="29"/>
                      <a:pt x="5" y="31"/>
                    </a:cubicBezTo>
                    <a:cubicBezTo>
                      <a:pt x="2" y="32"/>
                      <a:pt x="0" y="36"/>
                      <a:pt x="1" y="39"/>
                    </a:cubicBezTo>
                    <a:cubicBezTo>
                      <a:pt x="1" y="42"/>
                      <a:pt x="5" y="44"/>
                      <a:pt x="8" y="43"/>
                    </a:cubicBezTo>
                    <a:close/>
                    <a:moveTo>
                      <a:pt x="8" y="43"/>
                    </a:moveTo>
                    <a:cubicBezTo>
                      <a:pt x="8" y="43"/>
                      <a:pt x="8" y="43"/>
                      <a:pt x="8" y="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1" name="Freeform 13"/>
              <p:cNvSpPr>
                <a:spLocks noEditPoints="1"/>
              </p:cNvSpPr>
              <p:nvPr/>
            </p:nvSpPr>
            <p:spPr bwMode="auto">
              <a:xfrm>
                <a:off x="3824" y="2046"/>
                <a:ext cx="75" cy="78"/>
              </a:xfrm>
              <a:custGeom>
                <a:avLst/>
                <a:gdLst>
                  <a:gd name="T0" fmla="*/ 7 w 42"/>
                  <a:gd name="T1" fmla="*/ 44 h 44"/>
                  <a:gd name="T2" fmla="*/ 3 w 42"/>
                  <a:gd name="T3" fmla="*/ 42 h 44"/>
                  <a:gd name="T4" fmla="*/ 3 w 42"/>
                  <a:gd name="T5" fmla="*/ 33 h 44"/>
                  <a:gd name="T6" fmla="*/ 30 w 42"/>
                  <a:gd name="T7" fmla="*/ 4 h 44"/>
                  <a:gd name="T8" fmla="*/ 39 w 42"/>
                  <a:gd name="T9" fmla="*/ 2 h 44"/>
                  <a:gd name="T10" fmla="*/ 40 w 42"/>
                  <a:gd name="T11" fmla="*/ 11 h 44"/>
                  <a:gd name="T12" fmla="*/ 11 w 42"/>
                  <a:gd name="T13" fmla="*/ 43 h 44"/>
                  <a:gd name="T14" fmla="*/ 7 w 42"/>
                  <a:gd name="T15" fmla="*/ 44 h 44"/>
                  <a:gd name="T16" fmla="*/ 7 w 42"/>
                  <a:gd name="T17" fmla="*/ 44 h 44"/>
                  <a:gd name="T18" fmla="*/ 7 w 42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" h="44">
                    <a:moveTo>
                      <a:pt x="7" y="44"/>
                    </a:moveTo>
                    <a:cubicBezTo>
                      <a:pt x="6" y="44"/>
                      <a:pt x="4" y="44"/>
                      <a:pt x="3" y="42"/>
                    </a:cubicBezTo>
                    <a:cubicBezTo>
                      <a:pt x="0" y="40"/>
                      <a:pt x="1" y="36"/>
                      <a:pt x="3" y="33"/>
                    </a:cubicBezTo>
                    <a:cubicBezTo>
                      <a:pt x="14" y="24"/>
                      <a:pt x="23" y="14"/>
                      <a:pt x="30" y="4"/>
                    </a:cubicBezTo>
                    <a:cubicBezTo>
                      <a:pt x="32" y="1"/>
                      <a:pt x="36" y="0"/>
                      <a:pt x="39" y="2"/>
                    </a:cubicBezTo>
                    <a:cubicBezTo>
                      <a:pt x="42" y="4"/>
                      <a:pt x="42" y="8"/>
                      <a:pt x="40" y="11"/>
                    </a:cubicBezTo>
                    <a:cubicBezTo>
                      <a:pt x="33" y="22"/>
                      <a:pt x="23" y="33"/>
                      <a:pt x="11" y="43"/>
                    </a:cubicBezTo>
                    <a:cubicBezTo>
                      <a:pt x="10" y="44"/>
                      <a:pt x="9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2" name="Freeform 14"/>
              <p:cNvSpPr>
                <a:spLocks noEditPoints="1"/>
              </p:cNvSpPr>
              <p:nvPr/>
            </p:nvSpPr>
            <p:spPr bwMode="auto">
              <a:xfrm>
                <a:off x="3662" y="2139"/>
                <a:ext cx="139" cy="78"/>
              </a:xfrm>
              <a:custGeom>
                <a:avLst/>
                <a:gdLst>
                  <a:gd name="T0" fmla="*/ 7 w 77"/>
                  <a:gd name="T1" fmla="*/ 44 h 44"/>
                  <a:gd name="T2" fmla="*/ 1 w 77"/>
                  <a:gd name="T3" fmla="*/ 40 h 44"/>
                  <a:gd name="T4" fmla="*/ 5 w 77"/>
                  <a:gd name="T5" fmla="*/ 32 h 44"/>
                  <a:gd name="T6" fmla="*/ 5 w 77"/>
                  <a:gd name="T7" fmla="*/ 32 h 44"/>
                  <a:gd name="T8" fmla="*/ 47 w 77"/>
                  <a:gd name="T9" fmla="*/ 13 h 44"/>
                  <a:gd name="T10" fmla="*/ 67 w 77"/>
                  <a:gd name="T11" fmla="*/ 1 h 44"/>
                  <a:gd name="T12" fmla="*/ 75 w 77"/>
                  <a:gd name="T13" fmla="*/ 3 h 44"/>
                  <a:gd name="T14" fmla="*/ 74 w 77"/>
                  <a:gd name="T15" fmla="*/ 12 h 44"/>
                  <a:gd name="T16" fmla="*/ 53 w 77"/>
                  <a:gd name="T17" fmla="*/ 24 h 44"/>
                  <a:gd name="T18" fmla="*/ 9 w 77"/>
                  <a:gd name="T19" fmla="*/ 44 h 44"/>
                  <a:gd name="T20" fmla="*/ 9 w 77"/>
                  <a:gd name="T21" fmla="*/ 44 h 44"/>
                  <a:gd name="T22" fmla="*/ 7 w 77"/>
                  <a:gd name="T23" fmla="*/ 44 h 44"/>
                  <a:gd name="T24" fmla="*/ 7 w 77"/>
                  <a:gd name="T25" fmla="*/ 44 h 44"/>
                  <a:gd name="T26" fmla="*/ 7 w 77"/>
                  <a:gd name="T2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7" h="44">
                    <a:moveTo>
                      <a:pt x="7" y="44"/>
                    </a:moveTo>
                    <a:cubicBezTo>
                      <a:pt x="4" y="44"/>
                      <a:pt x="2" y="43"/>
                      <a:pt x="1" y="40"/>
                    </a:cubicBezTo>
                    <a:cubicBezTo>
                      <a:pt x="0" y="37"/>
                      <a:pt x="2" y="33"/>
                      <a:pt x="5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11" y="30"/>
                      <a:pt x="28" y="24"/>
                      <a:pt x="47" y="13"/>
                    </a:cubicBezTo>
                    <a:cubicBezTo>
                      <a:pt x="54" y="9"/>
                      <a:pt x="61" y="5"/>
                      <a:pt x="67" y="1"/>
                    </a:cubicBezTo>
                    <a:cubicBezTo>
                      <a:pt x="70" y="0"/>
                      <a:pt x="73" y="0"/>
                      <a:pt x="75" y="3"/>
                    </a:cubicBezTo>
                    <a:cubicBezTo>
                      <a:pt x="77" y="6"/>
                      <a:pt x="76" y="10"/>
                      <a:pt x="74" y="12"/>
                    </a:cubicBezTo>
                    <a:cubicBezTo>
                      <a:pt x="67" y="16"/>
                      <a:pt x="60" y="20"/>
                      <a:pt x="53" y="24"/>
                    </a:cubicBezTo>
                    <a:cubicBezTo>
                      <a:pt x="33" y="35"/>
                      <a:pt x="16" y="41"/>
                      <a:pt x="9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8" y="44"/>
                      <a:pt x="8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3" name="Freeform 15"/>
              <p:cNvSpPr>
                <a:spLocks noEditPoints="1"/>
              </p:cNvSpPr>
              <p:nvPr/>
            </p:nvSpPr>
            <p:spPr bwMode="auto">
              <a:xfrm>
                <a:off x="3801" y="2215"/>
                <a:ext cx="190" cy="89"/>
              </a:xfrm>
              <a:custGeom>
                <a:avLst/>
                <a:gdLst>
                  <a:gd name="T0" fmla="*/ 99 w 106"/>
                  <a:gd name="T1" fmla="*/ 50 h 50"/>
                  <a:gd name="T2" fmla="*/ 97 w 106"/>
                  <a:gd name="T3" fmla="*/ 49 h 50"/>
                  <a:gd name="T4" fmla="*/ 64 w 106"/>
                  <a:gd name="T5" fmla="*/ 30 h 50"/>
                  <a:gd name="T6" fmla="*/ 36 w 106"/>
                  <a:gd name="T7" fmla="*/ 14 h 50"/>
                  <a:gd name="T8" fmla="*/ 10 w 106"/>
                  <a:gd name="T9" fmla="*/ 29 h 50"/>
                  <a:gd name="T10" fmla="*/ 1 w 106"/>
                  <a:gd name="T11" fmla="*/ 27 h 50"/>
                  <a:gd name="T12" fmla="*/ 3 w 106"/>
                  <a:gd name="T13" fmla="*/ 18 h 50"/>
                  <a:gd name="T14" fmla="*/ 34 w 106"/>
                  <a:gd name="T15" fmla="*/ 2 h 50"/>
                  <a:gd name="T16" fmla="*/ 71 w 106"/>
                  <a:gd name="T17" fmla="*/ 20 h 50"/>
                  <a:gd name="T18" fmla="*/ 101 w 106"/>
                  <a:gd name="T19" fmla="*/ 37 h 50"/>
                  <a:gd name="T20" fmla="*/ 105 w 106"/>
                  <a:gd name="T21" fmla="*/ 45 h 50"/>
                  <a:gd name="T22" fmla="*/ 99 w 106"/>
                  <a:gd name="T23" fmla="*/ 50 h 50"/>
                  <a:gd name="T24" fmla="*/ 99 w 106"/>
                  <a:gd name="T25" fmla="*/ 50 h 50"/>
                  <a:gd name="T26" fmla="*/ 99 w 106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6" h="50">
                    <a:moveTo>
                      <a:pt x="99" y="50"/>
                    </a:moveTo>
                    <a:cubicBezTo>
                      <a:pt x="98" y="50"/>
                      <a:pt x="97" y="49"/>
                      <a:pt x="97" y="49"/>
                    </a:cubicBezTo>
                    <a:cubicBezTo>
                      <a:pt x="86" y="46"/>
                      <a:pt x="75" y="38"/>
                      <a:pt x="64" y="30"/>
                    </a:cubicBezTo>
                    <a:cubicBezTo>
                      <a:pt x="54" y="23"/>
                      <a:pt x="41" y="13"/>
                      <a:pt x="36" y="14"/>
                    </a:cubicBezTo>
                    <a:cubicBezTo>
                      <a:pt x="31" y="15"/>
                      <a:pt x="15" y="25"/>
                      <a:pt x="10" y="29"/>
                    </a:cubicBezTo>
                    <a:cubicBezTo>
                      <a:pt x="7" y="30"/>
                      <a:pt x="3" y="30"/>
                      <a:pt x="1" y="27"/>
                    </a:cubicBezTo>
                    <a:cubicBezTo>
                      <a:pt x="0" y="24"/>
                      <a:pt x="0" y="20"/>
                      <a:pt x="3" y="18"/>
                    </a:cubicBezTo>
                    <a:cubicBezTo>
                      <a:pt x="20" y="8"/>
                      <a:pt x="28" y="3"/>
                      <a:pt x="34" y="2"/>
                    </a:cubicBezTo>
                    <a:cubicBezTo>
                      <a:pt x="44" y="0"/>
                      <a:pt x="57" y="9"/>
                      <a:pt x="71" y="20"/>
                    </a:cubicBezTo>
                    <a:cubicBezTo>
                      <a:pt x="82" y="27"/>
                      <a:pt x="92" y="35"/>
                      <a:pt x="101" y="37"/>
                    </a:cubicBezTo>
                    <a:cubicBezTo>
                      <a:pt x="104" y="39"/>
                      <a:pt x="106" y="42"/>
                      <a:pt x="105" y="45"/>
                    </a:cubicBezTo>
                    <a:cubicBezTo>
                      <a:pt x="104" y="48"/>
                      <a:pt x="101" y="50"/>
                      <a:pt x="99" y="50"/>
                    </a:cubicBezTo>
                    <a:close/>
                    <a:moveTo>
                      <a:pt x="99" y="50"/>
                    </a:moveTo>
                    <a:cubicBezTo>
                      <a:pt x="99" y="50"/>
                      <a:pt x="99" y="50"/>
                      <a:pt x="99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4" name="Freeform 16"/>
              <p:cNvSpPr>
                <a:spLocks noEditPoints="1"/>
              </p:cNvSpPr>
              <p:nvPr/>
            </p:nvSpPr>
            <p:spPr bwMode="auto">
              <a:xfrm>
                <a:off x="3702" y="2260"/>
                <a:ext cx="100" cy="66"/>
              </a:xfrm>
              <a:custGeom>
                <a:avLst/>
                <a:gdLst>
                  <a:gd name="T0" fmla="*/ 7 w 56"/>
                  <a:gd name="T1" fmla="*/ 37 h 37"/>
                  <a:gd name="T2" fmla="*/ 1 w 56"/>
                  <a:gd name="T3" fmla="*/ 33 h 37"/>
                  <a:gd name="T4" fmla="*/ 5 w 56"/>
                  <a:gd name="T5" fmla="*/ 25 h 37"/>
                  <a:gd name="T6" fmla="*/ 45 w 56"/>
                  <a:gd name="T7" fmla="*/ 2 h 37"/>
                  <a:gd name="T8" fmla="*/ 54 w 56"/>
                  <a:gd name="T9" fmla="*/ 4 h 37"/>
                  <a:gd name="T10" fmla="*/ 52 w 56"/>
                  <a:gd name="T11" fmla="*/ 12 h 37"/>
                  <a:gd name="T12" fmla="*/ 9 w 56"/>
                  <a:gd name="T13" fmla="*/ 37 h 37"/>
                  <a:gd name="T14" fmla="*/ 7 w 56"/>
                  <a:gd name="T15" fmla="*/ 37 h 37"/>
                  <a:gd name="T16" fmla="*/ 7 w 56"/>
                  <a:gd name="T17" fmla="*/ 37 h 37"/>
                  <a:gd name="T18" fmla="*/ 7 w 56"/>
                  <a:gd name="T1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37">
                    <a:moveTo>
                      <a:pt x="7" y="37"/>
                    </a:moveTo>
                    <a:cubicBezTo>
                      <a:pt x="4" y="37"/>
                      <a:pt x="2" y="35"/>
                      <a:pt x="1" y="33"/>
                    </a:cubicBezTo>
                    <a:cubicBezTo>
                      <a:pt x="0" y="29"/>
                      <a:pt x="2" y="26"/>
                      <a:pt x="5" y="25"/>
                    </a:cubicBezTo>
                    <a:cubicBezTo>
                      <a:pt x="13" y="23"/>
                      <a:pt x="31" y="11"/>
                      <a:pt x="45" y="2"/>
                    </a:cubicBezTo>
                    <a:cubicBezTo>
                      <a:pt x="48" y="0"/>
                      <a:pt x="52" y="1"/>
                      <a:pt x="54" y="4"/>
                    </a:cubicBezTo>
                    <a:cubicBezTo>
                      <a:pt x="56" y="6"/>
                      <a:pt x="55" y="10"/>
                      <a:pt x="52" y="12"/>
                    </a:cubicBezTo>
                    <a:cubicBezTo>
                      <a:pt x="32" y="25"/>
                      <a:pt x="17" y="35"/>
                      <a:pt x="9" y="37"/>
                    </a:cubicBezTo>
                    <a:cubicBezTo>
                      <a:pt x="8" y="37"/>
                      <a:pt x="7" y="37"/>
                      <a:pt x="7" y="37"/>
                    </a:cubicBezTo>
                    <a:close/>
                    <a:moveTo>
                      <a:pt x="7" y="37"/>
                    </a:moveTo>
                    <a:cubicBezTo>
                      <a:pt x="7" y="37"/>
                      <a:pt x="7" y="37"/>
                      <a:pt x="7" y="3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5" name="Freeform 17"/>
              <p:cNvSpPr>
                <a:spLocks noEditPoints="1"/>
              </p:cNvSpPr>
              <p:nvPr/>
            </p:nvSpPr>
            <p:spPr bwMode="auto">
              <a:xfrm>
                <a:off x="3906" y="2319"/>
                <a:ext cx="56" cy="39"/>
              </a:xfrm>
              <a:custGeom>
                <a:avLst/>
                <a:gdLst>
                  <a:gd name="T0" fmla="*/ 24 w 31"/>
                  <a:gd name="T1" fmla="*/ 22 h 22"/>
                  <a:gd name="T2" fmla="*/ 22 w 31"/>
                  <a:gd name="T3" fmla="*/ 21 h 22"/>
                  <a:gd name="T4" fmla="*/ 4 w 31"/>
                  <a:gd name="T5" fmla="*/ 12 h 22"/>
                  <a:gd name="T6" fmla="*/ 2 w 31"/>
                  <a:gd name="T7" fmla="*/ 4 h 22"/>
                  <a:gd name="T8" fmla="*/ 11 w 31"/>
                  <a:gd name="T9" fmla="*/ 1 h 22"/>
                  <a:gd name="T10" fmla="*/ 26 w 31"/>
                  <a:gd name="T11" fmla="*/ 10 h 22"/>
                  <a:gd name="T12" fmla="*/ 30 w 31"/>
                  <a:gd name="T13" fmla="*/ 18 h 22"/>
                  <a:gd name="T14" fmla="*/ 24 w 31"/>
                  <a:gd name="T15" fmla="*/ 22 h 22"/>
                  <a:gd name="T16" fmla="*/ 24 w 31"/>
                  <a:gd name="T17" fmla="*/ 22 h 22"/>
                  <a:gd name="T18" fmla="*/ 24 w 31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22">
                    <a:moveTo>
                      <a:pt x="24" y="22"/>
                    </a:moveTo>
                    <a:cubicBezTo>
                      <a:pt x="23" y="22"/>
                      <a:pt x="23" y="22"/>
                      <a:pt x="22" y="21"/>
                    </a:cubicBezTo>
                    <a:cubicBezTo>
                      <a:pt x="17" y="20"/>
                      <a:pt x="10" y="16"/>
                      <a:pt x="4" y="12"/>
                    </a:cubicBezTo>
                    <a:cubicBezTo>
                      <a:pt x="1" y="10"/>
                      <a:pt x="0" y="6"/>
                      <a:pt x="2" y="4"/>
                    </a:cubicBezTo>
                    <a:cubicBezTo>
                      <a:pt x="4" y="1"/>
                      <a:pt x="8" y="0"/>
                      <a:pt x="11" y="1"/>
                    </a:cubicBezTo>
                    <a:cubicBezTo>
                      <a:pt x="16" y="5"/>
                      <a:pt x="22" y="8"/>
                      <a:pt x="26" y="10"/>
                    </a:cubicBezTo>
                    <a:cubicBezTo>
                      <a:pt x="29" y="11"/>
                      <a:pt x="31" y="15"/>
                      <a:pt x="30" y="18"/>
                    </a:cubicBezTo>
                    <a:cubicBezTo>
                      <a:pt x="29" y="20"/>
                      <a:pt x="27" y="22"/>
                      <a:pt x="24" y="22"/>
                    </a:cubicBezTo>
                    <a:close/>
                    <a:moveTo>
                      <a:pt x="24" y="22"/>
                    </a:moveTo>
                    <a:cubicBezTo>
                      <a:pt x="24" y="22"/>
                      <a:pt x="24" y="22"/>
                      <a:pt x="24" y="2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6" name="Freeform 18"/>
              <p:cNvSpPr>
                <a:spLocks noEditPoints="1"/>
              </p:cNvSpPr>
              <p:nvPr/>
            </p:nvSpPr>
            <p:spPr bwMode="auto">
              <a:xfrm>
                <a:off x="3741" y="2287"/>
                <a:ext cx="165" cy="89"/>
              </a:xfrm>
              <a:custGeom>
                <a:avLst/>
                <a:gdLst>
                  <a:gd name="T0" fmla="*/ 7 w 92"/>
                  <a:gd name="T1" fmla="*/ 50 h 50"/>
                  <a:gd name="T2" fmla="*/ 2 w 92"/>
                  <a:gd name="T3" fmla="*/ 47 h 50"/>
                  <a:gd name="T4" fmla="*/ 4 w 92"/>
                  <a:gd name="T5" fmla="*/ 39 h 50"/>
                  <a:gd name="T6" fmla="*/ 12 w 92"/>
                  <a:gd name="T7" fmla="*/ 33 h 50"/>
                  <a:gd name="T8" fmla="*/ 63 w 92"/>
                  <a:gd name="T9" fmla="*/ 1 h 50"/>
                  <a:gd name="T10" fmla="*/ 88 w 92"/>
                  <a:gd name="T11" fmla="*/ 10 h 50"/>
                  <a:gd name="T12" fmla="*/ 90 w 92"/>
                  <a:gd name="T13" fmla="*/ 19 h 50"/>
                  <a:gd name="T14" fmla="*/ 81 w 92"/>
                  <a:gd name="T15" fmla="*/ 21 h 50"/>
                  <a:gd name="T16" fmla="*/ 65 w 92"/>
                  <a:gd name="T17" fmla="*/ 13 h 50"/>
                  <a:gd name="T18" fmla="*/ 19 w 92"/>
                  <a:gd name="T19" fmla="*/ 43 h 50"/>
                  <a:gd name="T20" fmla="*/ 11 w 92"/>
                  <a:gd name="T21" fmla="*/ 49 h 50"/>
                  <a:gd name="T22" fmla="*/ 7 w 92"/>
                  <a:gd name="T23" fmla="*/ 50 h 50"/>
                  <a:gd name="T24" fmla="*/ 7 w 92"/>
                  <a:gd name="T25" fmla="*/ 50 h 50"/>
                  <a:gd name="T26" fmla="*/ 7 w 92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50">
                    <a:moveTo>
                      <a:pt x="7" y="50"/>
                    </a:moveTo>
                    <a:cubicBezTo>
                      <a:pt x="5" y="50"/>
                      <a:pt x="3" y="49"/>
                      <a:pt x="2" y="47"/>
                    </a:cubicBezTo>
                    <a:cubicBezTo>
                      <a:pt x="0" y="45"/>
                      <a:pt x="1" y="41"/>
                      <a:pt x="4" y="39"/>
                    </a:cubicBezTo>
                    <a:cubicBezTo>
                      <a:pt x="6" y="37"/>
                      <a:pt x="9" y="35"/>
                      <a:pt x="12" y="33"/>
                    </a:cubicBezTo>
                    <a:cubicBezTo>
                      <a:pt x="39" y="13"/>
                      <a:pt x="55" y="2"/>
                      <a:pt x="63" y="1"/>
                    </a:cubicBezTo>
                    <a:cubicBezTo>
                      <a:pt x="68" y="0"/>
                      <a:pt x="75" y="3"/>
                      <a:pt x="88" y="10"/>
                    </a:cubicBezTo>
                    <a:cubicBezTo>
                      <a:pt x="91" y="12"/>
                      <a:pt x="92" y="16"/>
                      <a:pt x="90" y="19"/>
                    </a:cubicBezTo>
                    <a:cubicBezTo>
                      <a:pt x="88" y="22"/>
                      <a:pt x="84" y="23"/>
                      <a:pt x="81" y="21"/>
                    </a:cubicBezTo>
                    <a:cubicBezTo>
                      <a:pt x="69" y="14"/>
                      <a:pt x="66" y="13"/>
                      <a:pt x="65" y="13"/>
                    </a:cubicBezTo>
                    <a:cubicBezTo>
                      <a:pt x="58" y="14"/>
                      <a:pt x="30" y="35"/>
                      <a:pt x="19" y="43"/>
                    </a:cubicBezTo>
                    <a:cubicBezTo>
                      <a:pt x="16" y="45"/>
                      <a:pt x="13" y="48"/>
                      <a:pt x="11" y="49"/>
                    </a:cubicBezTo>
                    <a:cubicBezTo>
                      <a:pt x="10" y="50"/>
                      <a:pt x="9" y="50"/>
                      <a:pt x="7" y="50"/>
                    </a:cubicBezTo>
                    <a:close/>
                    <a:moveTo>
                      <a:pt x="7" y="50"/>
                    </a:moveTo>
                    <a:cubicBezTo>
                      <a:pt x="7" y="50"/>
                      <a:pt x="7" y="50"/>
                      <a:pt x="7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7" name="Freeform 20"/>
              <p:cNvSpPr>
                <a:spLocks noEditPoints="1"/>
              </p:cNvSpPr>
              <p:nvPr/>
            </p:nvSpPr>
            <p:spPr bwMode="auto">
              <a:xfrm>
                <a:off x="3949" y="2108"/>
                <a:ext cx="72" cy="77"/>
              </a:xfrm>
              <a:custGeom>
                <a:avLst/>
                <a:gdLst>
                  <a:gd name="T0" fmla="*/ 1 w 40"/>
                  <a:gd name="T1" fmla="*/ 11 h 43"/>
                  <a:gd name="T2" fmla="*/ 30 w 40"/>
                  <a:gd name="T3" fmla="*/ 41 h 43"/>
                  <a:gd name="T4" fmla="*/ 38 w 40"/>
                  <a:gd name="T5" fmla="*/ 39 h 43"/>
                  <a:gd name="T6" fmla="*/ 36 w 40"/>
                  <a:gd name="T7" fmla="*/ 31 h 43"/>
                  <a:gd name="T8" fmla="*/ 21 w 40"/>
                  <a:gd name="T9" fmla="*/ 23 h 43"/>
                  <a:gd name="T10" fmla="*/ 13 w 40"/>
                  <a:gd name="T11" fmla="*/ 7 h 43"/>
                  <a:gd name="T12" fmla="*/ 1 w 40"/>
                  <a:gd name="T13" fmla="*/ 11 h 43"/>
                  <a:gd name="T14" fmla="*/ 1 w 40"/>
                  <a:gd name="T15" fmla="*/ 11 h 43"/>
                  <a:gd name="T16" fmla="*/ 1 w 40"/>
                  <a:gd name="T17" fmla="*/ 1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43">
                    <a:moveTo>
                      <a:pt x="1" y="11"/>
                    </a:moveTo>
                    <a:cubicBezTo>
                      <a:pt x="4" y="27"/>
                      <a:pt x="15" y="36"/>
                      <a:pt x="30" y="41"/>
                    </a:cubicBezTo>
                    <a:cubicBezTo>
                      <a:pt x="33" y="43"/>
                      <a:pt x="36" y="42"/>
                      <a:pt x="38" y="39"/>
                    </a:cubicBezTo>
                    <a:cubicBezTo>
                      <a:pt x="40" y="37"/>
                      <a:pt x="39" y="32"/>
                      <a:pt x="36" y="31"/>
                    </a:cubicBezTo>
                    <a:cubicBezTo>
                      <a:pt x="31" y="29"/>
                      <a:pt x="25" y="26"/>
                      <a:pt x="21" y="23"/>
                    </a:cubicBezTo>
                    <a:cubicBezTo>
                      <a:pt x="16" y="19"/>
                      <a:pt x="14" y="13"/>
                      <a:pt x="13" y="7"/>
                    </a:cubicBezTo>
                    <a:cubicBezTo>
                      <a:pt x="12" y="0"/>
                      <a:pt x="0" y="3"/>
                      <a:pt x="1" y="11"/>
                    </a:cubicBezTo>
                    <a:close/>
                    <a:moveTo>
                      <a:pt x="1" y="11"/>
                    </a:moveTo>
                    <a:cubicBezTo>
                      <a:pt x="1" y="11"/>
                      <a:pt x="1" y="11"/>
                      <a:pt x="1" y="1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8" name="Freeform 21"/>
              <p:cNvSpPr>
                <a:spLocks noEditPoints="1"/>
              </p:cNvSpPr>
              <p:nvPr/>
            </p:nvSpPr>
            <p:spPr bwMode="auto">
              <a:xfrm>
                <a:off x="3906" y="2160"/>
                <a:ext cx="99" cy="86"/>
              </a:xfrm>
              <a:custGeom>
                <a:avLst/>
                <a:gdLst>
                  <a:gd name="T0" fmla="*/ 1 w 55"/>
                  <a:gd name="T1" fmla="*/ 8 h 48"/>
                  <a:gd name="T2" fmla="*/ 44 w 55"/>
                  <a:gd name="T3" fmla="*/ 46 h 48"/>
                  <a:gd name="T4" fmla="*/ 48 w 55"/>
                  <a:gd name="T5" fmla="*/ 34 h 48"/>
                  <a:gd name="T6" fmla="*/ 35 w 55"/>
                  <a:gd name="T7" fmla="*/ 28 h 48"/>
                  <a:gd name="T8" fmla="*/ 13 w 55"/>
                  <a:gd name="T9" fmla="*/ 5 h 48"/>
                  <a:gd name="T10" fmla="*/ 6 w 55"/>
                  <a:gd name="T11" fmla="*/ 1 h 48"/>
                  <a:gd name="T12" fmla="*/ 1 w 55"/>
                  <a:gd name="T13" fmla="*/ 8 h 48"/>
                  <a:gd name="T14" fmla="*/ 1 w 55"/>
                  <a:gd name="T15" fmla="*/ 8 h 48"/>
                  <a:gd name="T16" fmla="*/ 1 w 55"/>
                  <a:gd name="T17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48">
                    <a:moveTo>
                      <a:pt x="1" y="8"/>
                    </a:moveTo>
                    <a:cubicBezTo>
                      <a:pt x="9" y="27"/>
                      <a:pt x="26" y="40"/>
                      <a:pt x="44" y="46"/>
                    </a:cubicBezTo>
                    <a:cubicBezTo>
                      <a:pt x="52" y="48"/>
                      <a:pt x="55" y="36"/>
                      <a:pt x="48" y="34"/>
                    </a:cubicBezTo>
                    <a:cubicBezTo>
                      <a:pt x="43" y="33"/>
                      <a:pt x="40" y="31"/>
                      <a:pt x="35" y="28"/>
                    </a:cubicBezTo>
                    <a:cubicBezTo>
                      <a:pt x="26" y="23"/>
                      <a:pt x="17" y="15"/>
                      <a:pt x="13" y="5"/>
                    </a:cubicBezTo>
                    <a:cubicBezTo>
                      <a:pt x="12" y="2"/>
                      <a:pt x="9" y="0"/>
                      <a:pt x="6" y="1"/>
                    </a:cubicBezTo>
                    <a:cubicBezTo>
                      <a:pt x="3" y="2"/>
                      <a:pt x="0" y="5"/>
                      <a:pt x="1" y="8"/>
                    </a:cubicBezTo>
                    <a:close/>
                    <a:moveTo>
                      <a:pt x="1" y="8"/>
                    </a:moveTo>
                    <a:cubicBezTo>
                      <a:pt x="1" y="8"/>
                      <a:pt x="1" y="8"/>
                      <a:pt x="1" y="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</p:grpSp>
        <p:grpSp>
          <p:nvGrpSpPr>
            <p:cNvPr id="82" name="Group 15"/>
            <p:cNvGrpSpPr>
              <a:grpSpLocks noChangeAspect="1"/>
            </p:cNvGrpSpPr>
            <p:nvPr userDrawn="1"/>
          </p:nvGrpSpPr>
          <p:grpSpPr bwMode="auto">
            <a:xfrm>
              <a:off x="702225" y="267251"/>
              <a:ext cx="94846" cy="95277"/>
              <a:chOff x="4843" y="2141"/>
              <a:chExt cx="220" cy="22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85" name="Freeform 16"/>
              <p:cNvSpPr>
                <a:spLocks/>
              </p:cNvSpPr>
              <p:nvPr/>
            </p:nvSpPr>
            <p:spPr bwMode="auto">
              <a:xfrm>
                <a:off x="4843" y="2298"/>
                <a:ext cx="184" cy="64"/>
              </a:xfrm>
              <a:custGeom>
                <a:avLst/>
                <a:gdLst>
                  <a:gd name="T0" fmla="*/ 584 w 1371"/>
                  <a:gd name="T1" fmla="*/ 473 h 473"/>
                  <a:gd name="T2" fmla="*/ 489 w 1371"/>
                  <a:gd name="T3" fmla="*/ 464 h 473"/>
                  <a:gd name="T4" fmla="*/ 142 w 1371"/>
                  <a:gd name="T5" fmla="*/ 375 h 473"/>
                  <a:gd name="T6" fmla="*/ 18 w 1371"/>
                  <a:gd name="T7" fmla="*/ 273 h 473"/>
                  <a:gd name="T8" fmla="*/ 0 w 1371"/>
                  <a:gd name="T9" fmla="*/ 213 h 473"/>
                  <a:gd name="T10" fmla="*/ 0 w 1371"/>
                  <a:gd name="T11" fmla="*/ 17 h 473"/>
                  <a:gd name="T12" fmla="*/ 13 w 1371"/>
                  <a:gd name="T13" fmla="*/ 8 h 473"/>
                  <a:gd name="T14" fmla="*/ 285 w 1371"/>
                  <a:gd name="T15" fmla="*/ 107 h 473"/>
                  <a:gd name="T16" fmla="*/ 769 w 1371"/>
                  <a:gd name="T17" fmla="*/ 141 h 473"/>
                  <a:gd name="T18" fmla="*/ 1176 w 1371"/>
                  <a:gd name="T19" fmla="*/ 85 h 473"/>
                  <a:gd name="T20" fmla="*/ 1352 w 1371"/>
                  <a:gd name="T21" fmla="*/ 10 h 473"/>
                  <a:gd name="T22" fmla="*/ 1365 w 1371"/>
                  <a:gd name="T23" fmla="*/ 5 h 473"/>
                  <a:gd name="T24" fmla="*/ 1369 w 1371"/>
                  <a:gd name="T25" fmla="*/ 20 h 473"/>
                  <a:gd name="T26" fmla="*/ 1369 w 1371"/>
                  <a:gd name="T27" fmla="*/ 218 h 473"/>
                  <a:gd name="T28" fmla="*/ 1333 w 1371"/>
                  <a:gd name="T29" fmla="*/ 298 h 473"/>
                  <a:gd name="T30" fmla="*/ 1178 w 1371"/>
                  <a:gd name="T31" fmla="*/ 396 h 473"/>
                  <a:gd name="T32" fmla="*/ 876 w 1371"/>
                  <a:gd name="T33" fmla="*/ 464 h 473"/>
                  <a:gd name="T34" fmla="*/ 786 w 1371"/>
                  <a:gd name="T35" fmla="*/ 473 h 473"/>
                  <a:gd name="T36" fmla="*/ 584 w 1371"/>
                  <a:gd name="T37" fmla="*/ 473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71" h="473">
                    <a:moveTo>
                      <a:pt x="584" y="473"/>
                    </a:moveTo>
                    <a:cubicBezTo>
                      <a:pt x="552" y="470"/>
                      <a:pt x="520" y="467"/>
                      <a:pt x="489" y="464"/>
                    </a:cubicBezTo>
                    <a:cubicBezTo>
                      <a:pt x="369" y="450"/>
                      <a:pt x="252" y="427"/>
                      <a:pt x="142" y="375"/>
                    </a:cubicBezTo>
                    <a:cubicBezTo>
                      <a:pt x="93" y="351"/>
                      <a:pt x="47" y="322"/>
                      <a:pt x="18" y="273"/>
                    </a:cubicBezTo>
                    <a:cubicBezTo>
                      <a:pt x="7" y="255"/>
                      <a:pt x="0" y="235"/>
                      <a:pt x="0" y="213"/>
                    </a:cubicBezTo>
                    <a:cubicBezTo>
                      <a:pt x="1" y="148"/>
                      <a:pt x="1" y="82"/>
                      <a:pt x="0" y="17"/>
                    </a:cubicBezTo>
                    <a:cubicBezTo>
                      <a:pt x="0" y="8"/>
                      <a:pt x="1" y="0"/>
                      <a:pt x="13" y="8"/>
                    </a:cubicBezTo>
                    <a:cubicBezTo>
                      <a:pt x="97" y="61"/>
                      <a:pt x="190" y="87"/>
                      <a:pt x="285" y="107"/>
                    </a:cubicBezTo>
                    <a:cubicBezTo>
                      <a:pt x="445" y="140"/>
                      <a:pt x="607" y="146"/>
                      <a:pt x="769" y="141"/>
                    </a:cubicBezTo>
                    <a:cubicBezTo>
                      <a:pt x="906" y="137"/>
                      <a:pt x="1043" y="123"/>
                      <a:pt x="1176" y="85"/>
                    </a:cubicBezTo>
                    <a:cubicBezTo>
                      <a:pt x="1238" y="67"/>
                      <a:pt x="1298" y="45"/>
                      <a:pt x="1352" y="10"/>
                    </a:cubicBezTo>
                    <a:cubicBezTo>
                      <a:pt x="1356" y="8"/>
                      <a:pt x="1360" y="3"/>
                      <a:pt x="1365" y="5"/>
                    </a:cubicBezTo>
                    <a:cubicBezTo>
                      <a:pt x="1371" y="8"/>
                      <a:pt x="1369" y="15"/>
                      <a:pt x="1369" y="20"/>
                    </a:cubicBezTo>
                    <a:cubicBezTo>
                      <a:pt x="1369" y="86"/>
                      <a:pt x="1369" y="152"/>
                      <a:pt x="1369" y="218"/>
                    </a:cubicBezTo>
                    <a:cubicBezTo>
                      <a:pt x="1368" y="249"/>
                      <a:pt x="1353" y="275"/>
                      <a:pt x="1333" y="298"/>
                    </a:cubicBezTo>
                    <a:cubicBezTo>
                      <a:pt x="1291" y="346"/>
                      <a:pt x="1236" y="373"/>
                      <a:pt x="1178" y="396"/>
                    </a:cubicBezTo>
                    <a:cubicBezTo>
                      <a:pt x="1081" y="434"/>
                      <a:pt x="979" y="453"/>
                      <a:pt x="876" y="464"/>
                    </a:cubicBezTo>
                    <a:cubicBezTo>
                      <a:pt x="846" y="467"/>
                      <a:pt x="816" y="470"/>
                      <a:pt x="786" y="473"/>
                    </a:cubicBezTo>
                    <a:cubicBezTo>
                      <a:pt x="718" y="473"/>
                      <a:pt x="651" y="473"/>
                      <a:pt x="584" y="4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Freeform 17"/>
              <p:cNvSpPr>
                <a:spLocks/>
              </p:cNvSpPr>
              <p:nvPr/>
            </p:nvSpPr>
            <p:spPr bwMode="auto">
              <a:xfrm>
                <a:off x="4894" y="2141"/>
                <a:ext cx="169" cy="56"/>
              </a:xfrm>
              <a:custGeom>
                <a:avLst/>
                <a:gdLst>
                  <a:gd name="T0" fmla="*/ 1263 w 1263"/>
                  <a:gd name="T1" fmla="*/ 314 h 416"/>
                  <a:gd name="T2" fmla="*/ 1114 w 1263"/>
                  <a:gd name="T3" fmla="*/ 395 h 416"/>
                  <a:gd name="T4" fmla="*/ 1056 w 1263"/>
                  <a:gd name="T5" fmla="*/ 413 h 416"/>
                  <a:gd name="T6" fmla="*/ 1042 w 1263"/>
                  <a:gd name="T7" fmla="*/ 403 h 416"/>
                  <a:gd name="T8" fmla="*/ 943 w 1263"/>
                  <a:gd name="T9" fmla="*/ 233 h 416"/>
                  <a:gd name="T10" fmla="*/ 696 w 1263"/>
                  <a:gd name="T11" fmla="*/ 132 h 416"/>
                  <a:gd name="T12" fmla="*/ 462 w 1263"/>
                  <a:gd name="T13" fmla="*/ 99 h 416"/>
                  <a:gd name="T14" fmla="*/ 243 w 1263"/>
                  <a:gd name="T15" fmla="*/ 97 h 416"/>
                  <a:gd name="T16" fmla="*/ 15 w 1263"/>
                  <a:gd name="T17" fmla="*/ 124 h 416"/>
                  <a:gd name="T18" fmla="*/ 0 w 1263"/>
                  <a:gd name="T19" fmla="*/ 122 h 416"/>
                  <a:gd name="T20" fmla="*/ 47 w 1263"/>
                  <a:gd name="T21" fmla="*/ 96 h 416"/>
                  <a:gd name="T22" fmla="*/ 354 w 1263"/>
                  <a:gd name="T23" fmla="*/ 15 h 416"/>
                  <a:gd name="T24" fmla="*/ 648 w 1263"/>
                  <a:gd name="T25" fmla="*/ 3 h 416"/>
                  <a:gd name="T26" fmla="*/ 1057 w 1263"/>
                  <a:gd name="T27" fmla="*/ 72 h 416"/>
                  <a:gd name="T28" fmla="*/ 1213 w 1263"/>
                  <a:gd name="T29" fmla="*/ 162 h 416"/>
                  <a:gd name="T30" fmla="*/ 1263 w 1263"/>
                  <a:gd name="T31" fmla="*/ 237 h 416"/>
                  <a:gd name="T32" fmla="*/ 1263 w 1263"/>
                  <a:gd name="T33" fmla="*/ 314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63" h="416">
                    <a:moveTo>
                      <a:pt x="1263" y="314"/>
                    </a:moveTo>
                    <a:cubicBezTo>
                      <a:pt x="1221" y="355"/>
                      <a:pt x="1168" y="375"/>
                      <a:pt x="1114" y="395"/>
                    </a:cubicBezTo>
                    <a:cubicBezTo>
                      <a:pt x="1095" y="402"/>
                      <a:pt x="1075" y="407"/>
                      <a:pt x="1056" y="413"/>
                    </a:cubicBezTo>
                    <a:cubicBezTo>
                      <a:pt x="1046" y="416"/>
                      <a:pt x="1041" y="413"/>
                      <a:pt x="1042" y="403"/>
                    </a:cubicBezTo>
                    <a:cubicBezTo>
                      <a:pt x="1048" y="323"/>
                      <a:pt x="1001" y="274"/>
                      <a:pt x="943" y="233"/>
                    </a:cubicBezTo>
                    <a:cubicBezTo>
                      <a:pt x="868" y="181"/>
                      <a:pt x="783" y="153"/>
                      <a:pt x="696" y="132"/>
                    </a:cubicBezTo>
                    <a:cubicBezTo>
                      <a:pt x="619" y="114"/>
                      <a:pt x="541" y="105"/>
                      <a:pt x="462" y="99"/>
                    </a:cubicBezTo>
                    <a:cubicBezTo>
                      <a:pt x="389" y="94"/>
                      <a:pt x="316" y="95"/>
                      <a:pt x="243" y="97"/>
                    </a:cubicBezTo>
                    <a:cubicBezTo>
                      <a:pt x="166" y="100"/>
                      <a:pt x="90" y="109"/>
                      <a:pt x="15" y="124"/>
                    </a:cubicBezTo>
                    <a:cubicBezTo>
                      <a:pt x="11" y="124"/>
                      <a:pt x="7" y="126"/>
                      <a:pt x="0" y="122"/>
                    </a:cubicBezTo>
                    <a:cubicBezTo>
                      <a:pt x="17" y="113"/>
                      <a:pt x="31" y="104"/>
                      <a:pt x="47" y="96"/>
                    </a:cubicBezTo>
                    <a:cubicBezTo>
                      <a:pt x="144" y="51"/>
                      <a:pt x="248" y="29"/>
                      <a:pt x="354" y="15"/>
                    </a:cubicBezTo>
                    <a:cubicBezTo>
                      <a:pt x="452" y="2"/>
                      <a:pt x="550" y="0"/>
                      <a:pt x="648" y="3"/>
                    </a:cubicBezTo>
                    <a:cubicBezTo>
                      <a:pt x="787" y="7"/>
                      <a:pt x="925" y="23"/>
                      <a:pt x="1057" y="72"/>
                    </a:cubicBezTo>
                    <a:cubicBezTo>
                      <a:pt x="1114" y="93"/>
                      <a:pt x="1168" y="120"/>
                      <a:pt x="1213" y="162"/>
                    </a:cubicBezTo>
                    <a:cubicBezTo>
                      <a:pt x="1236" y="183"/>
                      <a:pt x="1251" y="209"/>
                      <a:pt x="1263" y="237"/>
                    </a:cubicBezTo>
                    <a:cubicBezTo>
                      <a:pt x="1263" y="262"/>
                      <a:pt x="1263" y="288"/>
                      <a:pt x="1263" y="3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Freeform 18"/>
              <p:cNvSpPr>
                <a:spLocks/>
              </p:cNvSpPr>
              <p:nvPr/>
            </p:nvSpPr>
            <p:spPr bwMode="auto">
              <a:xfrm>
                <a:off x="5034" y="2192"/>
                <a:ext cx="29" cy="48"/>
              </a:xfrm>
              <a:custGeom>
                <a:avLst/>
                <a:gdLst>
                  <a:gd name="T0" fmla="*/ 221 w 221"/>
                  <a:gd name="T1" fmla="*/ 259 h 360"/>
                  <a:gd name="T2" fmla="*/ 52 w 221"/>
                  <a:gd name="T3" fmla="*/ 345 h 360"/>
                  <a:gd name="T4" fmla="*/ 13 w 221"/>
                  <a:gd name="T5" fmla="*/ 357 h 360"/>
                  <a:gd name="T6" fmla="*/ 0 w 221"/>
                  <a:gd name="T7" fmla="*/ 347 h 360"/>
                  <a:gd name="T8" fmla="*/ 0 w 221"/>
                  <a:gd name="T9" fmla="*/ 338 h 360"/>
                  <a:gd name="T10" fmla="*/ 0 w 221"/>
                  <a:gd name="T11" fmla="*/ 106 h 360"/>
                  <a:gd name="T12" fmla="*/ 19 w 221"/>
                  <a:gd name="T13" fmla="*/ 80 h 360"/>
                  <a:gd name="T14" fmla="*/ 215 w 221"/>
                  <a:gd name="T15" fmla="*/ 1 h 360"/>
                  <a:gd name="T16" fmla="*/ 221 w 221"/>
                  <a:gd name="T17" fmla="*/ 0 h 360"/>
                  <a:gd name="T18" fmla="*/ 221 w 221"/>
                  <a:gd name="T19" fmla="*/ 259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1" h="360">
                    <a:moveTo>
                      <a:pt x="221" y="259"/>
                    </a:moveTo>
                    <a:cubicBezTo>
                      <a:pt x="172" y="302"/>
                      <a:pt x="113" y="326"/>
                      <a:pt x="52" y="345"/>
                    </a:cubicBezTo>
                    <a:cubicBezTo>
                      <a:pt x="39" y="349"/>
                      <a:pt x="26" y="353"/>
                      <a:pt x="13" y="357"/>
                    </a:cubicBezTo>
                    <a:cubicBezTo>
                      <a:pt x="4" y="360"/>
                      <a:pt x="0" y="356"/>
                      <a:pt x="0" y="347"/>
                    </a:cubicBezTo>
                    <a:cubicBezTo>
                      <a:pt x="0" y="344"/>
                      <a:pt x="0" y="341"/>
                      <a:pt x="0" y="338"/>
                    </a:cubicBezTo>
                    <a:cubicBezTo>
                      <a:pt x="0" y="260"/>
                      <a:pt x="0" y="183"/>
                      <a:pt x="0" y="106"/>
                    </a:cubicBezTo>
                    <a:cubicBezTo>
                      <a:pt x="0" y="91"/>
                      <a:pt x="4" y="84"/>
                      <a:pt x="19" y="80"/>
                    </a:cubicBezTo>
                    <a:cubicBezTo>
                      <a:pt x="87" y="62"/>
                      <a:pt x="154" y="39"/>
                      <a:pt x="215" y="1"/>
                    </a:cubicBezTo>
                    <a:cubicBezTo>
                      <a:pt x="217" y="0"/>
                      <a:pt x="219" y="0"/>
                      <a:pt x="221" y="0"/>
                    </a:cubicBezTo>
                    <a:cubicBezTo>
                      <a:pt x="221" y="86"/>
                      <a:pt x="221" y="172"/>
                      <a:pt x="221" y="2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88" name="Freeform 19"/>
              <p:cNvSpPr>
                <a:spLocks/>
              </p:cNvSpPr>
              <p:nvPr/>
            </p:nvSpPr>
            <p:spPr bwMode="auto">
              <a:xfrm>
                <a:off x="5034" y="2235"/>
                <a:ext cx="29" cy="49"/>
              </a:xfrm>
              <a:custGeom>
                <a:avLst/>
                <a:gdLst>
                  <a:gd name="T0" fmla="*/ 221 w 221"/>
                  <a:gd name="T1" fmla="*/ 262 h 362"/>
                  <a:gd name="T2" fmla="*/ 19 w 221"/>
                  <a:gd name="T3" fmla="*/ 357 h 362"/>
                  <a:gd name="T4" fmla="*/ 0 w 221"/>
                  <a:gd name="T5" fmla="*/ 344 h 362"/>
                  <a:gd name="T6" fmla="*/ 0 w 221"/>
                  <a:gd name="T7" fmla="*/ 111 h 362"/>
                  <a:gd name="T8" fmla="*/ 17 w 221"/>
                  <a:gd name="T9" fmla="*/ 87 h 362"/>
                  <a:gd name="T10" fmla="*/ 179 w 221"/>
                  <a:gd name="T11" fmla="*/ 23 h 362"/>
                  <a:gd name="T12" fmla="*/ 221 w 221"/>
                  <a:gd name="T13" fmla="*/ 0 h 362"/>
                  <a:gd name="T14" fmla="*/ 221 w 221"/>
                  <a:gd name="T15" fmla="*/ 2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1" h="362">
                    <a:moveTo>
                      <a:pt x="221" y="262"/>
                    </a:moveTo>
                    <a:cubicBezTo>
                      <a:pt x="162" y="311"/>
                      <a:pt x="91" y="336"/>
                      <a:pt x="19" y="357"/>
                    </a:cubicBezTo>
                    <a:cubicBezTo>
                      <a:pt x="2" y="362"/>
                      <a:pt x="0" y="361"/>
                      <a:pt x="0" y="344"/>
                    </a:cubicBezTo>
                    <a:cubicBezTo>
                      <a:pt x="0" y="266"/>
                      <a:pt x="0" y="188"/>
                      <a:pt x="0" y="111"/>
                    </a:cubicBezTo>
                    <a:cubicBezTo>
                      <a:pt x="0" y="97"/>
                      <a:pt x="5" y="91"/>
                      <a:pt x="17" y="87"/>
                    </a:cubicBezTo>
                    <a:cubicBezTo>
                      <a:pt x="72" y="68"/>
                      <a:pt x="128" y="51"/>
                      <a:pt x="179" y="23"/>
                    </a:cubicBezTo>
                    <a:cubicBezTo>
                      <a:pt x="193" y="16"/>
                      <a:pt x="207" y="8"/>
                      <a:pt x="221" y="0"/>
                    </a:cubicBezTo>
                    <a:cubicBezTo>
                      <a:pt x="221" y="87"/>
                      <a:pt x="221" y="175"/>
                      <a:pt x="221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Freeform 20"/>
              <p:cNvSpPr>
                <a:spLocks/>
              </p:cNvSpPr>
              <p:nvPr/>
            </p:nvSpPr>
            <p:spPr bwMode="auto">
              <a:xfrm>
                <a:off x="5034" y="2279"/>
                <a:ext cx="29" cy="54"/>
              </a:xfrm>
              <a:custGeom>
                <a:avLst/>
                <a:gdLst>
                  <a:gd name="T0" fmla="*/ 216 w 216"/>
                  <a:gd name="T1" fmla="*/ 237 h 402"/>
                  <a:gd name="T2" fmla="*/ 39 w 216"/>
                  <a:gd name="T3" fmla="*/ 388 h 402"/>
                  <a:gd name="T4" fmla="*/ 10 w 216"/>
                  <a:gd name="T5" fmla="*/ 400 h 402"/>
                  <a:gd name="T6" fmla="*/ 4 w 216"/>
                  <a:gd name="T7" fmla="*/ 393 h 402"/>
                  <a:gd name="T8" fmla="*/ 23 w 216"/>
                  <a:gd name="T9" fmla="*/ 269 h 402"/>
                  <a:gd name="T10" fmla="*/ 23 w 216"/>
                  <a:gd name="T11" fmla="*/ 106 h 402"/>
                  <a:gd name="T12" fmla="*/ 33 w 216"/>
                  <a:gd name="T13" fmla="*/ 84 h 402"/>
                  <a:gd name="T14" fmla="*/ 211 w 216"/>
                  <a:gd name="T15" fmla="*/ 1 h 402"/>
                  <a:gd name="T16" fmla="*/ 216 w 216"/>
                  <a:gd name="T17" fmla="*/ 0 h 402"/>
                  <a:gd name="T18" fmla="*/ 216 w 216"/>
                  <a:gd name="T19" fmla="*/ 237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6" h="402">
                    <a:moveTo>
                      <a:pt x="216" y="237"/>
                    </a:moveTo>
                    <a:cubicBezTo>
                      <a:pt x="185" y="320"/>
                      <a:pt x="113" y="355"/>
                      <a:pt x="39" y="388"/>
                    </a:cubicBezTo>
                    <a:cubicBezTo>
                      <a:pt x="30" y="393"/>
                      <a:pt x="20" y="396"/>
                      <a:pt x="10" y="400"/>
                    </a:cubicBezTo>
                    <a:cubicBezTo>
                      <a:pt x="3" y="402"/>
                      <a:pt x="0" y="399"/>
                      <a:pt x="4" y="393"/>
                    </a:cubicBezTo>
                    <a:cubicBezTo>
                      <a:pt x="28" y="354"/>
                      <a:pt x="23" y="311"/>
                      <a:pt x="23" y="269"/>
                    </a:cubicBezTo>
                    <a:cubicBezTo>
                      <a:pt x="23" y="214"/>
                      <a:pt x="23" y="160"/>
                      <a:pt x="23" y="106"/>
                    </a:cubicBezTo>
                    <a:cubicBezTo>
                      <a:pt x="23" y="97"/>
                      <a:pt x="23" y="89"/>
                      <a:pt x="33" y="84"/>
                    </a:cubicBezTo>
                    <a:cubicBezTo>
                      <a:pt x="93" y="57"/>
                      <a:pt x="152" y="29"/>
                      <a:pt x="211" y="1"/>
                    </a:cubicBezTo>
                    <a:cubicBezTo>
                      <a:pt x="213" y="0"/>
                      <a:pt x="214" y="0"/>
                      <a:pt x="216" y="0"/>
                    </a:cubicBezTo>
                    <a:cubicBezTo>
                      <a:pt x="216" y="79"/>
                      <a:pt x="216" y="158"/>
                      <a:pt x="216" y="2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Freeform 21"/>
              <p:cNvSpPr>
                <a:spLocks/>
              </p:cNvSpPr>
              <p:nvPr/>
            </p:nvSpPr>
            <p:spPr bwMode="auto">
              <a:xfrm>
                <a:off x="4843" y="2161"/>
                <a:ext cx="184" cy="63"/>
              </a:xfrm>
              <a:custGeom>
                <a:avLst/>
                <a:gdLst>
                  <a:gd name="T0" fmla="*/ 689 w 1377"/>
                  <a:gd name="T1" fmla="*/ 0 h 468"/>
                  <a:gd name="T2" fmla="*/ 1073 w 1377"/>
                  <a:gd name="T3" fmla="*/ 42 h 468"/>
                  <a:gd name="T4" fmla="*/ 1298 w 1377"/>
                  <a:gd name="T5" fmla="*/ 141 h 468"/>
                  <a:gd name="T6" fmla="*/ 1369 w 1377"/>
                  <a:gd name="T7" fmla="*/ 235 h 468"/>
                  <a:gd name="T8" fmla="*/ 1372 w 1377"/>
                  <a:gd name="T9" fmla="*/ 308 h 468"/>
                  <a:gd name="T10" fmla="*/ 1350 w 1377"/>
                  <a:gd name="T11" fmla="*/ 330 h 468"/>
                  <a:gd name="T12" fmla="*/ 1252 w 1377"/>
                  <a:gd name="T13" fmla="*/ 383 h 468"/>
                  <a:gd name="T14" fmla="*/ 965 w 1377"/>
                  <a:gd name="T15" fmla="*/ 450 h 468"/>
                  <a:gd name="T16" fmla="*/ 703 w 1377"/>
                  <a:gd name="T17" fmla="*/ 468 h 468"/>
                  <a:gd name="T18" fmla="*/ 472 w 1377"/>
                  <a:gd name="T19" fmla="*/ 457 h 468"/>
                  <a:gd name="T20" fmla="*/ 204 w 1377"/>
                  <a:gd name="T21" fmla="*/ 409 h 468"/>
                  <a:gd name="T22" fmla="*/ 30 w 1377"/>
                  <a:gd name="T23" fmla="*/ 333 h 468"/>
                  <a:gd name="T24" fmla="*/ 4 w 1377"/>
                  <a:gd name="T25" fmla="*/ 284 h 468"/>
                  <a:gd name="T26" fmla="*/ 75 w 1377"/>
                  <a:gd name="T27" fmla="*/ 143 h 468"/>
                  <a:gd name="T28" fmla="*/ 304 w 1377"/>
                  <a:gd name="T29" fmla="*/ 42 h 468"/>
                  <a:gd name="T30" fmla="*/ 584 w 1377"/>
                  <a:gd name="T31" fmla="*/ 3 h 468"/>
                  <a:gd name="T32" fmla="*/ 689 w 1377"/>
                  <a:gd name="T33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7" h="468">
                    <a:moveTo>
                      <a:pt x="689" y="0"/>
                    </a:moveTo>
                    <a:cubicBezTo>
                      <a:pt x="819" y="0"/>
                      <a:pt x="947" y="10"/>
                      <a:pt x="1073" y="42"/>
                    </a:cubicBezTo>
                    <a:cubicBezTo>
                      <a:pt x="1153" y="62"/>
                      <a:pt x="1231" y="90"/>
                      <a:pt x="1298" y="141"/>
                    </a:cubicBezTo>
                    <a:cubicBezTo>
                      <a:pt x="1331" y="165"/>
                      <a:pt x="1357" y="195"/>
                      <a:pt x="1369" y="235"/>
                    </a:cubicBezTo>
                    <a:cubicBezTo>
                      <a:pt x="1377" y="259"/>
                      <a:pt x="1373" y="283"/>
                      <a:pt x="1372" y="308"/>
                    </a:cubicBezTo>
                    <a:cubicBezTo>
                      <a:pt x="1371" y="318"/>
                      <a:pt x="1359" y="324"/>
                      <a:pt x="1350" y="330"/>
                    </a:cubicBezTo>
                    <a:cubicBezTo>
                      <a:pt x="1320" y="353"/>
                      <a:pt x="1287" y="369"/>
                      <a:pt x="1252" y="383"/>
                    </a:cubicBezTo>
                    <a:cubicBezTo>
                      <a:pt x="1159" y="418"/>
                      <a:pt x="1063" y="437"/>
                      <a:pt x="965" y="450"/>
                    </a:cubicBezTo>
                    <a:cubicBezTo>
                      <a:pt x="878" y="462"/>
                      <a:pt x="791" y="467"/>
                      <a:pt x="703" y="468"/>
                    </a:cubicBezTo>
                    <a:cubicBezTo>
                      <a:pt x="626" y="468"/>
                      <a:pt x="549" y="465"/>
                      <a:pt x="472" y="457"/>
                    </a:cubicBezTo>
                    <a:cubicBezTo>
                      <a:pt x="381" y="448"/>
                      <a:pt x="292" y="434"/>
                      <a:pt x="204" y="409"/>
                    </a:cubicBezTo>
                    <a:cubicBezTo>
                      <a:pt x="143" y="391"/>
                      <a:pt x="83" y="370"/>
                      <a:pt x="30" y="333"/>
                    </a:cubicBezTo>
                    <a:cubicBezTo>
                      <a:pt x="12" y="321"/>
                      <a:pt x="5" y="307"/>
                      <a:pt x="4" y="284"/>
                    </a:cubicBezTo>
                    <a:cubicBezTo>
                      <a:pt x="0" y="222"/>
                      <a:pt x="30" y="179"/>
                      <a:pt x="75" y="143"/>
                    </a:cubicBezTo>
                    <a:cubicBezTo>
                      <a:pt x="143" y="90"/>
                      <a:pt x="222" y="63"/>
                      <a:pt x="304" y="42"/>
                    </a:cubicBezTo>
                    <a:cubicBezTo>
                      <a:pt x="396" y="19"/>
                      <a:pt x="489" y="7"/>
                      <a:pt x="584" y="3"/>
                    </a:cubicBezTo>
                    <a:cubicBezTo>
                      <a:pt x="619" y="1"/>
                      <a:pt x="654" y="1"/>
                      <a:pt x="68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Freeform 22"/>
              <p:cNvSpPr>
                <a:spLocks/>
              </p:cNvSpPr>
              <p:nvPr/>
            </p:nvSpPr>
            <p:spPr bwMode="auto">
              <a:xfrm>
                <a:off x="4843" y="2211"/>
                <a:ext cx="184" cy="56"/>
              </a:xfrm>
              <a:custGeom>
                <a:avLst/>
                <a:gdLst>
                  <a:gd name="T0" fmla="*/ 1 w 1370"/>
                  <a:gd name="T1" fmla="*/ 131 h 418"/>
                  <a:gd name="T2" fmla="*/ 1 w 1370"/>
                  <a:gd name="T3" fmla="*/ 15 h 418"/>
                  <a:gd name="T4" fmla="*/ 14 w 1370"/>
                  <a:gd name="T5" fmla="*/ 7 h 418"/>
                  <a:gd name="T6" fmla="*/ 261 w 1370"/>
                  <a:gd name="T7" fmla="*/ 96 h 418"/>
                  <a:gd name="T8" fmla="*/ 523 w 1370"/>
                  <a:gd name="T9" fmla="*/ 133 h 418"/>
                  <a:gd name="T10" fmla="*/ 761 w 1370"/>
                  <a:gd name="T11" fmla="*/ 138 h 418"/>
                  <a:gd name="T12" fmla="*/ 1236 w 1370"/>
                  <a:gd name="T13" fmla="*/ 62 h 418"/>
                  <a:gd name="T14" fmla="*/ 1354 w 1370"/>
                  <a:gd name="T15" fmla="*/ 8 h 418"/>
                  <a:gd name="T16" fmla="*/ 1370 w 1370"/>
                  <a:gd name="T17" fmla="*/ 17 h 418"/>
                  <a:gd name="T18" fmla="*/ 1370 w 1370"/>
                  <a:gd name="T19" fmla="*/ 245 h 418"/>
                  <a:gd name="T20" fmla="*/ 1357 w 1370"/>
                  <a:gd name="T21" fmla="*/ 270 h 418"/>
                  <a:gd name="T22" fmla="*/ 1220 w 1370"/>
                  <a:gd name="T23" fmla="*/ 341 h 418"/>
                  <a:gd name="T24" fmla="*/ 890 w 1370"/>
                  <a:gd name="T25" fmla="*/ 406 h 418"/>
                  <a:gd name="T26" fmla="*/ 610 w 1370"/>
                  <a:gd name="T27" fmla="*/ 415 h 418"/>
                  <a:gd name="T28" fmla="*/ 160 w 1370"/>
                  <a:gd name="T29" fmla="*/ 344 h 418"/>
                  <a:gd name="T30" fmla="*/ 21 w 1370"/>
                  <a:gd name="T31" fmla="*/ 277 h 418"/>
                  <a:gd name="T32" fmla="*/ 1 w 1370"/>
                  <a:gd name="T33" fmla="*/ 237 h 418"/>
                  <a:gd name="T34" fmla="*/ 1 w 1370"/>
                  <a:gd name="T35" fmla="*/ 131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70" h="418">
                    <a:moveTo>
                      <a:pt x="1" y="131"/>
                    </a:moveTo>
                    <a:cubicBezTo>
                      <a:pt x="2" y="92"/>
                      <a:pt x="2" y="54"/>
                      <a:pt x="1" y="15"/>
                    </a:cubicBezTo>
                    <a:cubicBezTo>
                      <a:pt x="1" y="5"/>
                      <a:pt x="4" y="0"/>
                      <a:pt x="14" y="7"/>
                    </a:cubicBezTo>
                    <a:cubicBezTo>
                      <a:pt x="90" y="54"/>
                      <a:pt x="175" y="78"/>
                      <a:pt x="261" y="96"/>
                    </a:cubicBezTo>
                    <a:cubicBezTo>
                      <a:pt x="347" y="115"/>
                      <a:pt x="435" y="126"/>
                      <a:pt x="523" y="133"/>
                    </a:cubicBezTo>
                    <a:cubicBezTo>
                      <a:pt x="603" y="139"/>
                      <a:pt x="682" y="141"/>
                      <a:pt x="761" y="138"/>
                    </a:cubicBezTo>
                    <a:cubicBezTo>
                      <a:pt x="923" y="131"/>
                      <a:pt x="1082" y="113"/>
                      <a:pt x="1236" y="62"/>
                    </a:cubicBezTo>
                    <a:cubicBezTo>
                      <a:pt x="1277" y="48"/>
                      <a:pt x="1317" y="31"/>
                      <a:pt x="1354" y="8"/>
                    </a:cubicBezTo>
                    <a:cubicBezTo>
                      <a:pt x="1367" y="0"/>
                      <a:pt x="1370" y="1"/>
                      <a:pt x="1370" y="17"/>
                    </a:cubicBezTo>
                    <a:cubicBezTo>
                      <a:pt x="1370" y="93"/>
                      <a:pt x="1370" y="169"/>
                      <a:pt x="1370" y="245"/>
                    </a:cubicBezTo>
                    <a:cubicBezTo>
                      <a:pt x="1370" y="256"/>
                      <a:pt x="1366" y="264"/>
                      <a:pt x="1357" y="270"/>
                    </a:cubicBezTo>
                    <a:cubicBezTo>
                      <a:pt x="1316" y="304"/>
                      <a:pt x="1269" y="324"/>
                      <a:pt x="1220" y="341"/>
                    </a:cubicBezTo>
                    <a:cubicBezTo>
                      <a:pt x="1113" y="377"/>
                      <a:pt x="1002" y="396"/>
                      <a:pt x="890" y="406"/>
                    </a:cubicBezTo>
                    <a:cubicBezTo>
                      <a:pt x="797" y="415"/>
                      <a:pt x="704" y="418"/>
                      <a:pt x="610" y="415"/>
                    </a:cubicBezTo>
                    <a:cubicBezTo>
                      <a:pt x="458" y="409"/>
                      <a:pt x="307" y="392"/>
                      <a:pt x="160" y="344"/>
                    </a:cubicBezTo>
                    <a:cubicBezTo>
                      <a:pt x="111" y="328"/>
                      <a:pt x="64" y="308"/>
                      <a:pt x="21" y="277"/>
                    </a:cubicBezTo>
                    <a:cubicBezTo>
                      <a:pt x="7" y="267"/>
                      <a:pt x="0" y="255"/>
                      <a:pt x="1" y="237"/>
                    </a:cubicBezTo>
                    <a:cubicBezTo>
                      <a:pt x="3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Freeform 23"/>
              <p:cNvSpPr>
                <a:spLocks/>
              </p:cNvSpPr>
              <p:nvPr/>
            </p:nvSpPr>
            <p:spPr bwMode="auto">
              <a:xfrm>
                <a:off x="4843" y="2255"/>
                <a:ext cx="184" cy="56"/>
              </a:xfrm>
              <a:custGeom>
                <a:avLst/>
                <a:gdLst>
                  <a:gd name="T0" fmla="*/ 1 w 1370"/>
                  <a:gd name="T1" fmla="*/ 131 h 419"/>
                  <a:gd name="T2" fmla="*/ 1 w 1370"/>
                  <a:gd name="T3" fmla="*/ 14 h 419"/>
                  <a:gd name="T4" fmla="*/ 14 w 1370"/>
                  <a:gd name="T5" fmla="*/ 7 h 419"/>
                  <a:gd name="T6" fmla="*/ 307 w 1370"/>
                  <a:gd name="T7" fmla="*/ 107 h 419"/>
                  <a:gd name="T8" fmla="*/ 615 w 1370"/>
                  <a:gd name="T9" fmla="*/ 138 h 419"/>
                  <a:gd name="T10" fmla="*/ 1137 w 1370"/>
                  <a:gd name="T11" fmla="*/ 91 h 419"/>
                  <a:gd name="T12" fmla="*/ 1357 w 1370"/>
                  <a:gd name="T13" fmla="*/ 6 h 419"/>
                  <a:gd name="T14" fmla="*/ 1370 w 1370"/>
                  <a:gd name="T15" fmla="*/ 14 h 419"/>
                  <a:gd name="T16" fmla="*/ 1370 w 1370"/>
                  <a:gd name="T17" fmla="*/ 248 h 419"/>
                  <a:gd name="T18" fmla="*/ 1355 w 1370"/>
                  <a:gd name="T19" fmla="*/ 272 h 419"/>
                  <a:gd name="T20" fmla="*/ 1238 w 1370"/>
                  <a:gd name="T21" fmla="*/ 334 h 419"/>
                  <a:gd name="T22" fmla="*/ 943 w 1370"/>
                  <a:gd name="T23" fmla="*/ 401 h 419"/>
                  <a:gd name="T24" fmla="*/ 637 w 1370"/>
                  <a:gd name="T25" fmla="*/ 416 h 419"/>
                  <a:gd name="T26" fmla="*/ 167 w 1370"/>
                  <a:gd name="T27" fmla="*/ 347 h 419"/>
                  <a:gd name="T28" fmla="*/ 21 w 1370"/>
                  <a:gd name="T29" fmla="*/ 277 h 419"/>
                  <a:gd name="T30" fmla="*/ 1 w 1370"/>
                  <a:gd name="T31" fmla="*/ 238 h 419"/>
                  <a:gd name="T32" fmla="*/ 1 w 1370"/>
                  <a:gd name="T33" fmla="*/ 131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0" h="419">
                    <a:moveTo>
                      <a:pt x="1" y="131"/>
                    </a:moveTo>
                    <a:cubicBezTo>
                      <a:pt x="1" y="92"/>
                      <a:pt x="2" y="53"/>
                      <a:pt x="1" y="14"/>
                    </a:cubicBezTo>
                    <a:cubicBezTo>
                      <a:pt x="1" y="3"/>
                      <a:pt x="4" y="1"/>
                      <a:pt x="14" y="7"/>
                    </a:cubicBezTo>
                    <a:cubicBezTo>
                      <a:pt x="104" y="62"/>
                      <a:pt x="205" y="88"/>
                      <a:pt x="307" y="107"/>
                    </a:cubicBezTo>
                    <a:cubicBezTo>
                      <a:pt x="409" y="127"/>
                      <a:pt x="512" y="135"/>
                      <a:pt x="615" y="138"/>
                    </a:cubicBezTo>
                    <a:cubicBezTo>
                      <a:pt x="791" y="143"/>
                      <a:pt x="966" y="133"/>
                      <a:pt x="1137" y="91"/>
                    </a:cubicBezTo>
                    <a:cubicBezTo>
                      <a:pt x="1214" y="73"/>
                      <a:pt x="1289" y="49"/>
                      <a:pt x="1357" y="6"/>
                    </a:cubicBezTo>
                    <a:cubicBezTo>
                      <a:pt x="1367" y="0"/>
                      <a:pt x="1370" y="4"/>
                      <a:pt x="1370" y="14"/>
                    </a:cubicBezTo>
                    <a:cubicBezTo>
                      <a:pt x="1370" y="92"/>
                      <a:pt x="1370" y="170"/>
                      <a:pt x="1370" y="248"/>
                    </a:cubicBezTo>
                    <a:cubicBezTo>
                      <a:pt x="1370" y="260"/>
                      <a:pt x="1363" y="266"/>
                      <a:pt x="1355" y="272"/>
                    </a:cubicBezTo>
                    <a:cubicBezTo>
                      <a:pt x="1320" y="301"/>
                      <a:pt x="1280" y="319"/>
                      <a:pt x="1238" y="334"/>
                    </a:cubicBezTo>
                    <a:cubicBezTo>
                      <a:pt x="1143" y="370"/>
                      <a:pt x="1044" y="389"/>
                      <a:pt x="943" y="401"/>
                    </a:cubicBezTo>
                    <a:cubicBezTo>
                      <a:pt x="841" y="413"/>
                      <a:pt x="739" y="419"/>
                      <a:pt x="637" y="416"/>
                    </a:cubicBezTo>
                    <a:cubicBezTo>
                      <a:pt x="477" y="411"/>
                      <a:pt x="320" y="395"/>
                      <a:pt x="167" y="347"/>
                    </a:cubicBezTo>
                    <a:cubicBezTo>
                      <a:pt x="115" y="330"/>
                      <a:pt x="65" y="310"/>
                      <a:pt x="21" y="277"/>
                    </a:cubicBezTo>
                    <a:cubicBezTo>
                      <a:pt x="7" y="267"/>
                      <a:pt x="0" y="256"/>
                      <a:pt x="1" y="238"/>
                    </a:cubicBezTo>
                    <a:cubicBezTo>
                      <a:pt x="2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83" name="Рисунок 82"/>
            <p:cNvPicPr>
              <a:picLocks noChangeAspect="1"/>
            </p:cNvPicPr>
            <p:nvPr userDrawn="1"/>
          </p:nvPicPr>
          <p:blipFill>
            <a:blip r:embed="rId6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964" y="255927"/>
              <a:ext cx="132047" cy="120941"/>
            </a:xfrm>
            <a:prstGeom prst="rect">
              <a:avLst/>
            </a:prstGeom>
          </p:spPr>
        </p:pic>
        <p:sp>
          <p:nvSpPr>
            <p:cNvPr id="84" name="Freeform 413"/>
            <p:cNvSpPr>
              <a:spLocks noEditPoints="1"/>
            </p:cNvSpPr>
            <p:nvPr userDrawn="1"/>
          </p:nvSpPr>
          <p:spPr bwMode="auto">
            <a:xfrm>
              <a:off x="467432" y="411832"/>
              <a:ext cx="136834" cy="109909"/>
            </a:xfrm>
            <a:custGeom>
              <a:avLst/>
              <a:gdLst/>
              <a:ahLst/>
              <a:cxnLst>
                <a:cxn ang="0">
                  <a:pos x="235" y="365"/>
                </a:cxn>
                <a:cxn ang="0">
                  <a:pos x="246" y="344"/>
                </a:cxn>
                <a:cxn ang="0">
                  <a:pos x="226" y="329"/>
                </a:cxn>
                <a:cxn ang="0">
                  <a:pos x="217" y="320"/>
                </a:cxn>
                <a:cxn ang="0">
                  <a:pos x="206" y="328"/>
                </a:cxn>
                <a:cxn ang="0">
                  <a:pos x="142" y="348"/>
                </a:cxn>
                <a:cxn ang="0">
                  <a:pos x="31" y="237"/>
                </a:cxn>
                <a:cxn ang="0">
                  <a:pos x="106" y="133"/>
                </a:cxn>
                <a:cxn ang="0">
                  <a:pos x="106" y="132"/>
                </a:cxn>
                <a:cxn ang="0">
                  <a:pos x="144" y="127"/>
                </a:cxn>
                <a:cxn ang="0">
                  <a:pos x="201" y="141"/>
                </a:cxn>
                <a:cxn ang="0">
                  <a:pos x="132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6" y="104"/>
                </a:cxn>
                <a:cxn ang="0">
                  <a:pos x="49" y="130"/>
                </a:cxn>
                <a:cxn ang="0">
                  <a:pos x="49" y="129"/>
                </a:cxn>
                <a:cxn ang="0">
                  <a:pos x="0" y="237"/>
                </a:cxn>
                <a:cxn ang="0">
                  <a:pos x="142" y="380"/>
                </a:cxn>
                <a:cxn ang="0">
                  <a:pos x="214" y="360"/>
                </a:cxn>
                <a:cxn ang="0">
                  <a:pos x="231" y="371"/>
                </a:cxn>
                <a:cxn ang="0">
                  <a:pos x="235" y="365"/>
                </a:cxn>
                <a:cxn ang="0">
                  <a:pos x="453" y="183"/>
                </a:cxn>
                <a:cxn ang="0">
                  <a:pos x="454" y="175"/>
                </a:cxn>
                <a:cxn ang="0">
                  <a:pos x="348" y="70"/>
                </a:cxn>
                <a:cxn ang="0">
                  <a:pos x="327" y="72"/>
                </a:cxn>
                <a:cxn ang="0">
                  <a:pos x="212" y="0"/>
                </a:cxn>
                <a:cxn ang="0">
                  <a:pos x="90" y="89"/>
                </a:cxn>
                <a:cxn ang="0">
                  <a:pos x="125" y="86"/>
                </a:cxn>
                <a:cxn ang="0">
                  <a:pos x="212" y="32"/>
                </a:cxn>
                <a:cxn ang="0">
                  <a:pos x="302" y="96"/>
                </a:cxn>
                <a:cxn ang="0">
                  <a:pos x="308" y="112"/>
                </a:cxn>
                <a:cxn ang="0">
                  <a:pos x="323" y="106"/>
                </a:cxn>
                <a:cxn ang="0">
                  <a:pos x="348" y="101"/>
                </a:cxn>
                <a:cxn ang="0">
                  <a:pos x="422" y="175"/>
                </a:cxn>
                <a:cxn ang="0">
                  <a:pos x="420" y="192"/>
                </a:cxn>
                <a:cxn ang="0">
                  <a:pos x="416" y="209"/>
                </a:cxn>
                <a:cxn ang="0">
                  <a:pos x="434" y="211"/>
                </a:cxn>
                <a:cxn ang="0">
                  <a:pos x="492" y="275"/>
                </a:cxn>
                <a:cxn ang="0">
                  <a:pos x="428" y="338"/>
                </a:cxn>
                <a:cxn ang="0">
                  <a:pos x="394" y="329"/>
                </a:cxn>
                <a:cxn ang="0">
                  <a:pos x="384" y="322"/>
                </a:cxn>
                <a:cxn ang="0">
                  <a:pos x="375" y="330"/>
                </a:cxn>
                <a:cxn ang="0">
                  <a:pos x="358" y="343"/>
                </a:cxn>
                <a:cxn ang="0">
                  <a:pos x="352" y="359"/>
                </a:cxn>
                <a:cxn ang="0">
                  <a:pos x="342" y="384"/>
                </a:cxn>
                <a:cxn ang="0">
                  <a:pos x="387" y="361"/>
                </a:cxn>
                <a:cxn ang="0">
                  <a:pos x="428" y="370"/>
                </a:cxn>
                <a:cxn ang="0">
                  <a:pos x="523" y="275"/>
                </a:cxn>
                <a:cxn ang="0">
                  <a:pos x="453" y="183"/>
                </a:cxn>
                <a:cxn ang="0">
                  <a:pos x="383" y="292"/>
                </a:cxn>
                <a:cxn ang="0">
                  <a:pos x="313" y="171"/>
                </a:cxn>
                <a:cxn ang="0">
                  <a:pos x="244" y="292"/>
                </a:cxn>
                <a:cxn ang="0">
                  <a:pos x="282" y="292"/>
                </a:cxn>
                <a:cxn ang="0">
                  <a:pos x="220" y="420"/>
                </a:cxn>
                <a:cxn ang="0">
                  <a:pos x="297" y="420"/>
                </a:cxn>
                <a:cxn ang="0">
                  <a:pos x="343" y="292"/>
                </a:cxn>
                <a:cxn ang="0">
                  <a:pos x="383" y="292"/>
                </a:cxn>
              </a:cxnLst>
              <a:rect l="0" t="0" r="r" b="b"/>
              <a:pathLst>
                <a:path w="523" h="420">
                  <a:moveTo>
                    <a:pt x="235" y="365"/>
                  </a:moveTo>
                  <a:cubicBezTo>
                    <a:pt x="239" y="358"/>
                    <a:pt x="243" y="351"/>
                    <a:pt x="246" y="344"/>
                  </a:cubicBezTo>
                  <a:cubicBezTo>
                    <a:pt x="239" y="340"/>
                    <a:pt x="232" y="335"/>
                    <a:pt x="226" y="329"/>
                  </a:cubicBezTo>
                  <a:cubicBezTo>
                    <a:pt x="217" y="320"/>
                    <a:pt x="217" y="320"/>
                    <a:pt x="217" y="320"/>
                  </a:cubicBezTo>
                  <a:cubicBezTo>
                    <a:pt x="206" y="328"/>
                    <a:pt x="206" y="328"/>
                    <a:pt x="206" y="328"/>
                  </a:cubicBezTo>
                  <a:cubicBezTo>
                    <a:pt x="187" y="341"/>
                    <a:pt x="165" y="348"/>
                    <a:pt x="142" y="348"/>
                  </a:cubicBezTo>
                  <a:cubicBezTo>
                    <a:pt x="81" y="348"/>
                    <a:pt x="31" y="299"/>
                    <a:pt x="31" y="237"/>
                  </a:cubicBezTo>
                  <a:cubicBezTo>
                    <a:pt x="31" y="190"/>
                    <a:pt x="61" y="148"/>
                    <a:pt x="106" y="133"/>
                  </a:cubicBezTo>
                  <a:cubicBezTo>
                    <a:pt x="106" y="132"/>
                    <a:pt x="106" y="132"/>
                    <a:pt x="106" y="132"/>
                  </a:cubicBezTo>
                  <a:cubicBezTo>
                    <a:pt x="117" y="129"/>
                    <a:pt x="129" y="127"/>
                    <a:pt x="144" y="127"/>
                  </a:cubicBezTo>
                  <a:cubicBezTo>
                    <a:pt x="167" y="127"/>
                    <a:pt x="187" y="132"/>
                    <a:pt x="201" y="141"/>
                  </a:cubicBezTo>
                  <a:cubicBezTo>
                    <a:pt x="208" y="131"/>
                    <a:pt x="195" y="103"/>
                    <a:pt x="132" y="103"/>
                  </a:cubicBezTo>
                  <a:cubicBezTo>
                    <a:pt x="127" y="103"/>
                    <a:pt x="123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8" y="103"/>
                    <a:pt x="117" y="104"/>
                    <a:pt x="116" y="104"/>
                  </a:cubicBezTo>
                  <a:cubicBezTo>
                    <a:pt x="77" y="107"/>
                    <a:pt x="49" y="130"/>
                    <a:pt x="49" y="130"/>
                  </a:cubicBezTo>
                  <a:cubicBezTo>
                    <a:pt x="49" y="129"/>
                    <a:pt x="49" y="129"/>
                    <a:pt x="49" y="129"/>
                  </a:cubicBezTo>
                  <a:cubicBezTo>
                    <a:pt x="18" y="156"/>
                    <a:pt x="0" y="195"/>
                    <a:pt x="0" y="237"/>
                  </a:cubicBezTo>
                  <a:cubicBezTo>
                    <a:pt x="0" y="316"/>
                    <a:pt x="63" y="380"/>
                    <a:pt x="142" y="380"/>
                  </a:cubicBezTo>
                  <a:cubicBezTo>
                    <a:pt x="168" y="380"/>
                    <a:pt x="192" y="373"/>
                    <a:pt x="214" y="360"/>
                  </a:cubicBezTo>
                  <a:cubicBezTo>
                    <a:pt x="220" y="364"/>
                    <a:pt x="225" y="368"/>
                    <a:pt x="231" y="371"/>
                  </a:cubicBezTo>
                  <a:lnTo>
                    <a:pt x="235" y="365"/>
                  </a:lnTo>
                  <a:close/>
                  <a:moveTo>
                    <a:pt x="453" y="183"/>
                  </a:moveTo>
                  <a:cubicBezTo>
                    <a:pt x="454" y="180"/>
                    <a:pt x="454" y="178"/>
                    <a:pt x="454" y="175"/>
                  </a:cubicBezTo>
                  <a:cubicBezTo>
                    <a:pt x="454" y="117"/>
                    <a:pt x="407" y="70"/>
                    <a:pt x="348" y="70"/>
                  </a:cubicBezTo>
                  <a:cubicBezTo>
                    <a:pt x="341" y="70"/>
                    <a:pt x="334" y="71"/>
                    <a:pt x="327" y="72"/>
                  </a:cubicBezTo>
                  <a:cubicBezTo>
                    <a:pt x="305" y="29"/>
                    <a:pt x="261" y="0"/>
                    <a:pt x="212" y="0"/>
                  </a:cubicBezTo>
                  <a:cubicBezTo>
                    <a:pt x="155" y="0"/>
                    <a:pt x="106" y="37"/>
                    <a:pt x="90" y="89"/>
                  </a:cubicBezTo>
                  <a:cubicBezTo>
                    <a:pt x="103" y="86"/>
                    <a:pt x="116" y="85"/>
                    <a:pt x="125" y="86"/>
                  </a:cubicBezTo>
                  <a:cubicBezTo>
                    <a:pt x="141" y="53"/>
                    <a:pt x="174" y="32"/>
                    <a:pt x="212" y="32"/>
                  </a:cubicBezTo>
                  <a:cubicBezTo>
                    <a:pt x="253" y="32"/>
                    <a:pt x="289" y="58"/>
                    <a:pt x="302" y="96"/>
                  </a:cubicBezTo>
                  <a:cubicBezTo>
                    <a:pt x="308" y="112"/>
                    <a:pt x="308" y="112"/>
                    <a:pt x="308" y="112"/>
                  </a:cubicBezTo>
                  <a:cubicBezTo>
                    <a:pt x="323" y="106"/>
                    <a:pt x="323" y="106"/>
                    <a:pt x="323" y="106"/>
                  </a:cubicBezTo>
                  <a:cubicBezTo>
                    <a:pt x="331" y="103"/>
                    <a:pt x="340" y="101"/>
                    <a:pt x="348" y="101"/>
                  </a:cubicBezTo>
                  <a:cubicBezTo>
                    <a:pt x="389" y="101"/>
                    <a:pt x="422" y="135"/>
                    <a:pt x="422" y="175"/>
                  </a:cubicBezTo>
                  <a:cubicBezTo>
                    <a:pt x="422" y="181"/>
                    <a:pt x="421" y="186"/>
                    <a:pt x="420" y="192"/>
                  </a:cubicBezTo>
                  <a:cubicBezTo>
                    <a:pt x="416" y="209"/>
                    <a:pt x="416" y="209"/>
                    <a:pt x="416" y="209"/>
                  </a:cubicBezTo>
                  <a:cubicBezTo>
                    <a:pt x="434" y="211"/>
                    <a:pt x="434" y="211"/>
                    <a:pt x="434" y="211"/>
                  </a:cubicBezTo>
                  <a:cubicBezTo>
                    <a:pt x="467" y="214"/>
                    <a:pt x="492" y="242"/>
                    <a:pt x="492" y="275"/>
                  </a:cubicBezTo>
                  <a:cubicBezTo>
                    <a:pt x="492" y="310"/>
                    <a:pt x="463" y="338"/>
                    <a:pt x="428" y="338"/>
                  </a:cubicBezTo>
                  <a:cubicBezTo>
                    <a:pt x="416" y="338"/>
                    <a:pt x="404" y="335"/>
                    <a:pt x="394" y="329"/>
                  </a:cubicBezTo>
                  <a:cubicBezTo>
                    <a:pt x="384" y="322"/>
                    <a:pt x="384" y="322"/>
                    <a:pt x="384" y="322"/>
                  </a:cubicBezTo>
                  <a:cubicBezTo>
                    <a:pt x="375" y="330"/>
                    <a:pt x="375" y="330"/>
                    <a:pt x="375" y="330"/>
                  </a:cubicBezTo>
                  <a:cubicBezTo>
                    <a:pt x="370" y="335"/>
                    <a:pt x="364" y="339"/>
                    <a:pt x="358" y="343"/>
                  </a:cubicBezTo>
                  <a:cubicBezTo>
                    <a:pt x="356" y="348"/>
                    <a:pt x="354" y="354"/>
                    <a:pt x="352" y="359"/>
                  </a:cubicBezTo>
                  <a:cubicBezTo>
                    <a:pt x="349" y="367"/>
                    <a:pt x="346" y="376"/>
                    <a:pt x="342" y="384"/>
                  </a:cubicBezTo>
                  <a:cubicBezTo>
                    <a:pt x="358" y="379"/>
                    <a:pt x="374" y="371"/>
                    <a:pt x="387" y="361"/>
                  </a:cubicBezTo>
                  <a:cubicBezTo>
                    <a:pt x="400" y="367"/>
                    <a:pt x="414" y="370"/>
                    <a:pt x="428" y="370"/>
                  </a:cubicBezTo>
                  <a:cubicBezTo>
                    <a:pt x="481" y="370"/>
                    <a:pt x="523" y="327"/>
                    <a:pt x="523" y="275"/>
                  </a:cubicBezTo>
                  <a:cubicBezTo>
                    <a:pt x="523" y="231"/>
                    <a:pt x="494" y="194"/>
                    <a:pt x="453" y="183"/>
                  </a:cubicBezTo>
                  <a:close/>
                  <a:moveTo>
                    <a:pt x="383" y="292"/>
                  </a:moveTo>
                  <a:cubicBezTo>
                    <a:pt x="313" y="171"/>
                    <a:pt x="313" y="171"/>
                    <a:pt x="313" y="171"/>
                  </a:cubicBezTo>
                  <a:cubicBezTo>
                    <a:pt x="244" y="292"/>
                    <a:pt x="244" y="292"/>
                    <a:pt x="244" y="292"/>
                  </a:cubicBezTo>
                  <a:cubicBezTo>
                    <a:pt x="282" y="292"/>
                    <a:pt x="282" y="292"/>
                    <a:pt x="282" y="292"/>
                  </a:cubicBezTo>
                  <a:cubicBezTo>
                    <a:pt x="274" y="341"/>
                    <a:pt x="252" y="385"/>
                    <a:pt x="220" y="420"/>
                  </a:cubicBezTo>
                  <a:cubicBezTo>
                    <a:pt x="297" y="420"/>
                    <a:pt x="297" y="420"/>
                    <a:pt x="297" y="420"/>
                  </a:cubicBezTo>
                  <a:cubicBezTo>
                    <a:pt x="321" y="382"/>
                    <a:pt x="338" y="338"/>
                    <a:pt x="343" y="292"/>
                  </a:cubicBezTo>
                  <a:lnTo>
                    <a:pt x="383" y="29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</p:grpSp>
      <p:sp>
        <p:nvSpPr>
          <p:cNvPr id="54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11790055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3697740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066147C5-186D-4E4C-9242-8148410B3D18}"/>
              </a:ext>
            </a:extLst>
          </p:cNvPr>
          <p:cNvSpPr/>
          <p:nvPr userDrawn="1"/>
        </p:nvSpPr>
        <p:spPr>
          <a:xfrm>
            <a:off x="0" y="-18878"/>
            <a:ext cx="12192000" cy="6876879"/>
          </a:xfrm>
          <a:prstGeom prst="rect">
            <a:avLst/>
          </a:prstGeom>
          <a:gradFill flip="none" rotWithShape="1">
            <a:gsLst>
              <a:gs pos="18000">
                <a:schemeClr val="accent6">
                  <a:lumMod val="67000"/>
                </a:schemeClr>
              </a:gs>
              <a:gs pos="100000">
                <a:schemeClr val="accent6"/>
              </a:gs>
            </a:gsLst>
            <a:lin ang="162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5FCFC23A-FBBD-1442-BC6B-7AACBBDF17DB}"/>
              </a:ext>
            </a:extLst>
          </p:cNvPr>
          <p:cNvGrpSpPr/>
          <p:nvPr userDrawn="1"/>
        </p:nvGrpSpPr>
        <p:grpSpPr>
          <a:xfrm>
            <a:off x="0" y="-18879"/>
            <a:ext cx="12192000" cy="675904"/>
            <a:chOff x="0" y="4267200"/>
            <a:chExt cx="12192000" cy="675904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A96D3F2C-5F04-B84F-B9D5-D61433C77E05}"/>
                </a:ext>
              </a:extLst>
            </p:cNvPr>
            <p:cNvSpPr/>
            <p:nvPr userDrawn="1"/>
          </p:nvSpPr>
          <p:spPr>
            <a:xfrm>
              <a:off x="122213" y="4435305"/>
              <a:ext cx="11951853" cy="4294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dist="88900" dir="5400000" sx="97000" sy="97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xmlns="" id="{4BCEF6D8-1372-DA4D-AAD1-0712D4C4C8D4}"/>
                </a:ext>
              </a:extLst>
            </p:cNvPr>
            <p:cNvSpPr/>
            <p:nvPr userDrawn="1"/>
          </p:nvSpPr>
          <p:spPr>
            <a:xfrm>
              <a:off x="0" y="4267200"/>
              <a:ext cx="12192000" cy="675904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51CF302C-DD53-8844-A15D-475304615268}"/>
              </a:ext>
            </a:extLst>
          </p:cNvPr>
          <p:cNvSpPr/>
          <p:nvPr userDrawn="1"/>
        </p:nvSpPr>
        <p:spPr>
          <a:xfrm>
            <a:off x="8559333" y="-22224"/>
            <a:ext cx="3632667" cy="6880224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88900" dist="38100" dir="10800000" algn="r" rotWithShape="0">
              <a:prstClr val="black">
                <a:alpha val="2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Заголовок"/>
          <p:cNvSpPr>
            <a:spLocks noGrp="1"/>
          </p:cNvSpPr>
          <p:nvPr>
            <p:ph type="title" hasCustomPrompt="1"/>
          </p:nvPr>
        </p:nvSpPr>
        <p:spPr>
          <a:xfrm>
            <a:off x="636693" y="177110"/>
            <a:ext cx="7801915" cy="30780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000" kern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3E5CDD5-3156-47A9-A019-94E8642F4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7" y="162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321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F3E5CDD5-3156-47A9-A019-94E8642F4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62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87759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4672253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A0C4E7F1-7346-4A46-A777-55C481F872B9}"/>
              </a:ext>
            </a:extLst>
          </p:cNvPr>
          <p:cNvSpPr/>
          <p:nvPr userDrawn="1"/>
        </p:nvSpPr>
        <p:spPr>
          <a:xfrm>
            <a:off x="0" y="657026"/>
            <a:ext cx="12192000" cy="6200975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27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xmlns="" id="{72138836-7C9C-9B44-91CA-4831DC2A4269}"/>
              </a:ext>
            </a:extLst>
          </p:cNvPr>
          <p:cNvGrpSpPr/>
          <p:nvPr userDrawn="1"/>
        </p:nvGrpSpPr>
        <p:grpSpPr>
          <a:xfrm>
            <a:off x="0" y="-18879"/>
            <a:ext cx="12192000" cy="675904"/>
            <a:chOff x="0" y="4267200"/>
            <a:chExt cx="12192000" cy="675904"/>
          </a:xfrm>
        </p:grpSpPr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xmlns="" id="{0779FA43-BE4F-0647-AD30-BEF87AE6545F}"/>
                </a:ext>
              </a:extLst>
            </p:cNvPr>
            <p:cNvSpPr/>
            <p:nvPr userDrawn="1"/>
          </p:nvSpPr>
          <p:spPr>
            <a:xfrm>
              <a:off x="122213" y="4435305"/>
              <a:ext cx="11951853" cy="4294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dist="88900" dir="5400000" sx="97000" sy="97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xmlns="" id="{5BA24AC2-5443-D04E-94D9-C15CE7C0D147}"/>
                </a:ext>
              </a:extLst>
            </p:cNvPr>
            <p:cNvSpPr/>
            <p:nvPr userDrawn="1"/>
          </p:nvSpPr>
          <p:spPr>
            <a:xfrm>
              <a:off x="0" y="4267200"/>
              <a:ext cx="12192000" cy="675904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3E5CDD5-3156-47A9-A019-94E8642F4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7" y="162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424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F3E5CDD5-3156-47A9-A019-94E8642F4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62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"/>
          <p:cNvSpPr>
            <a:spLocks noGrp="1"/>
          </p:cNvSpPr>
          <p:nvPr>
            <p:ph type="title" hasCustomPrompt="1"/>
          </p:nvPr>
        </p:nvSpPr>
        <p:spPr>
          <a:xfrm>
            <a:off x="636694" y="177110"/>
            <a:ext cx="10871199" cy="30780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000" kern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5" name="Freeform 6">
            <a:extLst>
              <a:ext uri="{FF2B5EF4-FFF2-40B4-BE49-F238E27FC236}">
                <a16:creationId xmlns:a16="http://schemas.microsoft.com/office/drawing/2014/main" xmlns="" id="{5E2C3CA9-D4D3-C74A-B71D-BD362B32E331}"/>
              </a:ext>
            </a:extLst>
          </p:cNvPr>
          <p:cNvSpPr>
            <a:spLocks/>
          </p:cNvSpPr>
          <p:nvPr userDrawn="1"/>
        </p:nvSpPr>
        <p:spPr bwMode="auto">
          <a:xfrm>
            <a:off x="11662261" y="161564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102572" tIns="102572" rIns="102572" bIns="102572" rtlCol="0" anchor="ctr"/>
          <a:lstStyle/>
          <a:p>
            <a:pPr marL="0" marR="0" lvl="0" indent="0" algn="ctr" defTabSz="121866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>
              <a:ln>
                <a:noFill/>
              </a:ln>
              <a:solidFill>
                <a:srgbClr val="787E7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11790055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20957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545821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066147C5-186D-4E4C-9242-8148410B3D18}"/>
              </a:ext>
            </a:extLst>
          </p:cNvPr>
          <p:cNvSpPr/>
          <p:nvPr userDrawn="1"/>
        </p:nvSpPr>
        <p:spPr>
          <a:xfrm>
            <a:off x="0" y="-18878"/>
            <a:ext cx="12192000" cy="6876879"/>
          </a:xfrm>
          <a:prstGeom prst="rect">
            <a:avLst/>
          </a:prstGeom>
          <a:gradFill flip="none" rotWithShape="1">
            <a:gsLst>
              <a:gs pos="18000">
                <a:schemeClr val="accent6">
                  <a:lumMod val="67000"/>
                </a:schemeClr>
              </a:gs>
              <a:gs pos="100000">
                <a:schemeClr val="accent6"/>
              </a:gs>
            </a:gsLst>
            <a:lin ang="162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5FCFC23A-FBBD-1442-BC6B-7AACBBDF17DB}"/>
              </a:ext>
            </a:extLst>
          </p:cNvPr>
          <p:cNvGrpSpPr/>
          <p:nvPr userDrawn="1"/>
        </p:nvGrpSpPr>
        <p:grpSpPr>
          <a:xfrm>
            <a:off x="0" y="-18879"/>
            <a:ext cx="12192000" cy="675904"/>
            <a:chOff x="0" y="4267200"/>
            <a:chExt cx="12192000" cy="675904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A96D3F2C-5F04-B84F-B9D5-D61433C77E05}"/>
                </a:ext>
              </a:extLst>
            </p:cNvPr>
            <p:cNvSpPr/>
            <p:nvPr userDrawn="1"/>
          </p:nvSpPr>
          <p:spPr>
            <a:xfrm>
              <a:off x="122213" y="4435305"/>
              <a:ext cx="11951853" cy="4294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dist="88900" dir="5400000" sx="97000" sy="97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xmlns="" id="{4BCEF6D8-1372-DA4D-AAD1-0712D4C4C8D4}"/>
                </a:ext>
              </a:extLst>
            </p:cNvPr>
            <p:cNvSpPr/>
            <p:nvPr userDrawn="1"/>
          </p:nvSpPr>
          <p:spPr>
            <a:xfrm>
              <a:off x="0" y="4267200"/>
              <a:ext cx="12192000" cy="675904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3E5CDD5-3156-47A9-A019-94E8642F4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7" y="162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526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F3E5CDD5-3156-47A9-A019-94E8642F4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62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"/>
          <p:cNvSpPr>
            <a:spLocks noGrp="1"/>
          </p:cNvSpPr>
          <p:nvPr>
            <p:ph type="title" hasCustomPrompt="1"/>
          </p:nvPr>
        </p:nvSpPr>
        <p:spPr>
          <a:xfrm>
            <a:off x="1602515" y="177110"/>
            <a:ext cx="9905376" cy="30780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000" kern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45780014-60AD-4D4C-B6BB-A0DF121B2FEB}"/>
              </a:ext>
            </a:extLst>
          </p:cNvPr>
          <p:cNvSpPr>
            <a:spLocks/>
          </p:cNvSpPr>
          <p:nvPr userDrawn="1"/>
        </p:nvSpPr>
        <p:spPr bwMode="auto">
          <a:xfrm>
            <a:off x="11662261" y="161564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102572" tIns="102572" rIns="102572" bIns="102572" rtlCol="0" anchor="ctr"/>
          <a:lstStyle/>
          <a:p>
            <a:pPr marL="0" marR="0" lvl="0" indent="0" algn="ctr" defTabSz="121866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>
              <a:ln>
                <a:noFill/>
              </a:ln>
              <a:solidFill>
                <a:srgbClr val="787E7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87759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1033529" y="89950"/>
            <a:ext cx="446775" cy="446775"/>
            <a:chOff x="4852424" y="5355261"/>
            <a:chExt cx="680400" cy="680400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xmlns="" id="{3DF6420D-E176-5C42-ABBA-A6D11E2EA40A}"/>
                </a:ext>
              </a:extLst>
            </p:cNvPr>
            <p:cNvSpPr/>
            <p:nvPr/>
          </p:nvSpPr>
          <p:spPr>
            <a:xfrm>
              <a:off x="4852424" y="5355261"/>
              <a:ext cx="680400" cy="680400"/>
            </a:xfrm>
            <a:prstGeom prst="ellipse">
              <a:avLst/>
            </a:prstGeom>
            <a:solidFill>
              <a:schemeClr val="accent6"/>
            </a:solidFill>
            <a:ln w="19050" cap="flat" cmpd="sng" algn="ctr">
              <a:solidFill>
                <a:schemeClr val="bg2">
                  <a:lumMod val="75000"/>
                </a:schemeClr>
              </a:solidFill>
              <a:prstDash val="solid"/>
            </a:ln>
            <a:effectLst/>
          </p:spPr>
          <p:txBody>
            <a:bodyPr lIns="96746" tIns="48373" rIns="96746" bIns="48373" rtlCol="0" anchor="ctr"/>
            <a:lstStyle/>
            <a:p>
              <a:pPr algn="ctr" defTabSz="967502">
                <a:defRPr/>
              </a:pPr>
              <a:endParaRPr lang="en-US" sz="1481" kern="0" dirty="0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" name="Freeform 413"/>
            <p:cNvSpPr>
              <a:spLocks noEditPoints="1"/>
            </p:cNvSpPr>
            <p:nvPr/>
          </p:nvSpPr>
          <p:spPr bwMode="auto">
            <a:xfrm>
              <a:off x="4955920" y="5499372"/>
              <a:ext cx="488251" cy="392178"/>
            </a:xfrm>
            <a:custGeom>
              <a:avLst/>
              <a:gdLst/>
              <a:ahLst/>
              <a:cxnLst>
                <a:cxn ang="0">
                  <a:pos x="235" y="365"/>
                </a:cxn>
                <a:cxn ang="0">
                  <a:pos x="246" y="344"/>
                </a:cxn>
                <a:cxn ang="0">
                  <a:pos x="226" y="329"/>
                </a:cxn>
                <a:cxn ang="0">
                  <a:pos x="217" y="320"/>
                </a:cxn>
                <a:cxn ang="0">
                  <a:pos x="206" y="328"/>
                </a:cxn>
                <a:cxn ang="0">
                  <a:pos x="142" y="348"/>
                </a:cxn>
                <a:cxn ang="0">
                  <a:pos x="31" y="237"/>
                </a:cxn>
                <a:cxn ang="0">
                  <a:pos x="106" y="133"/>
                </a:cxn>
                <a:cxn ang="0">
                  <a:pos x="106" y="132"/>
                </a:cxn>
                <a:cxn ang="0">
                  <a:pos x="144" y="127"/>
                </a:cxn>
                <a:cxn ang="0">
                  <a:pos x="201" y="141"/>
                </a:cxn>
                <a:cxn ang="0">
                  <a:pos x="132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6" y="104"/>
                </a:cxn>
                <a:cxn ang="0">
                  <a:pos x="49" y="130"/>
                </a:cxn>
                <a:cxn ang="0">
                  <a:pos x="49" y="129"/>
                </a:cxn>
                <a:cxn ang="0">
                  <a:pos x="0" y="237"/>
                </a:cxn>
                <a:cxn ang="0">
                  <a:pos x="142" y="380"/>
                </a:cxn>
                <a:cxn ang="0">
                  <a:pos x="214" y="360"/>
                </a:cxn>
                <a:cxn ang="0">
                  <a:pos x="231" y="371"/>
                </a:cxn>
                <a:cxn ang="0">
                  <a:pos x="235" y="365"/>
                </a:cxn>
                <a:cxn ang="0">
                  <a:pos x="453" y="183"/>
                </a:cxn>
                <a:cxn ang="0">
                  <a:pos x="454" y="175"/>
                </a:cxn>
                <a:cxn ang="0">
                  <a:pos x="348" y="70"/>
                </a:cxn>
                <a:cxn ang="0">
                  <a:pos x="327" y="72"/>
                </a:cxn>
                <a:cxn ang="0">
                  <a:pos x="212" y="0"/>
                </a:cxn>
                <a:cxn ang="0">
                  <a:pos x="90" y="89"/>
                </a:cxn>
                <a:cxn ang="0">
                  <a:pos x="125" y="86"/>
                </a:cxn>
                <a:cxn ang="0">
                  <a:pos x="212" y="32"/>
                </a:cxn>
                <a:cxn ang="0">
                  <a:pos x="302" y="96"/>
                </a:cxn>
                <a:cxn ang="0">
                  <a:pos x="308" y="112"/>
                </a:cxn>
                <a:cxn ang="0">
                  <a:pos x="323" y="106"/>
                </a:cxn>
                <a:cxn ang="0">
                  <a:pos x="348" y="101"/>
                </a:cxn>
                <a:cxn ang="0">
                  <a:pos x="422" y="175"/>
                </a:cxn>
                <a:cxn ang="0">
                  <a:pos x="420" y="192"/>
                </a:cxn>
                <a:cxn ang="0">
                  <a:pos x="416" y="209"/>
                </a:cxn>
                <a:cxn ang="0">
                  <a:pos x="434" y="211"/>
                </a:cxn>
                <a:cxn ang="0">
                  <a:pos x="492" y="275"/>
                </a:cxn>
                <a:cxn ang="0">
                  <a:pos x="428" y="338"/>
                </a:cxn>
                <a:cxn ang="0">
                  <a:pos x="394" y="329"/>
                </a:cxn>
                <a:cxn ang="0">
                  <a:pos x="384" y="322"/>
                </a:cxn>
                <a:cxn ang="0">
                  <a:pos x="375" y="330"/>
                </a:cxn>
                <a:cxn ang="0">
                  <a:pos x="358" y="343"/>
                </a:cxn>
                <a:cxn ang="0">
                  <a:pos x="352" y="359"/>
                </a:cxn>
                <a:cxn ang="0">
                  <a:pos x="342" y="384"/>
                </a:cxn>
                <a:cxn ang="0">
                  <a:pos x="387" y="361"/>
                </a:cxn>
                <a:cxn ang="0">
                  <a:pos x="428" y="370"/>
                </a:cxn>
                <a:cxn ang="0">
                  <a:pos x="523" y="275"/>
                </a:cxn>
                <a:cxn ang="0">
                  <a:pos x="453" y="183"/>
                </a:cxn>
                <a:cxn ang="0">
                  <a:pos x="383" y="292"/>
                </a:cxn>
                <a:cxn ang="0">
                  <a:pos x="313" y="171"/>
                </a:cxn>
                <a:cxn ang="0">
                  <a:pos x="244" y="292"/>
                </a:cxn>
                <a:cxn ang="0">
                  <a:pos x="282" y="292"/>
                </a:cxn>
                <a:cxn ang="0">
                  <a:pos x="220" y="420"/>
                </a:cxn>
                <a:cxn ang="0">
                  <a:pos x="297" y="420"/>
                </a:cxn>
                <a:cxn ang="0">
                  <a:pos x="343" y="292"/>
                </a:cxn>
                <a:cxn ang="0">
                  <a:pos x="383" y="292"/>
                </a:cxn>
              </a:cxnLst>
              <a:rect l="0" t="0" r="r" b="b"/>
              <a:pathLst>
                <a:path w="523" h="420">
                  <a:moveTo>
                    <a:pt x="235" y="365"/>
                  </a:moveTo>
                  <a:cubicBezTo>
                    <a:pt x="239" y="358"/>
                    <a:pt x="243" y="351"/>
                    <a:pt x="246" y="344"/>
                  </a:cubicBezTo>
                  <a:cubicBezTo>
                    <a:pt x="239" y="340"/>
                    <a:pt x="232" y="335"/>
                    <a:pt x="226" y="329"/>
                  </a:cubicBezTo>
                  <a:cubicBezTo>
                    <a:pt x="217" y="320"/>
                    <a:pt x="217" y="320"/>
                    <a:pt x="217" y="320"/>
                  </a:cubicBezTo>
                  <a:cubicBezTo>
                    <a:pt x="206" y="328"/>
                    <a:pt x="206" y="328"/>
                    <a:pt x="206" y="328"/>
                  </a:cubicBezTo>
                  <a:cubicBezTo>
                    <a:pt x="187" y="341"/>
                    <a:pt x="165" y="348"/>
                    <a:pt x="142" y="348"/>
                  </a:cubicBezTo>
                  <a:cubicBezTo>
                    <a:pt x="81" y="348"/>
                    <a:pt x="31" y="299"/>
                    <a:pt x="31" y="237"/>
                  </a:cubicBezTo>
                  <a:cubicBezTo>
                    <a:pt x="31" y="190"/>
                    <a:pt x="61" y="148"/>
                    <a:pt x="106" y="133"/>
                  </a:cubicBezTo>
                  <a:cubicBezTo>
                    <a:pt x="106" y="132"/>
                    <a:pt x="106" y="132"/>
                    <a:pt x="106" y="132"/>
                  </a:cubicBezTo>
                  <a:cubicBezTo>
                    <a:pt x="117" y="129"/>
                    <a:pt x="129" y="127"/>
                    <a:pt x="144" y="127"/>
                  </a:cubicBezTo>
                  <a:cubicBezTo>
                    <a:pt x="167" y="127"/>
                    <a:pt x="187" y="132"/>
                    <a:pt x="201" y="141"/>
                  </a:cubicBezTo>
                  <a:cubicBezTo>
                    <a:pt x="208" y="131"/>
                    <a:pt x="195" y="103"/>
                    <a:pt x="132" y="103"/>
                  </a:cubicBezTo>
                  <a:cubicBezTo>
                    <a:pt x="127" y="103"/>
                    <a:pt x="123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8" y="103"/>
                    <a:pt x="117" y="104"/>
                    <a:pt x="116" y="104"/>
                  </a:cubicBezTo>
                  <a:cubicBezTo>
                    <a:pt x="77" y="107"/>
                    <a:pt x="49" y="130"/>
                    <a:pt x="49" y="130"/>
                  </a:cubicBezTo>
                  <a:cubicBezTo>
                    <a:pt x="49" y="129"/>
                    <a:pt x="49" y="129"/>
                    <a:pt x="49" y="129"/>
                  </a:cubicBezTo>
                  <a:cubicBezTo>
                    <a:pt x="18" y="156"/>
                    <a:pt x="0" y="195"/>
                    <a:pt x="0" y="237"/>
                  </a:cubicBezTo>
                  <a:cubicBezTo>
                    <a:pt x="0" y="316"/>
                    <a:pt x="63" y="380"/>
                    <a:pt x="142" y="380"/>
                  </a:cubicBezTo>
                  <a:cubicBezTo>
                    <a:pt x="168" y="380"/>
                    <a:pt x="192" y="373"/>
                    <a:pt x="214" y="360"/>
                  </a:cubicBezTo>
                  <a:cubicBezTo>
                    <a:pt x="220" y="364"/>
                    <a:pt x="225" y="368"/>
                    <a:pt x="231" y="371"/>
                  </a:cubicBezTo>
                  <a:lnTo>
                    <a:pt x="235" y="365"/>
                  </a:lnTo>
                  <a:close/>
                  <a:moveTo>
                    <a:pt x="453" y="183"/>
                  </a:moveTo>
                  <a:cubicBezTo>
                    <a:pt x="454" y="180"/>
                    <a:pt x="454" y="178"/>
                    <a:pt x="454" y="175"/>
                  </a:cubicBezTo>
                  <a:cubicBezTo>
                    <a:pt x="454" y="117"/>
                    <a:pt x="407" y="70"/>
                    <a:pt x="348" y="70"/>
                  </a:cubicBezTo>
                  <a:cubicBezTo>
                    <a:pt x="341" y="70"/>
                    <a:pt x="334" y="71"/>
                    <a:pt x="327" y="72"/>
                  </a:cubicBezTo>
                  <a:cubicBezTo>
                    <a:pt x="305" y="29"/>
                    <a:pt x="261" y="0"/>
                    <a:pt x="212" y="0"/>
                  </a:cubicBezTo>
                  <a:cubicBezTo>
                    <a:pt x="155" y="0"/>
                    <a:pt x="106" y="37"/>
                    <a:pt x="90" y="89"/>
                  </a:cubicBezTo>
                  <a:cubicBezTo>
                    <a:pt x="103" y="86"/>
                    <a:pt x="116" y="85"/>
                    <a:pt x="125" y="86"/>
                  </a:cubicBezTo>
                  <a:cubicBezTo>
                    <a:pt x="141" y="53"/>
                    <a:pt x="174" y="32"/>
                    <a:pt x="212" y="32"/>
                  </a:cubicBezTo>
                  <a:cubicBezTo>
                    <a:pt x="253" y="32"/>
                    <a:pt x="289" y="58"/>
                    <a:pt x="302" y="96"/>
                  </a:cubicBezTo>
                  <a:cubicBezTo>
                    <a:pt x="308" y="112"/>
                    <a:pt x="308" y="112"/>
                    <a:pt x="308" y="112"/>
                  </a:cubicBezTo>
                  <a:cubicBezTo>
                    <a:pt x="323" y="106"/>
                    <a:pt x="323" y="106"/>
                    <a:pt x="323" y="106"/>
                  </a:cubicBezTo>
                  <a:cubicBezTo>
                    <a:pt x="331" y="103"/>
                    <a:pt x="340" y="101"/>
                    <a:pt x="348" y="101"/>
                  </a:cubicBezTo>
                  <a:cubicBezTo>
                    <a:pt x="389" y="101"/>
                    <a:pt x="422" y="135"/>
                    <a:pt x="422" y="175"/>
                  </a:cubicBezTo>
                  <a:cubicBezTo>
                    <a:pt x="422" y="181"/>
                    <a:pt x="421" y="186"/>
                    <a:pt x="420" y="192"/>
                  </a:cubicBezTo>
                  <a:cubicBezTo>
                    <a:pt x="416" y="209"/>
                    <a:pt x="416" y="209"/>
                    <a:pt x="416" y="209"/>
                  </a:cubicBezTo>
                  <a:cubicBezTo>
                    <a:pt x="434" y="211"/>
                    <a:pt x="434" y="211"/>
                    <a:pt x="434" y="211"/>
                  </a:cubicBezTo>
                  <a:cubicBezTo>
                    <a:pt x="467" y="214"/>
                    <a:pt x="492" y="242"/>
                    <a:pt x="492" y="275"/>
                  </a:cubicBezTo>
                  <a:cubicBezTo>
                    <a:pt x="492" y="310"/>
                    <a:pt x="463" y="338"/>
                    <a:pt x="428" y="338"/>
                  </a:cubicBezTo>
                  <a:cubicBezTo>
                    <a:pt x="416" y="338"/>
                    <a:pt x="404" y="335"/>
                    <a:pt x="394" y="329"/>
                  </a:cubicBezTo>
                  <a:cubicBezTo>
                    <a:pt x="384" y="322"/>
                    <a:pt x="384" y="322"/>
                    <a:pt x="384" y="322"/>
                  </a:cubicBezTo>
                  <a:cubicBezTo>
                    <a:pt x="375" y="330"/>
                    <a:pt x="375" y="330"/>
                    <a:pt x="375" y="330"/>
                  </a:cubicBezTo>
                  <a:cubicBezTo>
                    <a:pt x="370" y="335"/>
                    <a:pt x="364" y="339"/>
                    <a:pt x="358" y="343"/>
                  </a:cubicBezTo>
                  <a:cubicBezTo>
                    <a:pt x="356" y="348"/>
                    <a:pt x="354" y="354"/>
                    <a:pt x="352" y="359"/>
                  </a:cubicBezTo>
                  <a:cubicBezTo>
                    <a:pt x="349" y="367"/>
                    <a:pt x="346" y="376"/>
                    <a:pt x="342" y="384"/>
                  </a:cubicBezTo>
                  <a:cubicBezTo>
                    <a:pt x="358" y="379"/>
                    <a:pt x="374" y="371"/>
                    <a:pt x="387" y="361"/>
                  </a:cubicBezTo>
                  <a:cubicBezTo>
                    <a:pt x="400" y="367"/>
                    <a:pt x="414" y="370"/>
                    <a:pt x="428" y="370"/>
                  </a:cubicBezTo>
                  <a:cubicBezTo>
                    <a:pt x="481" y="370"/>
                    <a:pt x="523" y="327"/>
                    <a:pt x="523" y="275"/>
                  </a:cubicBezTo>
                  <a:cubicBezTo>
                    <a:pt x="523" y="231"/>
                    <a:pt x="494" y="194"/>
                    <a:pt x="453" y="183"/>
                  </a:cubicBezTo>
                  <a:close/>
                  <a:moveTo>
                    <a:pt x="383" y="292"/>
                  </a:moveTo>
                  <a:cubicBezTo>
                    <a:pt x="313" y="171"/>
                    <a:pt x="313" y="171"/>
                    <a:pt x="313" y="171"/>
                  </a:cubicBezTo>
                  <a:cubicBezTo>
                    <a:pt x="244" y="292"/>
                    <a:pt x="244" y="292"/>
                    <a:pt x="244" y="292"/>
                  </a:cubicBezTo>
                  <a:cubicBezTo>
                    <a:pt x="282" y="292"/>
                    <a:pt x="282" y="292"/>
                    <a:pt x="282" y="292"/>
                  </a:cubicBezTo>
                  <a:cubicBezTo>
                    <a:pt x="274" y="341"/>
                    <a:pt x="252" y="385"/>
                    <a:pt x="220" y="420"/>
                  </a:cubicBezTo>
                  <a:cubicBezTo>
                    <a:pt x="297" y="420"/>
                    <a:pt x="297" y="420"/>
                    <a:pt x="297" y="420"/>
                  </a:cubicBezTo>
                  <a:cubicBezTo>
                    <a:pt x="321" y="382"/>
                    <a:pt x="338" y="338"/>
                    <a:pt x="343" y="292"/>
                  </a:cubicBezTo>
                  <a:lnTo>
                    <a:pt x="383" y="29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</p:grp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A0C4E7F1-7346-4A46-A777-55C481F872B9}"/>
              </a:ext>
            </a:extLst>
          </p:cNvPr>
          <p:cNvSpPr/>
          <p:nvPr userDrawn="1"/>
        </p:nvSpPr>
        <p:spPr>
          <a:xfrm>
            <a:off x="0" y="657026"/>
            <a:ext cx="12192000" cy="6200975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27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4" name="Группа 3"/>
          <p:cNvGrpSpPr/>
          <p:nvPr userDrawn="1"/>
        </p:nvGrpSpPr>
        <p:grpSpPr>
          <a:xfrm>
            <a:off x="146651" y="90377"/>
            <a:ext cx="802256" cy="446347"/>
            <a:chOff x="146650" y="90376"/>
            <a:chExt cx="802256" cy="446347"/>
          </a:xfrm>
        </p:grpSpPr>
        <p:grpSp>
          <p:nvGrpSpPr>
            <p:cNvPr id="11" name="Группа 10"/>
            <p:cNvGrpSpPr/>
            <p:nvPr userDrawn="1"/>
          </p:nvGrpSpPr>
          <p:grpSpPr>
            <a:xfrm>
              <a:off x="146650" y="90376"/>
              <a:ext cx="802256" cy="446347"/>
              <a:chOff x="3215754" y="3239215"/>
              <a:chExt cx="5277696" cy="2936328"/>
            </a:xfrm>
            <a:solidFill>
              <a:schemeClr val="accent6"/>
            </a:solidFill>
          </p:grpSpPr>
          <p:sp>
            <p:nvSpPr>
              <p:cNvPr id="14" name="Round Diagonal Corner Rectangle 73"/>
              <p:cNvSpPr/>
              <p:nvPr/>
            </p:nvSpPr>
            <p:spPr>
              <a:xfrm rot="16200000" flipV="1">
                <a:off x="4045695" y="2409275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15" name="Round Diagonal Corner Rectangle 73"/>
              <p:cNvSpPr/>
              <p:nvPr/>
            </p:nvSpPr>
            <p:spPr>
              <a:xfrm rot="16200000" flipV="1">
                <a:off x="6763017" y="2409276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16" name="Round Diagonal Corner Rectangle 73"/>
              <p:cNvSpPr/>
              <p:nvPr/>
            </p:nvSpPr>
            <p:spPr>
              <a:xfrm rot="16200000" flipV="1">
                <a:off x="4045695" y="3427192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17" name="Round Diagonal Corner Rectangle 73"/>
              <p:cNvSpPr/>
              <p:nvPr/>
            </p:nvSpPr>
            <p:spPr>
              <a:xfrm rot="16200000" flipV="1">
                <a:off x="6763017" y="3427193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18" name="Round Diagonal Corner Rectangle 73"/>
              <p:cNvSpPr/>
              <p:nvPr/>
            </p:nvSpPr>
            <p:spPr>
              <a:xfrm rot="16200000" flipV="1">
                <a:off x="5404355" y="3086448"/>
                <a:ext cx="900494" cy="527769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bg2">
                  <a:lumMod val="75000"/>
                </a:schemeClr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</p:grpSp>
        <p:grpSp>
          <p:nvGrpSpPr>
            <p:cNvPr id="23" name="Group 2"/>
            <p:cNvGrpSpPr/>
            <p:nvPr userDrawn="1"/>
          </p:nvGrpSpPr>
          <p:grpSpPr>
            <a:xfrm>
              <a:off x="298733" y="103728"/>
              <a:ext cx="90401" cy="105401"/>
              <a:chOff x="6670675" y="3513137"/>
              <a:chExt cx="1071561" cy="1249363"/>
            </a:xfrm>
            <a:solidFill>
              <a:schemeClr val="accent6">
                <a:lumMod val="60000"/>
                <a:lumOff val="40000"/>
              </a:schemeClr>
            </a:solidFill>
          </p:grpSpPr>
          <p:grpSp>
            <p:nvGrpSpPr>
              <p:cNvPr id="24" name="Group 115"/>
              <p:cNvGrpSpPr/>
              <p:nvPr/>
            </p:nvGrpSpPr>
            <p:grpSpPr>
              <a:xfrm>
                <a:off x="6670675" y="3513137"/>
                <a:ext cx="700087" cy="1249363"/>
                <a:chOff x="-2524125" y="-798513"/>
                <a:chExt cx="700087" cy="1249363"/>
              </a:xfrm>
              <a:grpFill/>
            </p:grpSpPr>
            <p:sp>
              <p:nvSpPr>
                <p:cNvPr id="26" name="Oval 273"/>
                <p:cNvSpPr>
                  <a:spLocks noChangeArrowheads="1"/>
                </p:cNvSpPr>
                <p:nvPr/>
              </p:nvSpPr>
              <p:spPr bwMode="auto">
                <a:xfrm>
                  <a:off x="-2268538" y="-798513"/>
                  <a:ext cx="200025" cy="23812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28" name="Freeform 274"/>
                <p:cNvSpPr>
                  <a:spLocks noEditPoints="1"/>
                </p:cNvSpPr>
                <p:nvPr/>
              </p:nvSpPr>
              <p:spPr bwMode="auto">
                <a:xfrm>
                  <a:off x="-2524125" y="-536575"/>
                  <a:ext cx="700087" cy="987425"/>
                </a:xfrm>
                <a:custGeom>
                  <a:avLst/>
                  <a:gdLst/>
                  <a:ahLst/>
                  <a:cxnLst>
                    <a:cxn ang="0">
                      <a:pos x="123" y="27"/>
                    </a:cxn>
                    <a:cxn ang="0">
                      <a:pos x="122" y="26"/>
                    </a:cxn>
                    <a:cxn ang="0">
                      <a:pos x="116" y="22"/>
                    </a:cxn>
                    <a:cxn ang="0">
                      <a:pos x="91" y="3"/>
                    </a:cxn>
                    <a:cxn ang="0">
                      <a:pos x="85" y="1"/>
                    </a:cxn>
                    <a:cxn ang="0">
                      <a:pos x="77" y="1"/>
                    </a:cxn>
                    <a:cxn ang="0">
                      <a:pos x="75" y="11"/>
                    </a:cxn>
                    <a:cxn ang="0">
                      <a:pos x="68" y="43"/>
                    </a:cxn>
                    <a:cxn ang="0">
                      <a:pos x="68" y="7"/>
                    </a:cxn>
                    <a:cxn ang="0">
                      <a:pos x="59" y="0"/>
                    </a:cxn>
                    <a:cxn ang="0">
                      <a:pos x="59" y="9"/>
                    </a:cxn>
                    <a:cxn ang="0">
                      <a:pos x="46" y="18"/>
                    </a:cxn>
                    <a:cxn ang="0">
                      <a:pos x="41" y="7"/>
                    </a:cxn>
                    <a:cxn ang="0">
                      <a:pos x="48" y="0"/>
                    </a:cxn>
                    <a:cxn ang="0">
                      <a:pos x="39" y="1"/>
                    </a:cxn>
                    <a:cxn ang="0">
                      <a:pos x="3" y="36"/>
                    </a:cxn>
                    <a:cxn ang="0">
                      <a:pos x="3" y="36"/>
                    </a:cxn>
                    <a:cxn ang="0">
                      <a:pos x="1" y="49"/>
                    </a:cxn>
                    <a:cxn ang="0">
                      <a:pos x="1" y="49"/>
                    </a:cxn>
                    <a:cxn ang="0">
                      <a:pos x="2" y="51"/>
                    </a:cxn>
                    <a:cxn ang="0">
                      <a:pos x="6" y="58"/>
                    </a:cxn>
                    <a:cxn ang="0">
                      <a:pos x="20" y="86"/>
                    </a:cxn>
                    <a:cxn ang="0">
                      <a:pos x="33" y="91"/>
                    </a:cxn>
                    <a:cxn ang="0">
                      <a:pos x="35" y="92"/>
                    </a:cxn>
                    <a:cxn ang="0">
                      <a:pos x="61" y="174"/>
                    </a:cxn>
                    <a:cxn ang="0">
                      <a:pos x="57" y="112"/>
                    </a:cxn>
                    <a:cxn ang="0">
                      <a:pos x="91" y="34"/>
                    </a:cxn>
                    <a:cxn ang="0">
                      <a:pos x="95" y="32"/>
                    </a:cxn>
                    <a:cxn ang="0">
                      <a:pos x="77" y="46"/>
                    </a:cxn>
                    <a:cxn ang="0">
                      <a:pos x="91" y="34"/>
                    </a:cxn>
                    <a:cxn ang="0">
                      <a:pos x="31" y="56"/>
                    </a:cxn>
                    <a:cxn ang="0">
                      <a:pos x="24" y="44"/>
                    </a:cxn>
                    <a:cxn ang="0">
                      <a:pos x="34" y="61"/>
                    </a:cxn>
                  </a:cxnLst>
                  <a:rect l="0" t="0" r="r" b="b"/>
                  <a:pathLst>
                    <a:path w="123" h="174">
                      <a:moveTo>
                        <a:pt x="122" y="42"/>
                      </a:moveTo>
                      <a:cubicBezTo>
                        <a:pt x="122" y="35"/>
                        <a:pt x="123" y="24"/>
                        <a:pt x="123" y="27"/>
                      </a:cubicBezTo>
                      <a:cubicBezTo>
                        <a:pt x="123" y="26"/>
                        <a:pt x="123" y="26"/>
                        <a:pt x="123" y="26"/>
                      </a:cubicBezTo>
                      <a:cubicBezTo>
                        <a:pt x="122" y="26"/>
                        <a:pt x="122" y="26"/>
                        <a:pt x="122" y="26"/>
                      </a:cubicBezTo>
                      <a:cubicBezTo>
                        <a:pt x="120" y="25"/>
                        <a:pt x="120" y="25"/>
                        <a:pt x="120" y="25"/>
                      </a:cubicBezTo>
                      <a:cubicBezTo>
                        <a:pt x="116" y="22"/>
                        <a:pt x="116" y="22"/>
                        <a:pt x="116" y="22"/>
                      </a:cubicBezTo>
                      <a:cubicBezTo>
                        <a:pt x="108" y="15"/>
                        <a:pt x="108" y="15"/>
                        <a:pt x="108" y="15"/>
                      </a:cubicBezTo>
                      <a:cubicBezTo>
                        <a:pt x="91" y="3"/>
                        <a:pt x="91" y="3"/>
                        <a:pt x="91" y="3"/>
                      </a:cubicBezTo>
                      <a:cubicBezTo>
                        <a:pt x="90" y="2"/>
                        <a:pt x="88" y="1"/>
                        <a:pt x="86" y="1"/>
                      </a:cubicBezTo>
                      <a:cubicBezTo>
                        <a:pt x="85" y="1"/>
                        <a:pt x="85" y="1"/>
                        <a:pt x="85" y="1"/>
                      </a:cubicBezTo>
                      <a:cubicBezTo>
                        <a:pt x="83" y="1"/>
                        <a:pt x="80" y="1"/>
                        <a:pt x="77" y="0"/>
                      </a:cubicBez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84" y="7"/>
                        <a:pt x="84" y="7"/>
                        <a:pt x="84" y="7"/>
                      </a:cubicBezTo>
                      <a:cubicBezTo>
                        <a:pt x="75" y="11"/>
                        <a:pt x="75" y="11"/>
                        <a:pt x="75" y="11"/>
                      </a:cubicBezTo>
                      <a:cubicBezTo>
                        <a:pt x="80" y="18"/>
                        <a:pt x="80" y="18"/>
                        <a:pt x="80" y="18"/>
                      </a:cubicBezTo>
                      <a:cubicBezTo>
                        <a:pt x="68" y="43"/>
                        <a:pt x="68" y="43"/>
                        <a:pt x="68" y="43"/>
                      </a:cubicBezTo>
                      <a:cubicBezTo>
                        <a:pt x="67" y="9"/>
                        <a:pt x="67" y="9"/>
                        <a:pt x="67" y="9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7" y="7"/>
                        <a:pt x="57" y="7"/>
                        <a:pt x="57" y="7"/>
                      </a:cubicBezTo>
                      <a:cubicBezTo>
                        <a:pt x="59" y="9"/>
                        <a:pt x="59" y="9"/>
                        <a:pt x="59" y="9"/>
                      </a:cubicBezTo>
                      <a:cubicBezTo>
                        <a:pt x="57" y="43"/>
                        <a:pt x="57" y="43"/>
                        <a:pt x="57" y="43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50" y="11"/>
                        <a:pt x="50" y="11"/>
                        <a:pt x="50" y="11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8" y="1"/>
                        <a:pt x="48" y="1"/>
                        <a:pt x="48" y="1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5" y="1"/>
                        <a:pt x="43" y="1"/>
                        <a:pt x="40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6" y="1"/>
                        <a:pt x="34" y="3"/>
                        <a:pt x="32" y="5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0" y="61"/>
                        <a:pt x="2" y="43"/>
                        <a:pt x="1" y="48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2" y="49"/>
                        <a:pt x="2" y="49"/>
                        <a:pt x="2" y="49"/>
                      </a:cubicBezTo>
                      <a:cubicBezTo>
                        <a:pt x="2" y="51"/>
                        <a:pt x="2" y="51"/>
                        <a:pt x="2" y="51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6" y="58"/>
                        <a:pt x="6" y="58"/>
                        <a:pt x="6" y="58"/>
                      </a:cubicBezTo>
                      <a:cubicBezTo>
                        <a:pt x="11" y="67"/>
                        <a:pt x="11" y="67"/>
                        <a:pt x="11" y="67"/>
                      </a:cubicBezTo>
                      <a:cubicBezTo>
                        <a:pt x="20" y="86"/>
                        <a:pt x="20" y="86"/>
                        <a:pt x="20" y="86"/>
                      </a:cubicBezTo>
                      <a:cubicBezTo>
                        <a:pt x="25" y="84"/>
                        <a:pt x="29" y="82"/>
                        <a:pt x="33" y="79"/>
                      </a:cubicBezTo>
                      <a:cubicBezTo>
                        <a:pt x="33" y="83"/>
                        <a:pt x="33" y="87"/>
                        <a:pt x="33" y="91"/>
                      </a:cubicBezTo>
                      <a:cubicBezTo>
                        <a:pt x="33" y="92"/>
                        <a:pt x="33" y="92"/>
                        <a:pt x="33" y="92"/>
                      </a:cubicBezTo>
                      <a:cubicBezTo>
                        <a:pt x="35" y="92"/>
                        <a:pt x="35" y="92"/>
                        <a:pt x="35" y="92"/>
                      </a:cubicBezTo>
                      <a:cubicBezTo>
                        <a:pt x="38" y="174"/>
                        <a:pt x="38" y="174"/>
                        <a:pt x="38" y="174"/>
                      </a:cubicBezTo>
                      <a:cubicBezTo>
                        <a:pt x="61" y="174"/>
                        <a:pt x="61" y="174"/>
                        <a:pt x="61" y="174"/>
                      </a:cubicBezTo>
                      <a:cubicBezTo>
                        <a:pt x="62" y="163"/>
                        <a:pt x="62" y="150"/>
                        <a:pt x="62" y="137"/>
                      </a:cubicBezTo>
                      <a:cubicBezTo>
                        <a:pt x="59" y="129"/>
                        <a:pt x="57" y="121"/>
                        <a:pt x="57" y="112"/>
                      </a:cubicBezTo>
                      <a:cubicBezTo>
                        <a:pt x="57" y="75"/>
                        <a:pt x="86" y="45"/>
                        <a:pt x="122" y="42"/>
                      </a:cubicBezTo>
                      <a:close/>
                      <a:moveTo>
                        <a:pt x="91" y="34"/>
                      </a:moveTo>
                      <a:cubicBezTo>
                        <a:pt x="91" y="32"/>
                        <a:pt x="91" y="30"/>
                        <a:pt x="90" y="28"/>
                      </a:cubicBezTo>
                      <a:cubicBezTo>
                        <a:pt x="95" y="32"/>
                        <a:pt x="95" y="32"/>
                        <a:pt x="95" y="32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ubicBezTo>
                        <a:pt x="77" y="46"/>
                        <a:pt x="77" y="46"/>
                        <a:pt x="77" y="46"/>
                      </a:cubicBezTo>
                      <a:cubicBezTo>
                        <a:pt x="75" y="43"/>
                        <a:pt x="75" y="43"/>
                        <a:pt x="75" y="43"/>
                      </a:cubicBezTo>
                      <a:lnTo>
                        <a:pt x="91" y="34"/>
                      </a:lnTo>
                      <a:close/>
                      <a:moveTo>
                        <a:pt x="34" y="61"/>
                      </a:moveTo>
                      <a:cubicBezTo>
                        <a:pt x="31" y="56"/>
                        <a:pt x="31" y="56"/>
                        <a:pt x="31" y="56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4" y="44"/>
                        <a:pt x="24" y="44"/>
                        <a:pt x="24" y="44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cubicBezTo>
                        <a:pt x="34" y="41"/>
                        <a:pt x="34" y="51"/>
                        <a:pt x="34" y="6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29" name="Freeform 275"/>
                <p:cNvSpPr>
                  <a:spLocks/>
                </p:cNvSpPr>
                <p:nvPr/>
              </p:nvSpPr>
              <p:spPr bwMode="auto">
                <a:xfrm>
                  <a:off x="-2154238" y="287337"/>
                  <a:ext cx="141287" cy="1635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" y="29"/>
                    </a:cxn>
                    <a:cxn ang="0">
                      <a:pos x="25" y="29"/>
                    </a:cxn>
                    <a:cxn ang="0">
                      <a:pos x="25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5" h="29">
                      <a:moveTo>
                        <a:pt x="0" y="0"/>
                      </a:move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25" y="29"/>
                        <a:pt x="25" y="29"/>
                        <a:pt x="25" y="29"/>
                      </a:cubicBezTo>
                      <a:cubicBezTo>
                        <a:pt x="25" y="28"/>
                        <a:pt x="25" y="27"/>
                        <a:pt x="25" y="26"/>
                      </a:cubicBezTo>
                      <a:cubicBezTo>
                        <a:pt x="15" y="19"/>
                        <a:pt x="6" y="10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</p:grpSp>
          <p:sp>
            <p:nvSpPr>
              <p:cNvPr id="25" name="Freeform 209"/>
              <p:cNvSpPr>
                <a:spLocks noEditPoints="1"/>
              </p:cNvSpPr>
              <p:nvPr/>
            </p:nvSpPr>
            <p:spPr bwMode="auto">
              <a:xfrm>
                <a:off x="7032625" y="4046538"/>
                <a:ext cx="709611" cy="709611"/>
              </a:xfrm>
              <a:custGeom>
                <a:avLst/>
                <a:gdLst/>
                <a:ahLst/>
                <a:cxnLst>
                  <a:cxn ang="0">
                    <a:pos x="114" y="40"/>
                  </a:cxn>
                  <a:cxn ang="0">
                    <a:pos x="109" y="41"/>
                  </a:cxn>
                  <a:cxn ang="0">
                    <a:pos x="103" y="34"/>
                  </a:cxn>
                  <a:cxn ang="0">
                    <a:pos x="109" y="25"/>
                  </a:cxn>
                  <a:cxn ang="0">
                    <a:pos x="96" y="16"/>
                  </a:cxn>
                  <a:cxn ang="0">
                    <a:pos x="88" y="19"/>
                  </a:cxn>
                  <a:cxn ang="0">
                    <a:pos x="87" y="10"/>
                  </a:cxn>
                  <a:cxn ang="0">
                    <a:pos x="74" y="2"/>
                  </a:cxn>
                  <a:cxn ang="0">
                    <a:pos x="70" y="3"/>
                  </a:cxn>
                  <a:cxn ang="0">
                    <a:pos x="59" y="10"/>
                  </a:cxn>
                  <a:cxn ang="0">
                    <a:pos x="55" y="0"/>
                  </a:cxn>
                  <a:cxn ang="0">
                    <a:pos x="47" y="2"/>
                  </a:cxn>
                  <a:cxn ang="0">
                    <a:pos x="45" y="2"/>
                  </a:cxn>
                  <a:cxn ang="0">
                    <a:pos x="40" y="6"/>
                  </a:cxn>
                  <a:cxn ang="0">
                    <a:pos x="34" y="16"/>
                  </a:cxn>
                  <a:cxn ang="0">
                    <a:pos x="26" y="11"/>
                  </a:cxn>
                  <a:cxn ang="0">
                    <a:pos x="16" y="19"/>
                  </a:cxn>
                  <a:cxn ang="0">
                    <a:pos x="21" y="29"/>
                  </a:cxn>
                  <a:cxn ang="0">
                    <a:pos x="14" y="34"/>
                  </a:cxn>
                  <a:cxn ang="0">
                    <a:pos x="6" y="34"/>
                  </a:cxn>
                  <a:cxn ang="0">
                    <a:pos x="2" y="46"/>
                  </a:cxn>
                  <a:cxn ang="0">
                    <a:pos x="10" y="52"/>
                  </a:cxn>
                  <a:cxn ang="0">
                    <a:pos x="3" y="61"/>
                  </a:cxn>
                  <a:cxn ang="0">
                    <a:pos x="2" y="77"/>
                  </a:cxn>
                  <a:cxn ang="0">
                    <a:pos x="13" y="78"/>
                  </a:cxn>
                  <a:cxn ang="0">
                    <a:pos x="11" y="89"/>
                  </a:cxn>
                  <a:cxn ang="0">
                    <a:pos x="19" y="103"/>
                  </a:cxn>
                  <a:cxn ang="0">
                    <a:pos x="29" y="99"/>
                  </a:cxn>
                  <a:cxn ang="0">
                    <a:pos x="33" y="110"/>
                  </a:cxn>
                  <a:cxn ang="0">
                    <a:pos x="46" y="118"/>
                  </a:cxn>
                  <a:cxn ang="0">
                    <a:pos x="52" y="109"/>
                  </a:cxn>
                  <a:cxn ang="0">
                    <a:pos x="61" y="117"/>
                  </a:cxn>
                  <a:cxn ang="0">
                    <a:pos x="77" y="117"/>
                  </a:cxn>
                  <a:cxn ang="0">
                    <a:pos x="78" y="106"/>
                  </a:cxn>
                  <a:cxn ang="0">
                    <a:pos x="90" y="108"/>
                  </a:cxn>
                  <a:cxn ang="0">
                    <a:pos x="103" y="101"/>
                  </a:cxn>
                  <a:cxn ang="0">
                    <a:pos x="99" y="91"/>
                  </a:cxn>
                  <a:cxn ang="0">
                    <a:pos x="110" y="87"/>
                  </a:cxn>
                  <a:cxn ang="0">
                    <a:pos x="118" y="73"/>
                  </a:cxn>
                  <a:cxn ang="0">
                    <a:pos x="109" y="67"/>
                  </a:cxn>
                  <a:cxn ang="0">
                    <a:pos x="117" y="58"/>
                  </a:cxn>
                  <a:cxn ang="0">
                    <a:pos x="117" y="44"/>
                  </a:cxn>
                  <a:cxn ang="0">
                    <a:pos x="23" y="67"/>
                  </a:cxn>
                  <a:cxn ang="0">
                    <a:pos x="24" y="47"/>
                  </a:cxn>
                  <a:cxn ang="0">
                    <a:pos x="50" y="23"/>
                  </a:cxn>
                  <a:cxn ang="0">
                    <a:pos x="51" y="39"/>
                  </a:cxn>
                  <a:cxn ang="0">
                    <a:pos x="47" y="41"/>
                  </a:cxn>
                  <a:cxn ang="0">
                    <a:pos x="37" y="60"/>
                  </a:cxn>
                  <a:cxn ang="0">
                    <a:pos x="66" y="97"/>
                  </a:cxn>
                  <a:cxn ang="0">
                    <a:pos x="48" y="79"/>
                  </a:cxn>
                  <a:cxn ang="0">
                    <a:pos x="68" y="81"/>
                  </a:cxn>
                  <a:cxn ang="0">
                    <a:pos x="66" y="97"/>
                  </a:cxn>
                  <a:cxn ang="0">
                    <a:pos x="82" y="64"/>
                  </a:cxn>
                  <a:cxn ang="0">
                    <a:pos x="74" y="42"/>
                  </a:cxn>
                  <a:cxn ang="0">
                    <a:pos x="74" y="25"/>
                  </a:cxn>
                  <a:cxn ang="0">
                    <a:pos x="89" y="36"/>
                  </a:cxn>
                  <a:cxn ang="0">
                    <a:pos x="97" y="53"/>
                  </a:cxn>
                </a:cxnLst>
                <a:rect l="0" t="0" r="r" b="b"/>
                <a:pathLst>
                  <a:path w="119" h="119">
                    <a:moveTo>
                      <a:pt x="117" y="42"/>
                    </a:moveTo>
                    <a:cubicBezTo>
                      <a:pt x="117" y="41"/>
                      <a:pt x="115" y="40"/>
                      <a:pt x="114" y="40"/>
                    </a:cubicBezTo>
                    <a:cubicBezTo>
                      <a:pt x="114" y="40"/>
                      <a:pt x="113" y="40"/>
                      <a:pt x="113" y="40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6" y="41"/>
                      <a:pt x="106" y="41"/>
                      <a:pt x="106" y="41"/>
                    </a:cubicBezTo>
                    <a:cubicBezTo>
                      <a:pt x="105" y="39"/>
                      <a:pt x="104" y="37"/>
                      <a:pt x="103" y="34"/>
                    </a:cubicBezTo>
                    <a:cubicBezTo>
                      <a:pt x="108" y="30"/>
                      <a:pt x="108" y="30"/>
                      <a:pt x="108" y="30"/>
                    </a:cubicBezTo>
                    <a:cubicBezTo>
                      <a:pt x="110" y="29"/>
                      <a:pt x="110" y="27"/>
                      <a:pt x="109" y="25"/>
                    </a:cubicBezTo>
                    <a:cubicBezTo>
                      <a:pt x="101" y="16"/>
                      <a:pt x="101" y="16"/>
                      <a:pt x="101" y="16"/>
                    </a:cubicBezTo>
                    <a:cubicBezTo>
                      <a:pt x="100" y="15"/>
                      <a:pt x="98" y="15"/>
                      <a:pt x="96" y="16"/>
                    </a:cubicBezTo>
                    <a:cubicBezTo>
                      <a:pt x="91" y="21"/>
                      <a:pt x="91" y="21"/>
                      <a:pt x="91" y="21"/>
                    </a:cubicBezTo>
                    <a:cubicBezTo>
                      <a:pt x="90" y="20"/>
                      <a:pt x="89" y="19"/>
                      <a:pt x="88" y="19"/>
                    </a:cubicBezTo>
                    <a:cubicBezTo>
                      <a:pt x="87" y="18"/>
                      <a:pt x="86" y="17"/>
                      <a:pt x="84" y="16"/>
                    </a:cubicBezTo>
                    <a:cubicBezTo>
                      <a:pt x="87" y="10"/>
                      <a:pt x="87" y="10"/>
                      <a:pt x="87" y="10"/>
                    </a:cubicBezTo>
                    <a:cubicBezTo>
                      <a:pt x="87" y="8"/>
                      <a:pt x="87" y="6"/>
                      <a:pt x="85" y="6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2" y="1"/>
                      <a:pt x="70" y="2"/>
                      <a:pt x="70" y="3"/>
                    </a:cubicBezTo>
                    <a:cubicBezTo>
                      <a:pt x="67" y="10"/>
                      <a:pt x="67" y="10"/>
                      <a:pt x="67" y="10"/>
                    </a:cubicBezTo>
                    <a:cubicBezTo>
                      <a:pt x="65" y="10"/>
                      <a:pt x="62" y="10"/>
                      <a:pt x="59" y="10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58" y="1"/>
                      <a:pt x="56" y="0"/>
                      <a:pt x="55" y="0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1" y="3"/>
                      <a:pt x="40" y="4"/>
                      <a:pt x="40" y="6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9" y="14"/>
                      <a:pt x="37" y="15"/>
                      <a:pt x="34" y="16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10"/>
                      <a:pt x="27" y="10"/>
                      <a:pt x="26" y="11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5" y="20"/>
                      <a:pt x="15" y="22"/>
                      <a:pt x="16" y="23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19" y="31"/>
                      <a:pt x="18" y="33"/>
                      <a:pt x="16" y="35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8" y="32"/>
                      <a:pt x="6" y="33"/>
                      <a:pt x="6" y="3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1" y="47"/>
                      <a:pt x="2" y="49"/>
                      <a:pt x="3" y="50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0" y="55"/>
                      <a:pt x="10" y="57"/>
                      <a:pt x="10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0" y="63"/>
                      <a:pt x="0" y="65"/>
                    </a:cubicBezTo>
                    <a:cubicBezTo>
                      <a:pt x="2" y="77"/>
                      <a:pt x="2" y="77"/>
                      <a:pt x="2" y="77"/>
                    </a:cubicBezTo>
                    <a:cubicBezTo>
                      <a:pt x="3" y="78"/>
                      <a:pt x="4" y="80"/>
                      <a:pt x="6" y="79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4" y="80"/>
                      <a:pt x="15" y="83"/>
                      <a:pt x="17" y="85"/>
                    </a:cubicBezTo>
                    <a:cubicBezTo>
                      <a:pt x="11" y="89"/>
                      <a:pt x="11" y="89"/>
                      <a:pt x="11" y="89"/>
                    </a:cubicBezTo>
                    <a:cubicBezTo>
                      <a:pt x="10" y="91"/>
                      <a:pt x="10" y="92"/>
                      <a:pt x="11" y="94"/>
                    </a:cubicBezTo>
                    <a:cubicBezTo>
                      <a:pt x="19" y="103"/>
                      <a:pt x="19" y="103"/>
                      <a:pt x="19" y="103"/>
                    </a:cubicBezTo>
                    <a:cubicBezTo>
                      <a:pt x="20" y="104"/>
                      <a:pt x="22" y="105"/>
                      <a:pt x="23" y="103"/>
                    </a:cubicBezTo>
                    <a:cubicBezTo>
                      <a:pt x="29" y="99"/>
                      <a:pt x="29" y="99"/>
                      <a:pt x="29" y="99"/>
                    </a:cubicBezTo>
                    <a:cubicBezTo>
                      <a:pt x="31" y="100"/>
                      <a:pt x="33" y="102"/>
                      <a:pt x="35" y="103"/>
                    </a:cubicBezTo>
                    <a:cubicBezTo>
                      <a:pt x="33" y="110"/>
                      <a:pt x="33" y="110"/>
                      <a:pt x="33" y="110"/>
                    </a:cubicBezTo>
                    <a:cubicBezTo>
                      <a:pt x="32" y="111"/>
                      <a:pt x="33" y="113"/>
                      <a:pt x="34" y="114"/>
                    </a:cubicBezTo>
                    <a:cubicBezTo>
                      <a:pt x="46" y="118"/>
                      <a:pt x="46" y="118"/>
                      <a:pt x="46" y="118"/>
                    </a:cubicBezTo>
                    <a:cubicBezTo>
                      <a:pt x="48" y="118"/>
                      <a:pt x="49" y="118"/>
                      <a:pt x="50" y="116"/>
                    </a:cubicBezTo>
                    <a:cubicBezTo>
                      <a:pt x="52" y="109"/>
                      <a:pt x="52" y="109"/>
                      <a:pt x="52" y="109"/>
                    </a:cubicBezTo>
                    <a:cubicBezTo>
                      <a:pt x="55" y="109"/>
                      <a:pt x="57" y="110"/>
                      <a:pt x="60" y="110"/>
                    </a:cubicBezTo>
                    <a:cubicBezTo>
                      <a:pt x="61" y="117"/>
                      <a:pt x="61" y="117"/>
                      <a:pt x="61" y="117"/>
                    </a:cubicBezTo>
                    <a:cubicBezTo>
                      <a:pt x="62" y="118"/>
                      <a:pt x="63" y="119"/>
                      <a:pt x="65" y="119"/>
                    </a:cubicBezTo>
                    <a:cubicBezTo>
                      <a:pt x="77" y="117"/>
                      <a:pt x="77" y="117"/>
                      <a:pt x="77" y="117"/>
                    </a:cubicBezTo>
                    <a:cubicBezTo>
                      <a:pt x="79" y="117"/>
                      <a:pt x="80" y="115"/>
                      <a:pt x="79" y="113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80" y="105"/>
                      <a:pt x="83" y="104"/>
                      <a:pt x="85" y="103"/>
                    </a:cubicBezTo>
                    <a:cubicBezTo>
                      <a:pt x="90" y="108"/>
                      <a:pt x="90" y="108"/>
                      <a:pt x="90" y="108"/>
                    </a:cubicBezTo>
                    <a:cubicBezTo>
                      <a:pt x="91" y="109"/>
                      <a:pt x="93" y="110"/>
                      <a:pt x="94" y="108"/>
                    </a:cubicBezTo>
                    <a:cubicBezTo>
                      <a:pt x="103" y="101"/>
                      <a:pt x="103" y="101"/>
                      <a:pt x="103" y="101"/>
                    </a:cubicBezTo>
                    <a:cubicBezTo>
                      <a:pt x="104" y="100"/>
                      <a:pt x="105" y="98"/>
                      <a:pt x="104" y="96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0" y="89"/>
                      <a:pt x="102" y="87"/>
                      <a:pt x="103" y="84"/>
                    </a:cubicBezTo>
                    <a:cubicBezTo>
                      <a:pt x="110" y="87"/>
                      <a:pt x="110" y="87"/>
                      <a:pt x="110" y="87"/>
                    </a:cubicBezTo>
                    <a:cubicBezTo>
                      <a:pt x="111" y="87"/>
                      <a:pt x="113" y="86"/>
                      <a:pt x="114" y="85"/>
                    </a:cubicBezTo>
                    <a:cubicBezTo>
                      <a:pt x="118" y="73"/>
                      <a:pt x="118" y="73"/>
                      <a:pt x="118" y="73"/>
                    </a:cubicBezTo>
                    <a:cubicBezTo>
                      <a:pt x="118" y="72"/>
                      <a:pt x="118" y="70"/>
                      <a:pt x="116" y="69"/>
                    </a:cubicBezTo>
                    <a:cubicBezTo>
                      <a:pt x="109" y="67"/>
                      <a:pt x="109" y="67"/>
                      <a:pt x="109" y="67"/>
                    </a:cubicBezTo>
                    <a:cubicBezTo>
                      <a:pt x="110" y="64"/>
                      <a:pt x="110" y="62"/>
                      <a:pt x="110" y="59"/>
                    </a:cubicBezTo>
                    <a:cubicBezTo>
                      <a:pt x="117" y="58"/>
                      <a:pt x="117" y="58"/>
                      <a:pt x="117" y="58"/>
                    </a:cubicBezTo>
                    <a:cubicBezTo>
                      <a:pt x="118" y="58"/>
                      <a:pt x="119" y="56"/>
                      <a:pt x="119" y="54"/>
                    </a:cubicBezTo>
                    <a:cubicBezTo>
                      <a:pt x="117" y="44"/>
                      <a:pt x="117" y="44"/>
                      <a:pt x="117" y="44"/>
                    </a:cubicBezTo>
                    <a:lnTo>
                      <a:pt x="117" y="42"/>
                    </a:lnTo>
                    <a:close/>
                    <a:moveTo>
                      <a:pt x="23" y="67"/>
                    </a:moveTo>
                    <a:cubicBezTo>
                      <a:pt x="23" y="66"/>
                      <a:pt x="23" y="66"/>
                      <a:pt x="23" y="66"/>
                    </a:cubicBezTo>
                    <a:cubicBezTo>
                      <a:pt x="22" y="60"/>
                      <a:pt x="22" y="53"/>
                      <a:pt x="24" y="47"/>
                    </a:cubicBezTo>
                    <a:cubicBezTo>
                      <a:pt x="28" y="37"/>
                      <a:pt x="36" y="28"/>
                      <a:pt x="47" y="24"/>
                    </a:cubicBezTo>
                    <a:cubicBezTo>
                      <a:pt x="48" y="24"/>
                      <a:pt x="49" y="24"/>
                      <a:pt x="50" y="23"/>
                    </a:cubicBezTo>
                    <a:cubicBezTo>
                      <a:pt x="51" y="23"/>
                      <a:pt x="52" y="23"/>
                      <a:pt x="52" y="23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49" y="39"/>
                      <a:pt x="48" y="40"/>
                      <a:pt x="47" y="41"/>
                    </a:cubicBezTo>
                    <a:cubicBezTo>
                      <a:pt x="42" y="44"/>
                      <a:pt x="39" y="50"/>
                      <a:pt x="38" y="56"/>
                    </a:cubicBezTo>
                    <a:cubicBezTo>
                      <a:pt x="37" y="57"/>
                      <a:pt x="37" y="59"/>
                      <a:pt x="37" y="60"/>
                    </a:cubicBezTo>
                    <a:lnTo>
                      <a:pt x="23" y="67"/>
                    </a:lnTo>
                    <a:close/>
                    <a:moveTo>
                      <a:pt x="66" y="97"/>
                    </a:moveTo>
                    <a:cubicBezTo>
                      <a:pt x="54" y="99"/>
                      <a:pt x="41" y="95"/>
                      <a:pt x="33" y="86"/>
                    </a:cubicBezTo>
                    <a:cubicBezTo>
                      <a:pt x="48" y="79"/>
                      <a:pt x="48" y="79"/>
                      <a:pt x="48" y="79"/>
                    </a:cubicBezTo>
                    <a:cubicBezTo>
                      <a:pt x="52" y="82"/>
                      <a:pt x="58" y="83"/>
                      <a:pt x="64" y="82"/>
                    </a:cubicBezTo>
                    <a:cubicBezTo>
                      <a:pt x="65" y="82"/>
                      <a:pt x="67" y="81"/>
                      <a:pt x="68" y="81"/>
                    </a:cubicBezTo>
                    <a:cubicBezTo>
                      <a:pt x="82" y="90"/>
                      <a:pt x="82" y="90"/>
                      <a:pt x="82" y="90"/>
                    </a:cubicBezTo>
                    <a:cubicBezTo>
                      <a:pt x="77" y="93"/>
                      <a:pt x="72" y="96"/>
                      <a:pt x="66" y="97"/>
                    </a:cubicBezTo>
                    <a:close/>
                    <a:moveTo>
                      <a:pt x="95" y="73"/>
                    </a:moveTo>
                    <a:cubicBezTo>
                      <a:pt x="82" y="64"/>
                      <a:pt x="82" y="64"/>
                      <a:pt x="82" y="64"/>
                    </a:cubicBezTo>
                    <a:cubicBezTo>
                      <a:pt x="82" y="62"/>
                      <a:pt x="83" y="59"/>
                      <a:pt x="82" y="56"/>
                    </a:cubicBezTo>
                    <a:cubicBezTo>
                      <a:pt x="81" y="50"/>
                      <a:pt x="78" y="45"/>
                      <a:pt x="74" y="42"/>
                    </a:cubicBezTo>
                    <a:cubicBezTo>
                      <a:pt x="73" y="42"/>
                      <a:pt x="73" y="41"/>
                      <a:pt x="72" y="41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80" y="27"/>
                      <a:pt x="85" y="31"/>
                      <a:pt x="89" y="36"/>
                    </a:cubicBezTo>
                    <a:cubicBezTo>
                      <a:pt x="91" y="38"/>
                      <a:pt x="93" y="41"/>
                      <a:pt x="94" y="44"/>
                    </a:cubicBezTo>
                    <a:cubicBezTo>
                      <a:pt x="95" y="47"/>
                      <a:pt x="96" y="50"/>
                      <a:pt x="97" y="53"/>
                    </a:cubicBezTo>
                    <a:cubicBezTo>
                      <a:pt x="98" y="60"/>
                      <a:pt x="97" y="67"/>
                      <a:pt x="95" y="7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</p:grpSp>
        <p:grpSp>
          <p:nvGrpSpPr>
            <p:cNvPr id="30" name="Group 4"/>
            <p:cNvGrpSpPr>
              <a:grpSpLocks noChangeAspect="1"/>
            </p:cNvGrpSpPr>
            <p:nvPr userDrawn="1"/>
          </p:nvGrpSpPr>
          <p:grpSpPr bwMode="auto">
            <a:xfrm>
              <a:off x="713661" y="113741"/>
              <a:ext cx="69318" cy="90152"/>
              <a:chOff x="3655" y="1900"/>
              <a:chExt cx="366" cy="476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1" name="Freeform 5"/>
              <p:cNvSpPr>
                <a:spLocks noEditPoints="1"/>
              </p:cNvSpPr>
              <p:nvPr/>
            </p:nvSpPr>
            <p:spPr bwMode="auto">
              <a:xfrm>
                <a:off x="3953" y="1971"/>
                <a:ext cx="68" cy="132"/>
              </a:xfrm>
              <a:custGeom>
                <a:avLst/>
                <a:gdLst>
                  <a:gd name="T0" fmla="*/ 31 w 38"/>
                  <a:gd name="T1" fmla="*/ 74 h 74"/>
                  <a:gd name="T2" fmla="*/ 27 w 38"/>
                  <a:gd name="T3" fmla="*/ 73 h 74"/>
                  <a:gd name="T4" fmla="*/ 18 w 38"/>
                  <a:gd name="T5" fmla="*/ 52 h 74"/>
                  <a:gd name="T6" fmla="*/ 17 w 38"/>
                  <a:gd name="T7" fmla="*/ 49 h 74"/>
                  <a:gd name="T8" fmla="*/ 2 w 38"/>
                  <a:gd name="T9" fmla="*/ 10 h 74"/>
                  <a:gd name="T10" fmla="*/ 4 w 38"/>
                  <a:gd name="T11" fmla="*/ 2 h 74"/>
                  <a:gd name="T12" fmla="*/ 12 w 38"/>
                  <a:gd name="T13" fmla="*/ 4 h 74"/>
                  <a:gd name="T14" fmla="*/ 29 w 38"/>
                  <a:gd name="T15" fmla="*/ 46 h 74"/>
                  <a:gd name="T16" fmla="*/ 29 w 38"/>
                  <a:gd name="T17" fmla="*/ 48 h 74"/>
                  <a:gd name="T18" fmla="*/ 30 w 38"/>
                  <a:gd name="T19" fmla="*/ 49 h 74"/>
                  <a:gd name="T20" fmla="*/ 34 w 38"/>
                  <a:gd name="T21" fmla="*/ 63 h 74"/>
                  <a:gd name="T22" fmla="*/ 36 w 38"/>
                  <a:gd name="T23" fmla="*/ 72 h 74"/>
                  <a:gd name="T24" fmla="*/ 31 w 38"/>
                  <a:gd name="T25" fmla="*/ 74 h 74"/>
                  <a:gd name="T26" fmla="*/ 31 w 38"/>
                  <a:gd name="T27" fmla="*/ 74 h 74"/>
                  <a:gd name="T28" fmla="*/ 31 w 38"/>
                  <a:gd name="T2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74">
                    <a:moveTo>
                      <a:pt x="31" y="74"/>
                    </a:moveTo>
                    <a:cubicBezTo>
                      <a:pt x="29" y="74"/>
                      <a:pt x="28" y="74"/>
                      <a:pt x="27" y="73"/>
                    </a:cubicBezTo>
                    <a:cubicBezTo>
                      <a:pt x="23" y="70"/>
                      <a:pt x="19" y="60"/>
                      <a:pt x="18" y="52"/>
                    </a:cubicBezTo>
                    <a:cubicBezTo>
                      <a:pt x="17" y="52"/>
                      <a:pt x="17" y="51"/>
                      <a:pt x="17" y="49"/>
                    </a:cubicBezTo>
                    <a:cubicBezTo>
                      <a:pt x="15" y="43"/>
                      <a:pt x="11" y="26"/>
                      <a:pt x="2" y="10"/>
                    </a:cubicBezTo>
                    <a:cubicBezTo>
                      <a:pt x="0" y="7"/>
                      <a:pt x="1" y="3"/>
                      <a:pt x="4" y="2"/>
                    </a:cubicBezTo>
                    <a:cubicBezTo>
                      <a:pt x="7" y="0"/>
                      <a:pt x="11" y="1"/>
                      <a:pt x="12" y="4"/>
                    </a:cubicBezTo>
                    <a:cubicBezTo>
                      <a:pt x="23" y="21"/>
                      <a:pt x="27" y="39"/>
                      <a:pt x="29" y="46"/>
                    </a:cubicBezTo>
                    <a:cubicBezTo>
                      <a:pt x="29" y="47"/>
                      <a:pt x="29" y="48"/>
                      <a:pt x="29" y="48"/>
                    </a:cubicBezTo>
                    <a:cubicBezTo>
                      <a:pt x="29" y="48"/>
                      <a:pt x="30" y="49"/>
                      <a:pt x="30" y="49"/>
                    </a:cubicBezTo>
                    <a:cubicBezTo>
                      <a:pt x="31" y="55"/>
                      <a:pt x="33" y="62"/>
                      <a:pt x="34" y="63"/>
                    </a:cubicBezTo>
                    <a:cubicBezTo>
                      <a:pt x="37" y="65"/>
                      <a:pt x="38" y="69"/>
                      <a:pt x="36" y="72"/>
                    </a:cubicBezTo>
                    <a:cubicBezTo>
                      <a:pt x="34" y="73"/>
                      <a:pt x="32" y="74"/>
                      <a:pt x="31" y="74"/>
                    </a:cubicBezTo>
                    <a:close/>
                    <a:moveTo>
                      <a:pt x="31" y="74"/>
                    </a:moveTo>
                    <a:cubicBezTo>
                      <a:pt x="31" y="74"/>
                      <a:pt x="31" y="74"/>
                      <a:pt x="31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32" name="Freeform 6"/>
              <p:cNvSpPr>
                <a:spLocks noEditPoints="1"/>
              </p:cNvSpPr>
              <p:nvPr/>
            </p:nvSpPr>
            <p:spPr bwMode="auto">
              <a:xfrm>
                <a:off x="3810" y="1900"/>
                <a:ext cx="143" cy="62"/>
              </a:xfrm>
              <a:custGeom>
                <a:avLst/>
                <a:gdLst>
                  <a:gd name="T0" fmla="*/ 74 w 80"/>
                  <a:gd name="T1" fmla="*/ 35 h 35"/>
                  <a:gd name="T2" fmla="*/ 69 w 80"/>
                  <a:gd name="T3" fmla="*/ 34 h 35"/>
                  <a:gd name="T4" fmla="*/ 25 w 80"/>
                  <a:gd name="T5" fmla="*/ 12 h 35"/>
                  <a:gd name="T6" fmla="*/ 8 w 80"/>
                  <a:gd name="T7" fmla="*/ 14 h 35"/>
                  <a:gd name="T8" fmla="*/ 1 w 80"/>
                  <a:gd name="T9" fmla="*/ 9 h 35"/>
                  <a:gd name="T10" fmla="*/ 6 w 80"/>
                  <a:gd name="T11" fmla="*/ 2 h 35"/>
                  <a:gd name="T12" fmla="*/ 26 w 80"/>
                  <a:gd name="T13" fmla="*/ 0 h 35"/>
                  <a:gd name="T14" fmla="*/ 26 w 80"/>
                  <a:gd name="T15" fmla="*/ 0 h 35"/>
                  <a:gd name="T16" fmla="*/ 78 w 80"/>
                  <a:gd name="T17" fmla="*/ 25 h 35"/>
                  <a:gd name="T18" fmla="*/ 78 w 80"/>
                  <a:gd name="T19" fmla="*/ 34 h 35"/>
                  <a:gd name="T20" fmla="*/ 74 w 80"/>
                  <a:gd name="T21" fmla="*/ 35 h 35"/>
                  <a:gd name="T22" fmla="*/ 74 w 80"/>
                  <a:gd name="T23" fmla="*/ 35 h 35"/>
                  <a:gd name="T24" fmla="*/ 74 w 80"/>
                  <a:gd name="T2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35">
                    <a:moveTo>
                      <a:pt x="74" y="35"/>
                    </a:moveTo>
                    <a:cubicBezTo>
                      <a:pt x="72" y="35"/>
                      <a:pt x="70" y="35"/>
                      <a:pt x="69" y="34"/>
                    </a:cubicBezTo>
                    <a:cubicBezTo>
                      <a:pt x="57" y="21"/>
                      <a:pt x="42" y="14"/>
                      <a:pt x="25" y="12"/>
                    </a:cubicBezTo>
                    <a:cubicBezTo>
                      <a:pt x="19" y="12"/>
                      <a:pt x="14" y="13"/>
                      <a:pt x="8" y="14"/>
                    </a:cubicBezTo>
                    <a:cubicBezTo>
                      <a:pt x="5" y="14"/>
                      <a:pt x="2" y="12"/>
                      <a:pt x="1" y="9"/>
                    </a:cubicBezTo>
                    <a:cubicBezTo>
                      <a:pt x="0" y="5"/>
                      <a:pt x="3" y="2"/>
                      <a:pt x="6" y="2"/>
                    </a:cubicBezTo>
                    <a:cubicBezTo>
                      <a:pt x="12" y="0"/>
                      <a:pt x="19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46" y="2"/>
                      <a:pt x="64" y="10"/>
                      <a:pt x="78" y="25"/>
                    </a:cubicBezTo>
                    <a:cubicBezTo>
                      <a:pt x="80" y="27"/>
                      <a:pt x="80" y="31"/>
                      <a:pt x="78" y="34"/>
                    </a:cubicBezTo>
                    <a:cubicBezTo>
                      <a:pt x="77" y="35"/>
                      <a:pt x="75" y="35"/>
                      <a:pt x="74" y="35"/>
                    </a:cubicBezTo>
                    <a:close/>
                    <a:moveTo>
                      <a:pt x="74" y="35"/>
                    </a:moveTo>
                    <a:cubicBezTo>
                      <a:pt x="74" y="35"/>
                      <a:pt x="74" y="35"/>
                      <a:pt x="74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33" name="Freeform 7"/>
              <p:cNvSpPr>
                <a:spLocks noEditPoints="1"/>
              </p:cNvSpPr>
              <p:nvPr/>
            </p:nvSpPr>
            <p:spPr bwMode="auto">
              <a:xfrm>
                <a:off x="3657" y="1927"/>
                <a:ext cx="120" cy="119"/>
              </a:xfrm>
              <a:custGeom>
                <a:avLst/>
                <a:gdLst>
                  <a:gd name="T0" fmla="*/ 6 w 67"/>
                  <a:gd name="T1" fmla="*/ 67 h 67"/>
                  <a:gd name="T2" fmla="*/ 5 w 67"/>
                  <a:gd name="T3" fmla="*/ 67 h 67"/>
                  <a:gd name="T4" fmla="*/ 0 w 67"/>
                  <a:gd name="T5" fmla="*/ 62 h 67"/>
                  <a:gd name="T6" fmla="*/ 3 w 67"/>
                  <a:gd name="T7" fmla="*/ 56 h 67"/>
                  <a:gd name="T8" fmla="*/ 4 w 67"/>
                  <a:gd name="T9" fmla="*/ 55 h 67"/>
                  <a:gd name="T10" fmla="*/ 14 w 67"/>
                  <a:gd name="T11" fmla="*/ 46 h 67"/>
                  <a:gd name="T12" fmla="*/ 15 w 67"/>
                  <a:gd name="T13" fmla="*/ 44 h 67"/>
                  <a:gd name="T14" fmla="*/ 24 w 67"/>
                  <a:gd name="T15" fmla="*/ 33 h 67"/>
                  <a:gd name="T16" fmla="*/ 56 w 67"/>
                  <a:gd name="T17" fmla="*/ 2 h 67"/>
                  <a:gd name="T18" fmla="*/ 65 w 67"/>
                  <a:gd name="T19" fmla="*/ 3 h 67"/>
                  <a:gd name="T20" fmla="*/ 63 w 67"/>
                  <a:gd name="T21" fmla="*/ 12 h 67"/>
                  <a:gd name="T22" fmla="*/ 33 w 67"/>
                  <a:gd name="T23" fmla="*/ 41 h 67"/>
                  <a:gd name="T24" fmla="*/ 25 w 67"/>
                  <a:gd name="T25" fmla="*/ 51 h 67"/>
                  <a:gd name="T26" fmla="*/ 24 w 67"/>
                  <a:gd name="T27" fmla="*/ 53 h 67"/>
                  <a:gd name="T28" fmla="*/ 14 w 67"/>
                  <a:gd name="T29" fmla="*/ 63 h 67"/>
                  <a:gd name="T30" fmla="*/ 6 w 67"/>
                  <a:gd name="T31" fmla="*/ 67 h 67"/>
                  <a:gd name="T32" fmla="*/ 6 w 67"/>
                  <a:gd name="T33" fmla="*/ 67 h 67"/>
                  <a:gd name="T34" fmla="*/ 6 w 67"/>
                  <a:gd name="T3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7" h="67">
                    <a:moveTo>
                      <a:pt x="6" y="67"/>
                    </a:moveTo>
                    <a:cubicBezTo>
                      <a:pt x="6" y="67"/>
                      <a:pt x="6" y="67"/>
                      <a:pt x="5" y="67"/>
                    </a:cubicBezTo>
                    <a:cubicBezTo>
                      <a:pt x="3" y="66"/>
                      <a:pt x="1" y="64"/>
                      <a:pt x="0" y="62"/>
                    </a:cubicBezTo>
                    <a:cubicBezTo>
                      <a:pt x="0" y="59"/>
                      <a:pt x="1" y="57"/>
                      <a:pt x="3" y="56"/>
                    </a:cubicBezTo>
                    <a:cubicBezTo>
                      <a:pt x="3" y="55"/>
                      <a:pt x="4" y="55"/>
                      <a:pt x="4" y="55"/>
                    </a:cubicBezTo>
                    <a:cubicBezTo>
                      <a:pt x="6" y="54"/>
                      <a:pt x="10" y="51"/>
                      <a:pt x="14" y="46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8" y="41"/>
                      <a:pt x="20" y="37"/>
                      <a:pt x="24" y="33"/>
                    </a:cubicBezTo>
                    <a:cubicBezTo>
                      <a:pt x="34" y="20"/>
                      <a:pt x="45" y="10"/>
                      <a:pt x="56" y="2"/>
                    </a:cubicBezTo>
                    <a:cubicBezTo>
                      <a:pt x="59" y="0"/>
                      <a:pt x="63" y="1"/>
                      <a:pt x="65" y="3"/>
                    </a:cubicBezTo>
                    <a:cubicBezTo>
                      <a:pt x="67" y="6"/>
                      <a:pt x="66" y="10"/>
                      <a:pt x="63" y="12"/>
                    </a:cubicBezTo>
                    <a:cubicBezTo>
                      <a:pt x="53" y="19"/>
                      <a:pt x="43" y="29"/>
                      <a:pt x="33" y="41"/>
                    </a:cubicBezTo>
                    <a:cubicBezTo>
                      <a:pt x="30" y="45"/>
                      <a:pt x="27" y="48"/>
                      <a:pt x="25" y="51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0" y="58"/>
                      <a:pt x="17" y="61"/>
                      <a:pt x="14" y="63"/>
                    </a:cubicBezTo>
                    <a:cubicBezTo>
                      <a:pt x="10" y="66"/>
                      <a:pt x="8" y="67"/>
                      <a:pt x="6" y="67"/>
                    </a:cubicBezTo>
                    <a:close/>
                    <a:moveTo>
                      <a:pt x="6" y="67"/>
                    </a:moveTo>
                    <a:cubicBezTo>
                      <a:pt x="6" y="67"/>
                      <a:pt x="6" y="67"/>
                      <a:pt x="6" y="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34" name="Freeform 8"/>
              <p:cNvSpPr>
                <a:spLocks noEditPoints="1"/>
              </p:cNvSpPr>
              <p:nvPr/>
            </p:nvSpPr>
            <p:spPr bwMode="auto">
              <a:xfrm>
                <a:off x="3655" y="2114"/>
                <a:ext cx="81" cy="44"/>
              </a:xfrm>
              <a:custGeom>
                <a:avLst/>
                <a:gdLst>
                  <a:gd name="T0" fmla="*/ 7 w 45"/>
                  <a:gd name="T1" fmla="*/ 25 h 25"/>
                  <a:gd name="T2" fmla="*/ 1 w 45"/>
                  <a:gd name="T3" fmla="*/ 21 h 25"/>
                  <a:gd name="T4" fmla="*/ 6 w 45"/>
                  <a:gd name="T5" fmla="*/ 13 h 25"/>
                  <a:gd name="T6" fmla="*/ 35 w 45"/>
                  <a:gd name="T7" fmla="*/ 1 h 25"/>
                  <a:gd name="T8" fmla="*/ 44 w 45"/>
                  <a:gd name="T9" fmla="*/ 4 h 25"/>
                  <a:gd name="T10" fmla="*/ 41 w 45"/>
                  <a:gd name="T11" fmla="*/ 12 h 25"/>
                  <a:gd name="T12" fmla="*/ 9 w 45"/>
                  <a:gd name="T13" fmla="*/ 25 h 25"/>
                  <a:gd name="T14" fmla="*/ 7 w 45"/>
                  <a:gd name="T15" fmla="*/ 25 h 25"/>
                  <a:gd name="T16" fmla="*/ 7 w 45"/>
                  <a:gd name="T17" fmla="*/ 25 h 25"/>
                  <a:gd name="T18" fmla="*/ 7 w 45"/>
                  <a:gd name="T1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5" h="25">
                    <a:moveTo>
                      <a:pt x="7" y="25"/>
                    </a:moveTo>
                    <a:cubicBezTo>
                      <a:pt x="4" y="25"/>
                      <a:pt x="2" y="24"/>
                      <a:pt x="1" y="21"/>
                    </a:cubicBezTo>
                    <a:cubicBezTo>
                      <a:pt x="0" y="17"/>
                      <a:pt x="2" y="14"/>
                      <a:pt x="6" y="13"/>
                    </a:cubicBezTo>
                    <a:cubicBezTo>
                      <a:pt x="17" y="10"/>
                      <a:pt x="28" y="5"/>
                      <a:pt x="35" y="1"/>
                    </a:cubicBezTo>
                    <a:cubicBezTo>
                      <a:pt x="38" y="0"/>
                      <a:pt x="42" y="1"/>
                      <a:pt x="44" y="4"/>
                    </a:cubicBezTo>
                    <a:cubicBezTo>
                      <a:pt x="45" y="7"/>
                      <a:pt x="44" y="11"/>
                      <a:pt x="41" y="12"/>
                    </a:cubicBezTo>
                    <a:cubicBezTo>
                      <a:pt x="33" y="16"/>
                      <a:pt x="21" y="22"/>
                      <a:pt x="9" y="25"/>
                    </a:cubicBezTo>
                    <a:cubicBezTo>
                      <a:pt x="8" y="25"/>
                      <a:pt x="8" y="25"/>
                      <a:pt x="7" y="25"/>
                    </a:cubicBezTo>
                    <a:close/>
                    <a:moveTo>
                      <a:pt x="7" y="25"/>
                    </a:moveTo>
                    <a:cubicBezTo>
                      <a:pt x="7" y="25"/>
                      <a:pt x="7" y="25"/>
                      <a:pt x="7" y="2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35" name="Freeform 9"/>
              <p:cNvSpPr>
                <a:spLocks noEditPoints="1"/>
              </p:cNvSpPr>
              <p:nvPr/>
            </p:nvSpPr>
            <p:spPr bwMode="auto">
              <a:xfrm>
                <a:off x="3738" y="1989"/>
                <a:ext cx="211" cy="132"/>
              </a:xfrm>
              <a:custGeom>
                <a:avLst/>
                <a:gdLst>
                  <a:gd name="T0" fmla="*/ 7 w 118"/>
                  <a:gd name="T1" fmla="*/ 74 h 74"/>
                  <a:gd name="T2" fmla="*/ 2 w 118"/>
                  <a:gd name="T3" fmla="*/ 71 h 74"/>
                  <a:gd name="T4" fmla="*/ 3 w 118"/>
                  <a:gd name="T5" fmla="*/ 63 h 74"/>
                  <a:gd name="T6" fmla="*/ 45 w 118"/>
                  <a:gd name="T7" fmla="*/ 27 h 74"/>
                  <a:gd name="T8" fmla="*/ 94 w 118"/>
                  <a:gd name="T9" fmla="*/ 5 h 74"/>
                  <a:gd name="T10" fmla="*/ 117 w 118"/>
                  <a:gd name="T11" fmla="*/ 27 h 74"/>
                  <a:gd name="T12" fmla="*/ 113 w 118"/>
                  <a:gd name="T13" fmla="*/ 34 h 74"/>
                  <a:gd name="T14" fmla="*/ 105 w 118"/>
                  <a:gd name="T15" fmla="*/ 30 h 74"/>
                  <a:gd name="T16" fmla="*/ 90 w 118"/>
                  <a:gd name="T17" fmla="*/ 17 h 74"/>
                  <a:gd name="T18" fmla="*/ 54 w 118"/>
                  <a:gd name="T19" fmla="*/ 35 h 74"/>
                  <a:gd name="T20" fmla="*/ 10 w 118"/>
                  <a:gd name="T21" fmla="*/ 73 h 74"/>
                  <a:gd name="T22" fmla="*/ 7 w 118"/>
                  <a:gd name="T23" fmla="*/ 74 h 74"/>
                  <a:gd name="T24" fmla="*/ 7 w 118"/>
                  <a:gd name="T25" fmla="*/ 74 h 74"/>
                  <a:gd name="T26" fmla="*/ 7 w 118"/>
                  <a:gd name="T27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8" h="74">
                    <a:moveTo>
                      <a:pt x="7" y="74"/>
                    </a:moveTo>
                    <a:cubicBezTo>
                      <a:pt x="5" y="74"/>
                      <a:pt x="3" y="73"/>
                      <a:pt x="2" y="71"/>
                    </a:cubicBezTo>
                    <a:cubicBezTo>
                      <a:pt x="0" y="69"/>
                      <a:pt x="0" y="65"/>
                      <a:pt x="3" y="63"/>
                    </a:cubicBezTo>
                    <a:cubicBezTo>
                      <a:pt x="25" y="48"/>
                      <a:pt x="45" y="27"/>
                      <a:pt x="45" y="27"/>
                    </a:cubicBezTo>
                    <a:cubicBezTo>
                      <a:pt x="61" y="8"/>
                      <a:pt x="79" y="0"/>
                      <a:pt x="94" y="5"/>
                    </a:cubicBezTo>
                    <a:cubicBezTo>
                      <a:pt x="109" y="9"/>
                      <a:pt x="115" y="19"/>
                      <a:pt x="117" y="27"/>
                    </a:cubicBezTo>
                    <a:cubicBezTo>
                      <a:pt x="118" y="30"/>
                      <a:pt x="116" y="33"/>
                      <a:pt x="113" y="34"/>
                    </a:cubicBezTo>
                    <a:cubicBezTo>
                      <a:pt x="110" y="35"/>
                      <a:pt x="106" y="34"/>
                      <a:pt x="105" y="30"/>
                    </a:cubicBezTo>
                    <a:cubicBezTo>
                      <a:pt x="103" y="24"/>
                      <a:pt x="98" y="19"/>
                      <a:pt x="90" y="17"/>
                    </a:cubicBezTo>
                    <a:cubicBezTo>
                      <a:pt x="79" y="13"/>
                      <a:pt x="64" y="24"/>
                      <a:pt x="54" y="35"/>
                    </a:cubicBezTo>
                    <a:cubicBezTo>
                      <a:pt x="52" y="38"/>
                      <a:pt x="32" y="58"/>
                      <a:pt x="10" y="73"/>
                    </a:cubicBezTo>
                    <a:cubicBezTo>
                      <a:pt x="9" y="74"/>
                      <a:pt x="8" y="74"/>
                      <a:pt x="7" y="74"/>
                    </a:cubicBezTo>
                    <a:close/>
                    <a:moveTo>
                      <a:pt x="7" y="74"/>
                    </a:moveTo>
                    <a:cubicBezTo>
                      <a:pt x="7" y="74"/>
                      <a:pt x="7" y="74"/>
                      <a:pt x="7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36" name="Freeform 10"/>
              <p:cNvSpPr>
                <a:spLocks noEditPoints="1"/>
              </p:cNvSpPr>
              <p:nvPr/>
            </p:nvSpPr>
            <p:spPr bwMode="auto">
              <a:xfrm>
                <a:off x="3677" y="2071"/>
                <a:ext cx="269" cy="203"/>
              </a:xfrm>
              <a:custGeom>
                <a:avLst/>
                <a:gdLst>
                  <a:gd name="T0" fmla="*/ 7 w 150"/>
                  <a:gd name="T1" fmla="*/ 114 h 114"/>
                  <a:gd name="T2" fmla="*/ 1 w 150"/>
                  <a:gd name="T3" fmla="*/ 110 h 114"/>
                  <a:gd name="T4" fmla="*/ 4 w 150"/>
                  <a:gd name="T5" fmla="*/ 102 h 114"/>
                  <a:gd name="T6" fmla="*/ 82 w 150"/>
                  <a:gd name="T7" fmla="*/ 58 h 114"/>
                  <a:gd name="T8" fmla="*/ 138 w 150"/>
                  <a:gd name="T9" fmla="*/ 5 h 114"/>
                  <a:gd name="T10" fmla="*/ 146 w 150"/>
                  <a:gd name="T11" fmla="*/ 1 h 114"/>
                  <a:gd name="T12" fmla="*/ 149 w 150"/>
                  <a:gd name="T13" fmla="*/ 9 h 114"/>
                  <a:gd name="T14" fmla="*/ 89 w 150"/>
                  <a:gd name="T15" fmla="*/ 69 h 114"/>
                  <a:gd name="T16" fmla="*/ 9 w 150"/>
                  <a:gd name="T17" fmla="*/ 113 h 114"/>
                  <a:gd name="T18" fmla="*/ 7 w 150"/>
                  <a:gd name="T19" fmla="*/ 114 h 114"/>
                  <a:gd name="T20" fmla="*/ 7 w 150"/>
                  <a:gd name="T21" fmla="*/ 114 h 114"/>
                  <a:gd name="T22" fmla="*/ 7 w 150"/>
                  <a:gd name="T23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0" h="114">
                    <a:moveTo>
                      <a:pt x="7" y="114"/>
                    </a:moveTo>
                    <a:cubicBezTo>
                      <a:pt x="4" y="114"/>
                      <a:pt x="2" y="113"/>
                      <a:pt x="1" y="110"/>
                    </a:cubicBezTo>
                    <a:cubicBezTo>
                      <a:pt x="0" y="107"/>
                      <a:pt x="1" y="103"/>
                      <a:pt x="4" y="102"/>
                    </a:cubicBezTo>
                    <a:cubicBezTo>
                      <a:pt x="31" y="91"/>
                      <a:pt x="68" y="68"/>
                      <a:pt x="82" y="58"/>
                    </a:cubicBezTo>
                    <a:cubicBezTo>
                      <a:pt x="112" y="39"/>
                      <a:pt x="131" y="20"/>
                      <a:pt x="138" y="5"/>
                    </a:cubicBezTo>
                    <a:cubicBezTo>
                      <a:pt x="139" y="2"/>
                      <a:pt x="143" y="0"/>
                      <a:pt x="146" y="1"/>
                    </a:cubicBezTo>
                    <a:cubicBezTo>
                      <a:pt x="149" y="3"/>
                      <a:pt x="150" y="6"/>
                      <a:pt x="149" y="9"/>
                    </a:cubicBezTo>
                    <a:cubicBezTo>
                      <a:pt x="140" y="33"/>
                      <a:pt x="111" y="54"/>
                      <a:pt x="89" y="69"/>
                    </a:cubicBezTo>
                    <a:cubicBezTo>
                      <a:pt x="74" y="78"/>
                      <a:pt x="36" y="102"/>
                      <a:pt x="9" y="113"/>
                    </a:cubicBezTo>
                    <a:cubicBezTo>
                      <a:pt x="8" y="114"/>
                      <a:pt x="8" y="114"/>
                      <a:pt x="7" y="114"/>
                    </a:cubicBezTo>
                    <a:close/>
                    <a:moveTo>
                      <a:pt x="7" y="114"/>
                    </a:moveTo>
                    <a:cubicBezTo>
                      <a:pt x="7" y="114"/>
                      <a:pt x="7" y="114"/>
                      <a:pt x="7" y="1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37" name="Freeform 11"/>
              <p:cNvSpPr>
                <a:spLocks noEditPoints="1"/>
              </p:cNvSpPr>
              <p:nvPr/>
            </p:nvSpPr>
            <p:spPr bwMode="auto">
              <a:xfrm>
                <a:off x="3766" y="1946"/>
                <a:ext cx="112" cy="73"/>
              </a:xfrm>
              <a:custGeom>
                <a:avLst/>
                <a:gdLst>
                  <a:gd name="T0" fmla="*/ 15 w 62"/>
                  <a:gd name="T1" fmla="*/ 35 h 41"/>
                  <a:gd name="T2" fmla="*/ 33 w 62"/>
                  <a:gd name="T3" fmla="*/ 21 h 41"/>
                  <a:gd name="T4" fmla="*/ 56 w 62"/>
                  <a:gd name="T5" fmla="*/ 13 h 41"/>
                  <a:gd name="T6" fmla="*/ 62 w 62"/>
                  <a:gd name="T7" fmla="*/ 7 h 41"/>
                  <a:gd name="T8" fmla="*/ 56 w 62"/>
                  <a:gd name="T9" fmla="*/ 0 h 41"/>
                  <a:gd name="T10" fmla="*/ 6 w 62"/>
                  <a:gd name="T11" fmla="*/ 26 h 41"/>
                  <a:gd name="T12" fmla="*/ 15 w 62"/>
                  <a:gd name="T13" fmla="*/ 35 h 41"/>
                  <a:gd name="T14" fmla="*/ 15 w 62"/>
                  <a:gd name="T15" fmla="*/ 35 h 41"/>
                  <a:gd name="T16" fmla="*/ 15 w 62"/>
                  <a:gd name="T17" fmla="*/ 3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41">
                    <a:moveTo>
                      <a:pt x="15" y="35"/>
                    </a:moveTo>
                    <a:cubicBezTo>
                      <a:pt x="20" y="30"/>
                      <a:pt x="26" y="25"/>
                      <a:pt x="33" y="21"/>
                    </a:cubicBezTo>
                    <a:cubicBezTo>
                      <a:pt x="40" y="17"/>
                      <a:pt x="48" y="14"/>
                      <a:pt x="56" y="13"/>
                    </a:cubicBezTo>
                    <a:cubicBezTo>
                      <a:pt x="59" y="13"/>
                      <a:pt x="62" y="10"/>
                      <a:pt x="62" y="7"/>
                    </a:cubicBezTo>
                    <a:cubicBezTo>
                      <a:pt x="62" y="4"/>
                      <a:pt x="59" y="0"/>
                      <a:pt x="56" y="0"/>
                    </a:cubicBezTo>
                    <a:cubicBezTo>
                      <a:pt x="36" y="3"/>
                      <a:pt x="20" y="13"/>
                      <a:pt x="6" y="26"/>
                    </a:cubicBezTo>
                    <a:cubicBezTo>
                      <a:pt x="0" y="32"/>
                      <a:pt x="9" y="41"/>
                      <a:pt x="15" y="35"/>
                    </a:cubicBezTo>
                    <a:close/>
                    <a:moveTo>
                      <a:pt x="15" y="35"/>
                    </a:moveTo>
                    <a:cubicBezTo>
                      <a:pt x="15" y="35"/>
                      <a:pt x="15" y="35"/>
                      <a:pt x="15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38" name="Freeform 12"/>
              <p:cNvSpPr>
                <a:spLocks noEditPoints="1"/>
              </p:cNvSpPr>
              <p:nvPr/>
            </p:nvSpPr>
            <p:spPr bwMode="auto">
              <a:xfrm>
                <a:off x="3661" y="2023"/>
                <a:ext cx="105" cy="78"/>
              </a:xfrm>
              <a:custGeom>
                <a:avLst/>
                <a:gdLst>
                  <a:gd name="T0" fmla="*/ 8 w 59"/>
                  <a:gd name="T1" fmla="*/ 43 h 44"/>
                  <a:gd name="T2" fmla="*/ 32 w 59"/>
                  <a:gd name="T3" fmla="*/ 32 h 44"/>
                  <a:gd name="T4" fmla="*/ 54 w 59"/>
                  <a:gd name="T5" fmla="*/ 14 h 44"/>
                  <a:gd name="T6" fmla="*/ 45 w 59"/>
                  <a:gd name="T7" fmla="*/ 6 h 44"/>
                  <a:gd name="T8" fmla="*/ 26 w 59"/>
                  <a:gd name="T9" fmla="*/ 21 h 44"/>
                  <a:gd name="T10" fmla="*/ 5 w 59"/>
                  <a:gd name="T11" fmla="*/ 31 h 44"/>
                  <a:gd name="T12" fmla="*/ 1 w 59"/>
                  <a:gd name="T13" fmla="*/ 39 h 44"/>
                  <a:gd name="T14" fmla="*/ 8 w 59"/>
                  <a:gd name="T15" fmla="*/ 43 h 44"/>
                  <a:gd name="T16" fmla="*/ 8 w 59"/>
                  <a:gd name="T17" fmla="*/ 43 h 44"/>
                  <a:gd name="T18" fmla="*/ 8 w 59"/>
                  <a:gd name="T1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44">
                    <a:moveTo>
                      <a:pt x="8" y="43"/>
                    </a:moveTo>
                    <a:cubicBezTo>
                      <a:pt x="17" y="41"/>
                      <a:pt x="24" y="36"/>
                      <a:pt x="32" y="32"/>
                    </a:cubicBezTo>
                    <a:cubicBezTo>
                      <a:pt x="40" y="28"/>
                      <a:pt x="47" y="21"/>
                      <a:pt x="54" y="14"/>
                    </a:cubicBezTo>
                    <a:cubicBezTo>
                      <a:pt x="59" y="9"/>
                      <a:pt x="50" y="0"/>
                      <a:pt x="45" y="6"/>
                    </a:cubicBezTo>
                    <a:cubicBezTo>
                      <a:pt x="39" y="12"/>
                      <a:pt x="33" y="17"/>
                      <a:pt x="26" y="21"/>
                    </a:cubicBezTo>
                    <a:cubicBezTo>
                      <a:pt x="19" y="25"/>
                      <a:pt x="12" y="29"/>
                      <a:pt x="5" y="31"/>
                    </a:cubicBezTo>
                    <a:cubicBezTo>
                      <a:pt x="2" y="32"/>
                      <a:pt x="0" y="36"/>
                      <a:pt x="1" y="39"/>
                    </a:cubicBezTo>
                    <a:cubicBezTo>
                      <a:pt x="1" y="42"/>
                      <a:pt x="5" y="44"/>
                      <a:pt x="8" y="43"/>
                    </a:cubicBezTo>
                    <a:close/>
                    <a:moveTo>
                      <a:pt x="8" y="43"/>
                    </a:moveTo>
                    <a:cubicBezTo>
                      <a:pt x="8" y="43"/>
                      <a:pt x="8" y="43"/>
                      <a:pt x="8" y="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39" name="Freeform 13"/>
              <p:cNvSpPr>
                <a:spLocks noEditPoints="1"/>
              </p:cNvSpPr>
              <p:nvPr/>
            </p:nvSpPr>
            <p:spPr bwMode="auto">
              <a:xfrm>
                <a:off x="3824" y="2046"/>
                <a:ext cx="75" cy="78"/>
              </a:xfrm>
              <a:custGeom>
                <a:avLst/>
                <a:gdLst>
                  <a:gd name="T0" fmla="*/ 7 w 42"/>
                  <a:gd name="T1" fmla="*/ 44 h 44"/>
                  <a:gd name="T2" fmla="*/ 3 w 42"/>
                  <a:gd name="T3" fmla="*/ 42 h 44"/>
                  <a:gd name="T4" fmla="*/ 3 w 42"/>
                  <a:gd name="T5" fmla="*/ 33 h 44"/>
                  <a:gd name="T6" fmla="*/ 30 w 42"/>
                  <a:gd name="T7" fmla="*/ 4 h 44"/>
                  <a:gd name="T8" fmla="*/ 39 w 42"/>
                  <a:gd name="T9" fmla="*/ 2 h 44"/>
                  <a:gd name="T10" fmla="*/ 40 w 42"/>
                  <a:gd name="T11" fmla="*/ 11 h 44"/>
                  <a:gd name="T12" fmla="*/ 11 w 42"/>
                  <a:gd name="T13" fmla="*/ 43 h 44"/>
                  <a:gd name="T14" fmla="*/ 7 w 42"/>
                  <a:gd name="T15" fmla="*/ 44 h 44"/>
                  <a:gd name="T16" fmla="*/ 7 w 42"/>
                  <a:gd name="T17" fmla="*/ 44 h 44"/>
                  <a:gd name="T18" fmla="*/ 7 w 42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" h="44">
                    <a:moveTo>
                      <a:pt x="7" y="44"/>
                    </a:moveTo>
                    <a:cubicBezTo>
                      <a:pt x="6" y="44"/>
                      <a:pt x="4" y="44"/>
                      <a:pt x="3" y="42"/>
                    </a:cubicBezTo>
                    <a:cubicBezTo>
                      <a:pt x="0" y="40"/>
                      <a:pt x="1" y="36"/>
                      <a:pt x="3" y="33"/>
                    </a:cubicBezTo>
                    <a:cubicBezTo>
                      <a:pt x="14" y="24"/>
                      <a:pt x="23" y="14"/>
                      <a:pt x="30" y="4"/>
                    </a:cubicBezTo>
                    <a:cubicBezTo>
                      <a:pt x="32" y="1"/>
                      <a:pt x="36" y="0"/>
                      <a:pt x="39" y="2"/>
                    </a:cubicBezTo>
                    <a:cubicBezTo>
                      <a:pt x="42" y="4"/>
                      <a:pt x="42" y="8"/>
                      <a:pt x="40" y="11"/>
                    </a:cubicBezTo>
                    <a:cubicBezTo>
                      <a:pt x="33" y="22"/>
                      <a:pt x="23" y="33"/>
                      <a:pt x="11" y="43"/>
                    </a:cubicBezTo>
                    <a:cubicBezTo>
                      <a:pt x="10" y="44"/>
                      <a:pt x="9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0" name="Freeform 14"/>
              <p:cNvSpPr>
                <a:spLocks noEditPoints="1"/>
              </p:cNvSpPr>
              <p:nvPr/>
            </p:nvSpPr>
            <p:spPr bwMode="auto">
              <a:xfrm>
                <a:off x="3662" y="2139"/>
                <a:ext cx="139" cy="78"/>
              </a:xfrm>
              <a:custGeom>
                <a:avLst/>
                <a:gdLst>
                  <a:gd name="T0" fmla="*/ 7 w 77"/>
                  <a:gd name="T1" fmla="*/ 44 h 44"/>
                  <a:gd name="T2" fmla="*/ 1 w 77"/>
                  <a:gd name="T3" fmla="*/ 40 h 44"/>
                  <a:gd name="T4" fmla="*/ 5 w 77"/>
                  <a:gd name="T5" fmla="*/ 32 h 44"/>
                  <a:gd name="T6" fmla="*/ 5 w 77"/>
                  <a:gd name="T7" fmla="*/ 32 h 44"/>
                  <a:gd name="T8" fmla="*/ 47 w 77"/>
                  <a:gd name="T9" fmla="*/ 13 h 44"/>
                  <a:gd name="T10" fmla="*/ 67 w 77"/>
                  <a:gd name="T11" fmla="*/ 1 h 44"/>
                  <a:gd name="T12" fmla="*/ 75 w 77"/>
                  <a:gd name="T13" fmla="*/ 3 h 44"/>
                  <a:gd name="T14" fmla="*/ 74 w 77"/>
                  <a:gd name="T15" fmla="*/ 12 h 44"/>
                  <a:gd name="T16" fmla="*/ 53 w 77"/>
                  <a:gd name="T17" fmla="*/ 24 h 44"/>
                  <a:gd name="T18" fmla="*/ 9 w 77"/>
                  <a:gd name="T19" fmla="*/ 44 h 44"/>
                  <a:gd name="T20" fmla="*/ 9 w 77"/>
                  <a:gd name="T21" fmla="*/ 44 h 44"/>
                  <a:gd name="T22" fmla="*/ 7 w 77"/>
                  <a:gd name="T23" fmla="*/ 44 h 44"/>
                  <a:gd name="T24" fmla="*/ 7 w 77"/>
                  <a:gd name="T25" fmla="*/ 44 h 44"/>
                  <a:gd name="T26" fmla="*/ 7 w 77"/>
                  <a:gd name="T2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7" h="44">
                    <a:moveTo>
                      <a:pt x="7" y="44"/>
                    </a:moveTo>
                    <a:cubicBezTo>
                      <a:pt x="4" y="44"/>
                      <a:pt x="2" y="43"/>
                      <a:pt x="1" y="40"/>
                    </a:cubicBezTo>
                    <a:cubicBezTo>
                      <a:pt x="0" y="37"/>
                      <a:pt x="2" y="33"/>
                      <a:pt x="5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11" y="30"/>
                      <a:pt x="28" y="24"/>
                      <a:pt x="47" y="13"/>
                    </a:cubicBezTo>
                    <a:cubicBezTo>
                      <a:pt x="54" y="9"/>
                      <a:pt x="61" y="5"/>
                      <a:pt x="67" y="1"/>
                    </a:cubicBezTo>
                    <a:cubicBezTo>
                      <a:pt x="70" y="0"/>
                      <a:pt x="73" y="0"/>
                      <a:pt x="75" y="3"/>
                    </a:cubicBezTo>
                    <a:cubicBezTo>
                      <a:pt x="77" y="6"/>
                      <a:pt x="76" y="10"/>
                      <a:pt x="74" y="12"/>
                    </a:cubicBezTo>
                    <a:cubicBezTo>
                      <a:pt x="67" y="16"/>
                      <a:pt x="60" y="20"/>
                      <a:pt x="53" y="24"/>
                    </a:cubicBezTo>
                    <a:cubicBezTo>
                      <a:pt x="33" y="35"/>
                      <a:pt x="16" y="41"/>
                      <a:pt x="9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8" y="44"/>
                      <a:pt x="8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1" name="Freeform 15"/>
              <p:cNvSpPr>
                <a:spLocks noEditPoints="1"/>
              </p:cNvSpPr>
              <p:nvPr/>
            </p:nvSpPr>
            <p:spPr bwMode="auto">
              <a:xfrm>
                <a:off x="3801" y="2215"/>
                <a:ext cx="190" cy="89"/>
              </a:xfrm>
              <a:custGeom>
                <a:avLst/>
                <a:gdLst>
                  <a:gd name="T0" fmla="*/ 99 w 106"/>
                  <a:gd name="T1" fmla="*/ 50 h 50"/>
                  <a:gd name="T2" fmla="*/ 97 w 106"/>
                  <a:gd name="T3" fmla="*/ 49 h 50"/>
                  <a:gd name="T4" fmla="*/ 64 w 106"/>
                  <a:gd name="T5" fmla="*/ 30 h 50"/>
                  <a:gd name="T6" fmla="*/ 36 w 106"/>
                  <a:gd name="T7" fmla="*/ 14 h 50"/>
                  <a:gd name="T8" fmla="*/ 10 w 106"/>
                  <a:gd name="T9" fmla="*/ 29 h 50"/>
                  <a:gd name="T10" fmla="*/ 1 w 106"/>
                  <a:gd name="T11" fmla="*/ 27 h 50"/>
                  <a:gd name="T12" fmla="*/ 3 w 106"/>
                  <a:gd name="T13" fmla="*/ 18 h 50"/>
                  <a:gd name="T14" fmla="*/ 34 w 106"/>
                  <a:gd name="T15" fmla="*/ 2 h 50"/>
                  <a:gd name="T16" fmla="*/ 71 w 106"/>
                  <a:gd name="T17" fmla="*/ 20 h 50"/>
                  <a:gd name="T18" fmla="*/ 101 w 106"/>
                  <a:gd name="T19" fmla="*/ 37 h 50"/>
                  <a:gd name="T20" fmla="*/ 105 w 106"/>
                  <a:gd name="T21" fmla="*/ 45 h 50"/>
                  <a:gd name="T22" fmla="*/ 99 w 106"/>
                  <a:gd name="T23" fmla="*/ 50 h 50"/>
                  <a:gd name="T24" fmla="*/ 99 w 106"/>
                  <a:gd name="T25" fmla="*/ 50 h 50"/>
                  <a:gd name="T26" fmla="*/ 99 w 106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6" h="50">
                    <a:moveTo>
                      <a:pt x="99" y="50"/>
                    </a:moveTo>
                    <a:cubicBezTo>
                      <a:pt x="98" y="50"/>
                      <a:pt x="97" y="49"/>
                      <a:pt x="97" y="49"/>
                    </a:cubicBezTo>
                    <a:cubicBezTo>
                      <a:pt x="86" y="46"/>
                      <a:pt x="75" y="38"/>
                      <a:pt x="64" y="30"/>
                    </a:cubicBezTo>
                    <a:cubicBezTo>
                      <a:pt x="54" y="23"/>
                      <a:pt x="41" y="13"/>
                      <a:pt x="36" y="14"/>
                    </a:cubicBezTo>
                    <a:cubicBezTo>
                      <a:pt x="31" y="15"/>
                      <a:pt x="15" y="25"/>
                      <a:pt x="10" y="29"/>
                    </a:cubicBezTo>
                    <a:cubicBezTo>
                      <a:pt x="7" y="30"/>
                      <a:pt x="3" y="30"/>
                      <a:pt x="1" y="27"/>
                    </a:cubicBezTo>
                    <a:cubicBezTo>
                      <a:pt x="0" y="24"/>
                      <a:pt x="0" y="20"/>
                      <a:pt x="3" y="18"/>
                    </a:cubicBezTo>
                    <a:cubicBezTo>
                      <a:pt x="20" y="8"/>
                      <a:pt x="28" y="3"/>
                      <a:pt x="34" y="2"/>
                    </a:cubicBezTo>
                    <a:cubicBezTo>
                      <a:pt x="44" y="0"/>
                      <a:pt x="57" y="9"/>
                      <a:pt x="71" y="20"/>
                    </a:cubicBezTo>
                    <a:cubicBezTo>
                      <a:pt x="82" y="27"/>
                      <a:pt x="92" y="35"/>
                      <a:pt x="101" y="37"/>
                    </a:cubicBezTo>
                    <a:cubicBezTo>
                      <a:pt x="104" y="39"/>
                      <a:pt x="106" y="42"/>
                      <a:pt x="105" y="45"/>
                    </a:cubicBezTo>
                    <a:cubicBezTo>
                      <a:pt x="104" y="48"/>
                      <a:pt x="101" y="50"/>
                      <a:pt x="99" y="50"/>
                    </a:cubicBezTo>
                    <a:close/>
                    <a:moveTo>
                      <a:pt x="99" y="50"/>
                    </a:moveTo>
                    <a:cubicBezTo>
                      <a:pt x="99" y="50"/>
                      <a:pt x="99" y="50"/>
                      <a:pt x="99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2" name="Freeform 16"/>
              <p:cNvSpPr>
                <a:spLocks noEditPoints="1"/>
              </p:cNvSpPr>
              <p:nvPr/>
            </p:nvSpPr>
            <p:spPr bwMode="auto">
              <a:xfrm>
                <a:off x="3702" y="2260"/>
                <a:ext cx="100" cy="66"/>
              </a:xfrm>
              <a:custGeom>
                <a:avLst/>
                <a:gdLst>
                  <a:gd name="T0" fmla="*/ 7 w 56"/>
                  <a:gd name="T1" fmla="*/ 37 h 37"/>
                  <a:gd name="T2" fmla="*/ 1 w 56"/>
                  <a:gd name="T3" fmla="*/ 33 h 37"/>
                  <a:gd name="T4" fmla="*/ 5 w 56"/>
                  <a:gd name="T5" fmla="*/ 25 h 37"/>
                  <a:gd name="T6" fmla="*/ 45 w 56"/>
                  <a:gd name="T7" fmla="*/ 2 h 37"/>
                  <a:gd name="T8" fmla="*/ 54 w 56"/>
                  <a:gd name="T9" fmla="*/ 4 h 37"/>
                  <a:gd name="T10" fmla="*/ 52 w 56"/>
                  <a:gd name="T11" fmla="*/ 12 h 37"/>
                  <a:gd name="T12" fmla="*/ 9 w 56"/>
                  <a:gd name="T13" fmla="*/ 37 h 37"/>
                  <a:gd name="T14" fmla="*/ 7 w 56"/>
                  <a:gd name="T15" fmla="*/ 37 h 37"/>
                  <a:gd name="T16" fmla="*/ 7 w 56"/>
                  <a:gd name="T17" fmla="*/ 37 h 37"/>
                  <a:gd name="T18" fmla="*/ 7 w 56"/>
                  <a:gd name="T1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37">
                    <a:moveTo>
                      <a:pt x="7" y="37"/>
                    </a:moveTo>
                    <a:cubicBezTo>
                      <a:pt x="4" y="37"/>
                      <a:pt x="2" y="35"/>
                      <a:pt x="1" y="33"/>
                    </a:cubicBezTo>
                    <a:cubicBezTo>
                      <a:pt x="0" y="29"/>
                      <a:pt x="2" y="26"/>
                      <a:pt x="5" y="25"/>
                    </a:cubicBezTo>
                    <a:cubicBezTo>
                      <a:pt x="13" y="23"/>
                      <a:pt x="31" y="11"/>
                      <a:pt x="45" y="2"/>
                    </a:cubicBezTo>
                    <a:cubicBezTo>
                      <a:pt x="48" y="0"/>
                      <a:pt x="52" y="1"/>
                      <a:pt x="54" y="4"/>
                    </a:cubicBezTo>
                    <a:cubicBezTo>
                      <a:pt x="56" y="6"/>
                      <a:pt x="55" y="10"/>
                      <a:pt x="52" y="12"/>
                    </a:cubicBezTo>
                    <a:cubicBezTo>
                      <a:pt x="32" y="25"/>
                      <a:pt x="17" y="35"/>
                      <a:pt x="9" y="37"/>
                    </a:cubicBezTo>
                    <a:cubicBezTo>
                      <a:pt x="8" y="37"/>
                      <a:pt x="7" y="37"/>
                      <a:pt x="7" y="37"/>
                    </a:cubicBezTo>
                    <a:close/>
                    <a:moveTo>
                      <a:pt x="7" y="37"/>
                    </a:moveTo>
                    <a:cubicBezTo>
                      <a:pt x="7" y="37"/>
                      <a:pt x="7" y="37"/>
                      <a:pt x="7" y="3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3" name="Freeform 17"/>
              <p:cNvSpPr>
                <a:spLocks noEditPoints="1"/>
              </p:cNvSpPr>
              <p:nvPr/>
            </p:nvSpPr>
            <p:spPr bwMode="auto">
              <a:xfrm>
                <a:off x="3906" y="2319"/>
                <a:ext cx="56" cy="39"/>
              </a:xfrm>
              <a:custGeom>
                <a:avLst/>
                <a:gdLst>
                  <a:gd name="T0" fmla="*/ 24 w 31"/>
                  <a:gd name="T1" fmla="*/ 22 h 22"/>
                  <a:gd name="T2" fmla="*/ 22 w 31"/>
                  <a:gd name="T3" fmla="*/ 21 h 22"/>
                  <a:gd name="T4" fmla="*/ 4 w 31"/>
                  <a:gd name="T5" fmla="*/ 12 h 22"/>
                  <a:gd name="T6" fmla="*/ 2 w 31"/>
                  <a:gd name="T7" fmla="*/ 4 h 22"/>
                  <a:gd name="T8" fmla="*/ 11 w 31"/>
                  <a:gd name="T9" fmla="*/ 1 h 22"/>
                  <a:gd name="T10" fmla="*/ 26 w 31"/>
                  <a:gd name="T11" fmla="*/ 10 h 22"/>
                  <a:gd name="T12" fmla="*/ 30 w 31"/>
                  <a:gd name="T13" fmla="*/ 18 h 22"/>
                  <a:gd name="T14" fmla="*/ 24 w 31"/>
                  <a:gd name="T15" fmla="*/ 22 h 22"/>
                  <a:gd name="T16" fmla="*/ 24 w 31"/>
                  <a:gd name="T17" fmla="*/ 22 h 22"/>
                  <a:gd name="T18" fmla="*/ 24 w 31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22">
                    <a:moveTo>
                      <a:pt x="24" y="22"/>
                    </a:moveTo>
                    <a:cubicBezTo>
                      <a:pt x="23" y="22"/>
                      <a:pt x="23" y="22"/>
                      <a:pt x="22" y="21"/>
                    </a:cubicBezTo>
                    <a:cubicBezTo>
                      <a:pt x="17" y="20"/>
                      <a:pt x="10" y="16"/>
                      <a:pt x="4" y="12"/>
                    </a:cubicBezTo>
                    <a:cubicBezTo>
                      <a:pt x="1" y="10"/>
                      <a:pt x="0" y="6"/>
                      <a:pt x="2" y="4"/>
                    </a:cubicBezTo>
                    <a:cubicBezTo>
                      <a:pt x="4" y="1"/>
                      <a:pt x="8" y="0"/>
                      <a:pt x="11" y="1"/>
                    </a:cubicBezTo>
                    <a:cubicBezTo>
                      <a:pt x="16" y="5"/>
                      <a:pt x="22" y="8"/>
                      <a:pt x="26" y="10"/>
                    </a:cubicBezTo>
                    <a:cubicBezTo>
                      <a:pt x="29" y="11"/>
                      <a:pt x="31" y="15"/>
                      <a:pt x="30" y="18"/>
                    </a:cubicBezTo>
                    <a:cubicBezTo>
                      <a:pt x="29" y="20"/>
                      <a:pt x="27" y="22"/>
                      <a:pt x="24" y="22"/>
                    </a:cubicBezTo>
                    <a:close/>
                    <a:moveTo>
                      <a:pt x="24" y="22"/>
                    </a:moveTo>
                    <a:cubicBezTo>
                      <a:pt x="24" y="22"/>
                      <a:pt x="24" y="22"/>
                      <a:pt x="24" y="2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4" name="Freeform 18"/>
              <p:cNvSpPr>
                <a:spLocks noEditPoints="1"/>
              </p:cNvSpPr>
              <p:nvPr/>
            </p:nvSpPr>
            <p:spPr bwMode="auto">
              <a:xfrm>
                <a:off x="3741" y="2287"/>
                <a:ext cx="165" cy="89"/>
              </a:xfrm>
              <a:custGeom>
                <a:avLst/>
                <a:gdLst>
                  <a:gd name="T0" fmla="*/ 7 w 92"/>
                  <a:gd name="T1" fmla="*/ 50 h 50"/>
                  <a:gd name="T2" fmla="*/ 2 w 92"/>
                  <a:gd name="T3" fmla="*/ 47 h 50"/>
                  <a:gd name="T4" fmla="*/ 4 w 92"/>
                  <a:gd name="T5" fmla="*/ 39 h 50"/>
                  <a:gd name="T6" fmla="*/ 12 w 92"/>
                  <a:gd name="T7" fmla="*/ 33 h 50"/>
                  <a:gd name="T8" fmla="*/ 63 w 92"/>
                  <a:gd name="T9" fmla="*/ 1 h 50"/>
                  <a:gd name="T10" fmla="*/ 88 w 92"/>
                  <a:gd name="T11" fmla="*/ 10 h 50"/>
                  <a:gd name="T12" fmla="*/ 90 w 92"/>
                  <a:gd name="T13" fmla="*/ 19 h 50"/>
                  <a:gd name="T14" fmla="*/ 81 w 92"/>
                  <a:gd name="T15" fmla="*/ 21 h 50"/>
                  <a:gd name="T16" fmla="*/ 65 w 92"/>
                  <a:gd name="T17" fmla="*/ 13 h 50"/>
                  <a:gd name="T18" fmla="*/ 19 w 92"/>
                  <a:gd name="T19" fmla="*/ 43 h 50"/>
                  <a:gd name="T20" fmla="*/ 11 w 92"/>
                  <a:gd name="T21" fmla="*/ 49 h 50"/>
                  <a:gd name="T22" fmla="*/ 7 w 92"/>
                  <a:gd name="T23" fmla="*/ 50 h 50"/>
                  <a:gd name="T24" fmla="*/ 7 w 92"/>
                  <a:gd name="T25" fmla="*/ 50 h 50"/>
                  <a:gd name="T26" fmla="*/ 7 w 92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50">
                    <a:moveTo>
                      <a:pt x="7" y="50"/>
                    </a:moveTo>
                    <a:cubicBezTo>
                      <a:pt x="5" y="50"/>
                      <a:pt x="3" y="49"/>
                      <a:pt x="2" y="47"/>
                    </a:cubicBezTo>
                    <a:cubicBezTo>
                      <a:pt x="0" y="45"/>
                      <a:pt x="1" y="41"/>
                      <a:pt x="4" y="39"/>
                    </a:cubicBezTo>
                    <a:cubicBezTo>
                      <a:pt x="6" y="37"/>
                      <a:pt x="9" y="35"/>
                      <a:pt x="12" y="33"/>
                    </a:cubicBezTo>
                    <a:cubicBezTo>
                      <a:pt x="39" y="13"/>
                      <a:pt x="55" y="2"/>
                      <a:pt x="63" y="1"/>
                    </a:cubicBezTo>
                    <a:cubicBezTo>
                      <a:pt x="68" y="0"/>
                      <a:pt x="75" y="3"/>
                      <a:pt x="88" y="10"/>
                    </a:cubicBezTo>
                    <a:cubicBezTo>
                      <a:pt x="91" y="12"/>
                      <a:pt x="92" y="16"/>
                      <a:pt x="90" y="19"/>
                    </a:cubicBezTo>
                    <a:cubicBezTo>
                      <a:pt x="88" y="22"/>
                      <a:pt x="84" y="23"/>
                      <a:pt x="81" y="21"/>
                    </a:cubicBezTo>
                    <a:cubicBezTo>
                      <a:pt x="69" y="14"/>
                      <a:pt x="66" y="13"/>
                      <a:pt x="65" y="13"/>
                    </a:cubicBezTo>
                    <a:cubicBezTo>
                      <a:pt x="58" y="14"/>
                      <a:pt x="30" y="35"/>
                      <a:pt x="19" y="43"/>
                    </a:cubicBezTo>
                    <a:cubicBezTo>
                      <a:pt x="16" y="45"/>
                      <a:pt x="13" y="48"/>
                      <a:pt x="11" y="49"/>
                    </a:cubicBezTo>
                    <a:cubicBezTo>
                      <a:pt x="10" y="50"/>
                      <a:pt x="9" y="50"/>
                      <a:pt x="7" y="50"/>
                    </a:cubicBezTo>
                    <a:close/>
                    <a:moveTo>
                      <a:pt x="7" y="50"/>
                    </a:moveTo>
                    <a:cubicBezTo>
                      <a:pt x="7" y="50"/>
                      <a:pt x="7" y="50"/>
                      <a:pt x="7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5" name="Freeform 20"/>
              <p:cNvSpPr>
                <a:spLocks noEditPoints="1"/>
              </p:cNvSpPr>
              <p:nvPr/>
            </p:nvSpPr>
            <p:spPr bwMode="auto">
              <a:xfrm>
                <a:off x="3949" y="2108"/>
                <a:ext cx="72" cy="77"/>
              </a:xfrm>
              <a:custGeom>
                <a:avLst/>
                <a:gdLst>
                  <a:gd name="T0" fmla="*/ 1 w 40"/>
                  <a:gd name="T1" fmla="*/ 11 h 43"/>
                  <a:gd name="T2" fmla="*/ 30 w 40"/>
                  <a:gd name="T3" fmla="*/ 41 h 43"/>
                  <a:gd name="T4" fmla="*/ 38 w 40"/>
                  <a:gd name="T5" fmla="*/ 39 h 43"/>
                  <a:gd name="T6" fmla="*/ 36 w 40"/>
                  <a:gd name="T7" fmla="*/ 31 h 43"/>
                  <a:gd name="T8" fmla="*/ 21 w 40"/>
                  <a:gd name="T9" fmla="*/ 23 h 43"/>
                  <a:gd name="T10" fmla="*/ 13 w 40"/>
                  <a:gd name="T11" fmla="*/ 7 h 43"/>
                  <a:gd name="T12" fmla="*/ 1 w 40"/>
                  <a:gd name="T13" fmla="*/ 11 h 43"/>
                  <a:gd name="T14" fmla="*/ 1 w 40"/>
                  <a:gd name="T15" fmla="*/ 11 h 43"/>
                  <a:gd name="T16" fmla="*/ 1 w 40"/>
                  <a:gd name="T17" fmla="*/ 1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43">
                    <a:moveTo>
                      <a:pt x="1" y="11"/>
                    </a:moveTo>
                    <a:cubicBezTo>
                      <a:pt x="4" y="27"/>
                      <a:pt x="15" y="36"/>
                      <a:pt x="30" y="41"/>
                    </a:cubicBezTo>
                    <a:cubicBezTo>
                      <a:pt x="33" y="43"/>
                      <a:pt x="36" y="42"/>
                      <a:pt x="38" y="39"/>
                    </a:cubicBezTo>
                    <a:cubicBezTo>
                      <a:pt x="40" y="37"/>
                      <a:pt x="39" y="32"/>
                      <a:pt x="36" y="31"/>
                    </a:cubicBezTo>
                    <a:cubicBezTo>
                      <a:pt x="31" y="29"/>
                      <a:pt x="25" y="26"/>
                      <a:pt x="21" y="23"/>
                    </a:cubicBezTo>
                    <a:cubicBezTo>
                      <a:pt x="16" y="19"/>
                      <a:pt x="14" y="13"/>
                      <a:pt x="13" y="7"/>
                    </a:cubicBezTo>
                    <a:cubicBezTo>
                      <a:pt x="12" y="0"/>
                      <a:pt x="0" y="3"/>
                      <a:pt x="1" y="11"/>
                    </a:cubicBezTo>
                    <a:close/>
                    <a:moveTo>
                      <a:pt x="1" y="11"/>
                    </a:moveTo>
                    <a:cubicBezTo>
                      <a:pt x="1" y="11"/>
                      <a:pt x="1" y="11"/>
                      <a:pt x="1" y="1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6" name="Freeform 21"/>
              <p:cNvSpPr>
                <a:spLocks noEditPoints="1"/>
              </p:cNvSpPr>
              <p:nvPr/>
            </p:nvSpPr>
            <p:spPr bwMode="auto">
              <a:xfrm>
                <a:off x="3906" y="2160"/>
                <a:ext cx="99" cy="86"/>
              </a:xfrm>
              <a:custGeom>
                <a:avLst/>
                <a:gdLst>
                  <a:gd name="T0" fmla="*/ 1 w 55"/>
                  <a:gd name="T1" fmla="*/ 8 h 48"/>
                  <a:gd name="T2" fmla="*/ 44 w 55"/>
                  <a:gd name="T3" fmla="*/ 46 h 48"/>
                  <a:gd name="T4" fmla="*/ 48 w 55"/>
                  <a:gd name="T5" fmla="*/ 34 h 48"/>
                  <a:gd name="T6" fmla="*/ 35 w 55"/>
                  <a:gd name="T7" fmla="*/ 28 h 48"/>
                  <a:gd name="T8" fmla="*/ 13 w 55"/>
                  <a:gd name="T9" fmla="*/ 5 h 48"/>
                  <a:gd name="T10" fmla="*/ 6 w 55"/>
                  <a:gd name="T11" fmla="*/ 1 h 48"/>
                  <a:gd name="T12" fmla="*/ 1 w 55"/>
                  <a:gd name="T13" fmla="*/ 8 h 48"/>
                  <a:gd name="T14" fmla="*/ 1 w 55"/>
                  <a:gd name="T15" fmla="*/ 8 h 48"/>
                  <a:gd name="T16" fmla="*/ 1 w 55"/>
                  <a:gd name="T17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48">
                    <a:moveTo>
                      <a:pt x="1" y="8"/>
                    </a:moveTo>
                    <a:cubicBezTo>
                      <a:pt x="9" y="27"/>
                      <a:pt x="26" y="40"/>
                      <a:pt x="44" y="46"/>
                    </a:cubicBezTo>
                    <a:cubicBezTo>
                      <a:pt x="52" y="48"/>
                      <a:pt x="55" y="36"/>
                      <a:pt x="48" y="34"/>
                    </a:cubicBezTo>
                    <a:cubicBezTo>
                      <a:pt x="43" y="33"/>
                      <a:pt x="40" y="31"/>
                      <a:pt x="35" y="28"/>
                    </a:cubicBezTo>
                    <a:cubicBezTo>
                      <a:pt x="26" y="23"/>
                      <a:pt x="17" y="15"/>
                      <a:pt x="13" y="5"/>
                    </a:cubicBezTo>
                    <a:cubicBezTo>
                      <a:pt x="12" y="2"/>
                      <a:pt x="9" y="0"/>
                      <a:pt x="6" y="1"/>
                    </a:cubicBezTo>
                    <a:cubicBezTo>
                      <a:pt x="3" y="2"/>
                      <a:pt x="0" y="5"/>
                      <a:pt x="1" y="8"/>
                    </a:cubicBezTo>
                    <a:close/>
                    <a:moveTo>
                      <a:pt x="1" y="8"/>
                    </a:moveTo>
                    <a:cubicBezTo>
                      <a:pt x="1" y="8"/>
                      <a:pt x="1" y="8"/>
                      <a:pt x="1" y="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</p:grpSp>
        <p:grpSp>
          <p:nvGrpSpPr>
            <p:cNvPr id="47" name="Group 15"/>
            <p:cNvGrpSpPr>
              <a:grpSpLocks noChangeAspect="1"/>
            </p:cNvGrpSpPr>
            <p:nvPr userDrawn="1"/>
          </p:nvGrpSpPr>
          <p:grpSpPr bwMode="auto">
            <a:xfrm>
              <a:off x="702225" y="267251"/>
              <a:ext cx="94846" cy="95277"/>
              <a:chOff x="4843" y="2141"/>
              <a:chExt cx="220" cy="22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48" name="Freeform 16"/>
              <p:cNvSpPr>
                <a:spLocks/>
              </p:cNvSpPr>
              <p:nvPr/>
            </p:nvSpPr>
            <p:spPr bwMode="auto">
              <a:xfrm>
                <a:off x="4843" y="2298"/>
                <a:ext cx="184" cy="64"/>
              </a:xfrm>
              <a:custGeom>
                <a:avLst/>
                <a:gdLst>
                  <a:gd name="T0" fmla="*/ 584 w 1371"/>
                  <a:gd name="T1" fmla="*/ 473 h 473"/>
                  <a:gd name="T2" fmla="*/ 489 w 1371"/>
                  <a:gd name="T3" fmla="*/ 464 h 473"/>
                  <a:gd name="T4" fmla="*/ 142 w 1371"/>
                  <a:gd name="T5" fmla="*/ 375 h 473"/>
                  <a:gd name="T6" fmla="*/ 18 w 1371"/>
                  <a:gd name="T7" fmla="*/ 273 h 473"/>
                  <a:gd name="T8" fmla="*/ 0 w 1371"/>
                  <a:gd name="T9" fmla="*/ 213 h 473"/>
                  <a:gd name="T10" fmla="*/ 0 w 1371"/>
                  <a:gd name="T11" fmla="*/ 17 h 473"/>
                  <a:gd name="T12" fmla="*/ 13 w 1371"/>
                  <a:gd name="T13" fmla="*/ 8 h 473"/>
                  <a:gd name="T14" fmla="*/ 285 w 1371"/>
                  <a:gd name="T15" fmla="*/ 107 h 473"/>
                  <a:gd name="T16" fmla="*/ 769 w 1371"/>
                  <a:gd name="T17" fmla="*/ 141 h 473"/>
                  <a:gd name="T18" fmla="*/ 1176 w 1371"/>
                  <a:gd name="T19" fmla="*/ 85 h 473"/>
                  <a:gd name="T20" fmla="*/ 1352 w 1371"/>
                  <a:gd name="T21" fmla="*/ 10 h 473"/>
                  <a:gd name="T22" fmla="*/ 1365 w 1371"/>
                  <a:gd name="T23" fmla="*/ 5 h 473"/>
                  <a:gd name="T24" fmla="*/ 1369 w 1371"/>
                  <a:gd name="T25" fmla="*/ 20 h 473"/>
                  <a:gd name="T26" fmla="*/ 1369 w 1371"/>
                  <a:gd name="T27" fmla="*/ 218 h 473"/>
                  <a:gd name="T28" fmla="*/ 1333 w 1371"/>
                  <a:gd name="T29" fmla="*/ 298 h 473"/>
                  <a:gd name="T30" fmla="*/ 1178 w 1371"/>
                  <a:gd name="T31" fmla="*/ 396 h 473"/>
                  <a:gd name="T32" fmla="*/ 876 w 1371"/>
                  <a:gd name="T33" fmla="*/ 464 h 473"/>
                  <a:gd name="T34" fmla="*/ 786 w 1371"/>
                  <a:gd name="T35" fmla="*/ 473 h 473"/>
                  <a:gd name="T36" fmla="*/ 584 w 1371"/>
                  <a:gd name="T37" fmla="*/ 473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71" h="473">
                    <a:moveTo>
                      <a:pt x="584" y="473"/>
                    </a:moveTo>
                    <a:cubicBezTo>
                      <a:pt x="552" y="470"/>
                      <a:pt x="520" y="467"/>
                      <a:pt x="489" y="464"/>
                    </a:cubicBezTo>
                    <a:cubicBezTo>
                      <a:pt x="369" y="450"/>
                      <a:pt x="252" y="427"/>
                      <a:pt x="142" y="375"/>
                    </a:cubicBezTo>
                    <a:cubicBezTo>
                      <a:pt x="93" y="351"/>
                      <a:pt x="47" y="322"/>
                      <a:pt x="18" y="273"/>
                    </a:cubicBezTo>
                    <a:cubicBezTo>
                      <a:pt x="7" y="255"/>
                      <a:pt x="0" y="235"/>
                      <a:pt x="0" y="213"/>
                    </a:cubicBezTo>
                    <a:cubicBezTo>
                      <a:pt x="1" y="148"/>
                      <a:pt x="1" y="82"/>
                      <a:pt x="0" y="17"/>
                    </a:cubicBezTo>
                    <a:cubicBezTo>
                      <a:pt x="0" y="8"/>
                      <a:pt x="1" y="0"/>
                      <a:pt x="13" y="8"/>
                    </a:cubicBezTo>
                    <a:cubicBezTo>
                      <a:pt x="97" y="61"/>
                      <a:pt x="190" y="87"/>
                      <a:pt x="285" y="107"/>
                    </a:cubicBezTo>
                    <a:cubicBezTo>
                      <a:pt x="445" y="140"/>
                      <a:pt x="607" y="146"/>
                      <a:pt x="769" y="141"/>
                    </a:cubicBezTo>
                    <a:cubicBezTo>
                      <a:pt x="906" y="137"/>
                      <a:pt x="1043" y="123"/>
                      <a:pt x="1176" y="85"/>
                    </a:cubicBezTo>
                    <a:cubicBezTo>
                      <a:pt x="1238" y="67"/>
                      <a:pt x="1298" y="45"/>
                      <a:pt x="1352" y="10"/>
                    </a:cubicBezTo>
                    <a:cubicBezTo>
                      <a:pt x="1356" y="8"/>
                      <a:pt x="1360" y="3"/>
                      <a:pt x="1365" y="5"/>
                    </a:cubicBezTo>
                    <a:cubicBezTo>
                      <a:pt x="1371" y="8"/>
                      <a:pt x="1369" y="15"/>
                      <a:pt x="1369" y="20"/>
                    </a:cubicBezTo>
                    <a:cubicBezTo>
                      <a:pt x="1369" y="86"/>
                      <a:pt x="1369" y="152"/>
                      <a:pt x="1369" y="218"/>
                    </a:cubicBezTo>
                    <a:cubicBezTo>
                      <a:pt x="1368" y="249"/>
                      <a:pt x="1353" y="275"/>
                      <a:pt x="1333" y="298"/>
                    </a:cubicBezTo>
                    <a:cubicBezTo>
                      <a:pt x="1291" y="346"/>
                      <a:pt x="1236" y="373"/>
                      <a:pt x="1178" y="396"/>
                    </a:cubicBezTo>
                    <a:cubicBezTo>
                      <a:pt x="1081" y="434"/>
                      <a:pt x="979" y="453"/>
                      <a:pt x="876" y="464"/>
                    </a:cubicBezTo>
                    <a:cubicBezTo>
                      <a:pt x="846" y="467"/>
                      <a:pt x="816" y="470"/>
                      <a:pt x="786" y="473"/>
                    </a:cubicBezTo>
                    <a:cubicBezTo>
                      <a:pt x="718" y="473"/>
                      <a:pt x="651" y="473"/>
                      <a:pt x="584" y="4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Freeform 17"/>
              <p:cNvSpPr>
                <a:spLocks/>
              </p:cNvSpPr>
              <p:nvPr/>
            </p:nvSpPr>
            <p:spPr bwMode="auto">
              <a:xfrm>
                <a:off x="4894" y="2141"/>
                <a:ext cx="169" cy="56"/>
              </a:xfrm>
              <a:custGeom>
                <a:avLst/>
                <a:gdLst>
                  <a:gd name="T0" fmla="*/ 1263 w 1263"/>
                  <a:gd name="T1" fmla="*/ 314 h 416"/>
                  <a:gd name="T2" fmla="*/ 1114 w 1263"/>
                  <a:gd name="T3" fmla="*/ 395 h 416"/>
                  <a:gd name="T4" fmla="*/ 1056 w 1263"/>
                  <a:gd name="T5" fmla="*/ 413 h 416"/>
                  <a:gd name="T6" fmla="*/ 1042 w 1263"/>
                  <a:gd name="T7" fmla="*/ 403 h 416"/>
                  <a:gd name="T8" fmla="*/ 943 w 1263"/>
                  <a:gd name="T9" fmla="*/ 233 h 416"/>
                  <a:gd name="T10" fmla="*/ 696 w 1263"/>
                  <a:gd name="T11" fmla="*/ 132 h 416"/>
                  <a:gd name="T12" fmla="*/ 462 w 1263"/>
                  <a:gd name="T13" fmla="*/ 99 h 416"/>
                  <a:gd name="T14" fmla="*/ 243 w 1263"/>
                  <a:gd name="T15" fmla="*/ 97 h 416"/>
                  <a:gd name="T16" fmla="*/ 15 w 1263"/>
                  <a:gd name="T17" fmla="*/ 124 h 416"/>
                  <a:gd name="T18" fmla="*/ 0 w 1263"/>
                  <a:gd name="T19" fmla="*/ 122 h 416"/>
                  <a:gd name="T20" fmla="*/ 47 w 1263"/>
                  <a:gd name="T21" fmla="*/ 96 h 416"/>
                  <a:gd name="T22" fmla="*/ 354 w 1263"/>
                  <a:gd name="T23" fmla="*/ 15 h 416"/>
                  <a:gd name="T24" fmla="*/ 648 w 1263"/>
                  <a:gd name="T25" fmla="*/ 3 h 416"/>
                  <a:gd name="T26" fmla="*/ 1057 w 1263"/>
                  <a:gd name="T27" fmla="*/ 72 h 416"/>
                  <a:gd name="T28" fmla="*/ 1213 w 1263"/>
                  <a:gd name="T29" fmla="*/ 162 h 416"/>
                  <a:gd name="T30" fmla="*/ 1263 w 1263"/>
                  <a:gd name="T31" fmla="*/ 237 h 416"/>
                  <a:gd name="T32" fmla="*/ 1263 w 1263"/>
                  <a:gd name="T33" fmla="*/ 314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63" h="416">
                    <a:moveTo>
                      <a:pt x="1263" y="314"/>
                    </a:moveTo>
                    <a:cubicBezTo>
                      <a:pt x="1221" y="355"/>
                      <a:pt x="1168" y="375"/>
                      <a:pt x="1114" y="395"/>
                    </a:cubicBezTo>
                    <a:cubicBezTo>
                      <a:pt x="1095" y="402"/>
                      <a:pt x="1075" y="407"/>
                      <a:pt x="1056" y="413"/>
                    </a:cubicBezTo>
                    <a:cubicBezTo>
                      <a:pt x="1046" y="416"/>
                      <a:pt x="1041" y="413"/>
                      <a:pt x="1042" y="403"/>
                    </a:cubicBezTo>
                    <a:cubicBezTo>
                      <a:pt x="1048" y="323"/>
                      <a:pt x="1001" y="274"/>
                      <a:pt x="943" y="233"/>
                    </a:cubicBezTo>
                    <a:cubicBezTo>
                      <a:pt x="868" y="181"/>
                      <a:pt x="783" y="153"/>
                      <a:pt x="696" y="132"/>
                    </a:cubicBezTo>
                    <a:cubicBezTo>
                      <a:pt x="619" y="114"/>
                      <a:pt x="541" y="105"/>
                      <a:pt x="462" y="99"/>
                    </a:cubicBezTo>
                    <a:cubicBezTo>
                      <a:pt x="389" y="94"/>
                      <a:pt x="316" y="95"/>
                      <a:pt x="243" y="97"/>
                    </a:cubicBezTo>
                    <a:cubicBezTo>
                      <a:pt x="166" y="100"/>
                      <a:pt x="90" y="109"/>
                      <a:pt x="15" y="124"/>
                    </a:cubicBezTo>
                    <a:cubicBezTo>
                      <a:pt x="11" y="124"/>
                      <a:pt x="7" y="126"/>
                      <a:pt x="0" y="122"/>
                    </a:cubicBezTo>
                    <a:cubicBezTo>
                      <a:pt x="17" y="113"/>
                      <a:pt x="31" y="104"/>
                      <a:pt x="47" y="96"/>
                    </a:cubicBezTo>
                    <a:cubicBezTo>
                      <a:pt x="144" y="51"/>
                      <a:pt x="248" y="29"/>
                      <a:pt x="354" y="15"/>
                    </a:cubicBezTo>
                    <a:cubicBezTo>
                      <a:pt x="452" y="2"/>
                      <a:pt x="550" y="0"/>
                      <a:pt x="648" y="3"/>
                    </a:cubicBezTo>
                    <a:cubicBezTo>
                      <a:pt x="787" y="7"/>
                      <a:pt x="925" y="23"/>
                      <a:pt x="1057" y="72"/>
                    </a:cubicBezTo>
                    <a:cubicBezTo>
                      <a:pt x="1114" y="93"/>
                      <a:pt x="1168" y="120"/>
                      <a:pt x="1213" y="162"/>
                    </a:cubicBezTo>
                    <a:cubicBezTo>
                      <a:pt x="1236" y="183"/>
                      <a:pt x="1251" y="209"/>
                      <a:pt x="1263" y="237"/>
                    </a:cubicBezTo>
                    <a:cubicBezTo>
                      <a:pt x="1263" y="262"/>
                      <a:pt x="1263" y="288"/>
                      <a:pt x="1263" y="3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Freeform 18"/>
              <p:cNvSpPr>
                <a:spLocks/>
              </p:cNvSpPr>
              <p:nvPr/>
            </p:nvSpPr>
            <p:spPr bwMode="auto">
              <a:xfrm>
                <a:off x="5034" y="2192"/>
                <a:ext cx="29" cy="48"/>
              </a:xfrm>
              <a:custGeom>
                <a:avLst/>
                <a:gdLst>
                  <a:gd name="T0" fmla="*/ 221 w 221"/>
                  <a:gd name="T1" fmla="*/ 259 h 360"/>
                  <a:gd name="T2" fmla="*/ 52 w 221"/>
                  <a:gd name="T3" fmla="*/ 345 h 360"/>
                  <a:gd name="T4" fmla="*/ 13 w 221"/>
                  <a:gd name="T5" fmla="*/ 357 h 360"/>
                  <a:gd name="T6" fmla="*/ 0 w 221"/>
                  <a:gd name="T7" fmla="*/ 347 h 360"/>
                  <a:gd name="T8" fmla="*/ 0 w 221"/>
                  <a:gd name="T9" fmla="*/ 338 h 360"/>
                  <a:gd name="T10" fmla="*/ 0 w 221"/>
                  <a:gd name="T11" fmla="*/ 106 h 360"/>
                  <a:gd name="T12" fmla="*/ 19 w 221"/>
                  <a:gd name="T13" fmla="*/ 80 h 360"/>
                  <a:gd name="T14" fmla="*/ 215 w 221"/>
                  <a:gd name="T15" fmla="*/ 1 h 360"/>
                  <a:gd name="T16" fmla="*/ 221 w 221"/>
                  <a:gd name="T17" fmla="*/ 0 h 360"/>
                  <a:gd name="T18" fmla="*/ 221 w 221"/>
                  <a:gd name="T19" fmla="*/ 259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1" h="360">
                    <a:moveTo>
                      <a:pt x="221" y="259"/>
                    </a:moveTo>
                    <a:cubicBezTo>
                      <a:pt x="172" y="302"/>
                      <a:pt x="113" y="326"/>
                      <a:pt x="52" y="345"/>
                    </a:cubicBezTo>
                    <a:cubicBezTo>
                      <a:pt x="39" y="349"/>
                      <a:pt x="26" y="353"/>
                      <a:pt x="13" y="357"/>
                    </a:cubicBezTo>
                    <a:cubicBezTo>
                      <a:pt x="4" y="360"/>
                      <a:pt x="0" y="356"/>
                      <a:pt x="0" y="347"/>
                    </a:cubicBezTo>
                    <a:cubicBezTo>
                      <a:pt x="0" y="344"/>
                      <a:pt x="0" y="341"/>
                      <a:pt x="0" y="338"/>
                    </a:cubicBezTo>
                    <a:cubicBezTo>
                      <a:pt x="0" y="260"/>
                      <a:pt x="0" y="183"/>
                      <a:pt x="0" y="106"/>
                    </a:cubicBezTo>
                    <a:cubicBezTo>
                      <a:pt x="0" y="91"/>
                      <a:pt x="4" y="84"/>
                      <a:pt x="19" y="80"/>
                    </a:cubicBezTo>
                    <a:cubicBezTo>
                      <a:pt x="87" y="62"/>
                      <a:pt x="154" y="39"/>
                      <a:pt x="215" y="1"/>
                    </a:cubicBezTo>
                    <a:cubicBezTo>
                      <a:pt x="217" y="0"/>
                      <a:pt x="219" y="0"/>
                      <a:pt x="221" y="0"/>
                    </a:cubicBezTo>
                    <a:cubicBezTo>
                      <a:pt x="221" y="86"/>
                      <a:pt x="221" y="172"/>
                      <a:pt x="221" y="2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Freeform 19"/>
              <p:cNvSpPr>
                <a:spLocks/>
              </p:cNvSpPr>
              <p:nvPr/>
            </p:nvSpPr>
            <p:spPr bwMode="auto">
              <a:xfrm>
                <a:off x="5034" y="2235"/>
                <a:ext cx="29" cy="49"/>
              </a:xfrm>
              <a:custGeom>
                <a:avLst/>
                <a:gdLst>
                  <a:gd name="T0" fmla="*/ 221 w 221"/>
                  <a:gd name="T1" fmla="*/ 262 h 362"/>
                  <a:gd name="T2" fmla="*/ 19 w 221"/>
                  <a:gd name="T3" fmla="*/ 357 h 362"/>
                  <a:gd name="T4" fmla="*/ 0 w 221"/>
                  <a:gd name="T5" fmla="*/ 344 h 362"/>
                  <a:gd name="T6" fmla="*/ 0 w 221"/>
                  <a:gd name="T7" fmla="*/ 111 h 362"/>
                  <a:gd name="T8" fmla="*/ 17 w 221"/>
                  <a:gd name="T9" fmla="*/ 87 h 362"/>
                  <a:gd name="T10" fmla="*/ 179 w 221"/>
                  <a:gd name="T11" fmla="*/ 23 h 362"/>
                  <a:gd name="T12" fmla="*/ 221 w 221"/>
                  <a:gd name="T13" fmla="*/ 0 h 362"/>
                  <a:gd name="T14" fmla="*/ 221 w 221"/>
                  <a:gd name="T15" fmla="*/ 2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1" h="362">
                    <a:moveTo>
                      <a:pt x="221" y="262"/>
                    </a:moveTo>
                    <a:cubicBezTo>
                      <a:pt x="162" y="311"/>
                      <a:pt x="91" y="336"/>
                      <a:pt x="19" y="357"/>
                    </a:cubicBezTo>
                    <a:cubicBezTo>
                      <a:pt x="2" y="362"/>
                      <a:pt x="0" y="361"/>
                      <a:pt x="0" y="344"/>
                    </a:cubicBezTo>
                    <a:cubicBezTo>
                      <a:pt x="0" y="266"/>
                      <a:pt x="0" y="188"/>
                      <a:pt x="0" y="111"/>
                    </a:cubicBezTo>
                    <a:cubicBezTo>
                      <a:pt x="0" y="97"/>
                      <a:pt x="5" y="91"/>
                      <a:pt x="17" y="87"/>
                    </a:cubicBezTo>
                    <a:cubicBezTo>
                      <a:pt x="72" y="68"/>
                      <a:pt x="128" y="51"/>
                      <a:pt x="179" y="23"/>
                    </a:cubicBezTo>
                    <a:cubicBezTo>
                      <a:pt x="193" y="16"/>
                      <a:pt x="207" y="8"/>
                      <a:pt x="221" y="0"/>
                    </a:cubicBezTo>
                    <a:cubicBezTo>
                      <a:pt x="221" y="87"/>
                      <a:pt x="221" y="175"/>
                      <a:pt x="221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Freeform 20"/>
              <p:cNvSpPr>
                <a:spLocks/>
              </p:cNvSpPr>
              <p:nvPr/>
            </p:nvSpPr>
            <p:spPr bwMode="auto">
              <a:xfrm>
                <a:off x="5034" y="2279"/>
                <a:ext cx="29" cy="54"/>
              </a:xfrm>
              <a:custGeom>
                <a:avLst/>
                <a:gdLst>
                  <a:gd name="T0" fmla="*/ 216 w 216"/>
                  <a:gd name="T1" fmla="*/ 237 h 402"/>
                  <a:gd name="T2" fmla="*/ 39 w 216"/>
                  <a:gd name="T3" fmla="*/ 388 h 402"/>
                  <a:gd name="T4" fmla="*/ 10 w 216"/>
                  <a:gd name="T5" fmla="*/ 400 h 402"/>
                  <a:gd name="T6" fmla="*/ 4 w 216"/>
                  <a:gd name="T7" fmla="*/ 393 h 402"/>
                  <a:gd name="T8" fmla="*/ 23 w 216"/>
                  <a:gd name="T9" fmla="*/ 269 h 402"/>
                  <a:gd name="T10" fmla="*/ 23 w 216"/>
                  <a:gd name="T11" fmla="*/ 106 h 402"/>
                  <a:gd name="T12" fmla="*/ 33 w 216"/>
                  <a:gd name="T13" fmla="*/ 84 h 402"/>
                  <a:gd name="T14" fmla="*/ 211 w 216"/>
                  <a:gd name="T15" fmla="*/ 1 h 402"/>
                  <a:gd name="T16" fmla="*/ 216 w 216"/>
                  <a:gd name="T17" fmla="*/ 0 h 402"/>
                  <a:gd name="T18" fmla="*/ 216 w 216"/>
                  <a:gd name="T19" fmla="*/ 237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6" h="402">
                    <a:moveTo>
                      <a:pt x="216" y="237"/>
                    </a:moveTo>
                    <a:cubicBezTo>
                      <a:pt x="185" y="320"/>
                      <a:pt x="113" y="355"/>
                      <a:pt x="39" y="388"/>
                    </a:cubicBezTo>
                    <a:cubicBezTo>
                      <a:pt x="30" y="393"/>
                      <a:pt x="20" y="396"/>
                      <a:pt x="10" y="400"/>
                    </a:cubicBezTo>
                    <a:cubicBezTo>
                      <a:pt x="3" y="402"/>
                      <a:pt x="0" y="399"/>
                      <a:pt x="4" y="393"/>
                    </a:cubicBezTo>
                    <a:cubicBezTo>
                      <a:pt x="28" y="354"/>
                      <a:pt x="23" y="311"/>
                      <a:pt x="23" y="269"/>
                    </a:cubicBezTo>
                    <a:cubicBezTo>
                      <a:pt x="23" y="214"/>
                      <a:pt x="23" y="160"/>
                      <a:pt x="23" y="106"/>
                    </a:cubicBezTo>
                    <a:cubicBezTo>
                      <a:pt x="23" y="97"/>
                      <a:pt x="23" y="89"/>
                      <a:pt x="33" y="84"/>
                    </a:cubicBezTo>
                    <a:cubicBezTo>
                      <a:pt x="93" y="57"/>
                      <a:pt x="152" y="29"/>
                      <a:pt x="211" y="1"/>
                    </a:cubicBezTo>
                    <a:cubicBezTo>
                      <a:pt x="213" y="0"/>
                      <a:pt x="214" y="0"/>
                      <a:pt x="216" y="0"/>
                    </a:cubicBezTo>
                    <a:cubicBezTo>
                      <a:pt x="216" y="79"/>
                      <a:pt x="216" y="158"/>
                      <a:pt x="216" y="2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Freeform 21"/>
              <p:cNvSpPr>
                <a:spLocks/>
              </p:cNvSpPr>
              <p:nvPr/>
            </p:nvSpPr>
            <p:spPr bwMode="auto">
              <a:xfrm>
                <a:off x="4843" y="2161"/>
                <a:ext cx="184" cy="63"/>
              </a:xfrm>
              <a:custGeom>
                <a:avLst/>
                <a:gdLst>
                  <a:gd name="T0" fmla="*/ 689 w 1377"/>
                  <a:gd name="T1" fmla="*/ 0 h 468"/>
                  <a:gd name="T2" fmla="*/ 1073 w 1377"/>
                  <a:gd name="T3" fmla="*/ 42 h 468"/>
                  <a:gd name="T4" fmla="*/ 1298 w 1377"/>
                  <a:gd name="T5" fmla="*/ 141 h 468"/>
                  <a:gd name="T6" fmla="*/ 1369 w 1377"/>
                  <a:gd name="T7" fmla="*/ 235 h 468"/>
                  <a:gd name="T8" fmla="*/ 1372 w 1377"/>
                  <a:gd name="T9" fmla="*/ 308 h 468"/>
                  <a:gd name="T10" fmla="*/ 1350 w 1377"/>
                  <a:gd name="T11" fmla="*/ 330 h 468"/>
                  <a:gd name="T12" fmla="*/ 1252 w 1377"/>
                  <a:gd name="T13" fmla="*/ 383 h 468"/>
                  <a:gd name="T14" fmla="*/ 965 w 1377"/>
                  <a:gd name="T15" fmla="*/ 450 h 468"/>
                  <a:gd name="T16" fmla="*/ 703 w 1377"/>
                  <a:gd name="T17" fmla="*/ 468 h 468"/>
                  <a:gd name="T18" fmla="*/ 472 w 1377"/>
                  <a:gd name="T19" fmla="*/ 457 h 468"/>
                  <a:gd name="T20" fmla="*/ 204 w 1377"/>
                  <a:gd name="T21" fmla="*/ 409 h 468"/>
                  <a:gd name="T22" fmla="*/ 30 w 1377"/>
                  <a:gd name="T23" fmla="*/ 333 h 468"/>
                  <a:gd name="T24" fmla="*/ 4 w 1377"/>
                  <a:gd name="T25" fmla="*/ 284 h 468"/>
                  <a:gd name="T26" fmla="*/ 75 w 1377"/>
                  <a:gd name="T27" fmla="*/ 143 h 468"/>
                  <a:gd name="T28" fmla="*/ 304 w 1377"/>
                  <a:gd name="T29" fmla="*/ 42 h 468"/>
                  <a:gd name="T30" fmla="*/ 584 w 1377"/>
                  <a:gd name="T31" fmla="*/ 3 h 468"/>
                  <a:gd name="T32" fmla="*/ 689 w 1377"/>
                  <a:gd name="T33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7" h="468">
                    <a:moveTo>
                      <a:pt x="689" y="0"/>
                    </a:moveTo>
                    <a:cubicBezTo>
                      <a:pt x="819" y="0"/>
                      <a:pt x="947" y="10"/>
                      <a:pt x="1073" y="42"/>
                    </a:cubicBezTo>
                    <a:cubicBezTo>
                      <a:pt x="1153" y="62"/>
                      <a:pt x="1231" y="90"/>
                      <a:pt x="1298" y="141"/>
                    </a:cubicBezTo>
                    <a:cubicBezTo>
                      <a:pt x="1331" y="165"/>
                      <a:pt x="1357" y="195"/>
                      <a:pt x="1369" y="235"/>
                    </a:cubicBezTo>
                    <a:cubicBezTo>
                      <a:pt x="1377" y="259"/>
                      <a:pt x="1373" y="283"/>
                      <a:pt x="1372" y="308"/>
                    </a:cubicBezTo>
                    <a:cubicBezTo>
                      <a:pt x="1371" y="318"/>
                      <a:pt x="1359" y="324"/>
                      <a:pt x="1350" y="330"/>
                    </a:cubicBezTo>
                    <a:cubicBezTo>
                      <a:pt x="1320" y="353"/>
                      <a:pt x="1287" y="369"/>
                      <a:pt x="1252" y="383"/>
                    </a:cubicBezTo>
                    <a:cubicBezTo>
                      <a:pt x="1159" y="418"/>
                      <a:pt x="1063" y="437"/>
                      <a:pt x="965" y="450"/>
                    </a:cubicBezTo>
                    <a:cubicBezTo>
                      <a:pt x="878" y="462"/>
                      <a:pt x="791" y="467"/>
                      <a:pt x="703" y="468"/>
                    </a:cubicBezTo>
                    <a:cubicBezTo>
                      <a:pt x="626" y="468"/>
                      <a:pt x="549" y="465"/>
                      <a:pt x="472" y="457"/>
                    </a:cubicBezTo>
                    <a:cubicBezTo>
                      <a:pt x="381" y="448"/>
                      <a:pt x="292" y="434"/>
                      <a:pt x="204" y="409"/>
                    </a:cubicBezTo>
                    <a:cubicBezTo>
                      <a:pt x="143" y="391"/>
                      <a:pt x="83" y="370"/>
                      <a:pt x="30" y="333"/>
                    </a:cubicBezTo>
                    <a:cubicBezTo>
                      <a:pt x="12" y="321"/>
                      <a:pt x="5" y="307"/>
                      <a:pt x="4" y="284"/>
                    </a:cubicBezTo>
                    <a:cubicBezTo>
                      <a:pt x="0" y="222"/>
                      <a:pt x="30" y="179"/>
                      <a:pt x="75" y="143"/>
                    </a:cubicBezTo>
                    <a:cubicBezTo>
                      <a:pt x="143" y="90"/>
                      <a:pt x="222" y="63"/>
                      <a:pt x="304" y="42"/>
                    </a:cubicBezTo>
                    <a:cubicBezTo>
                      <a:pt x="396" y="19"/>
                      <a:pt x="489" y="7"/>
                      <a:pt x="584" y="3"/>
                    </a:cubicBezTo>
                    <a:cubicBezTo>
                      <a:pt x="619" y="1"/>
                      <a:pt x="654" y="1"/>
                      <a:pt x="68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22"/>
              <p:cNvSpPr>
                <a:spLocks/>
              </p:cNvSpPr>
              <p:nvPr/>
            </p:nvSpPr>
            <p:spPr bwMode="auto">
              <a:xfrm>
                <a:off x="4843" y="2211"/>
                <a:ext cx="184" cy="56"/>
              </a:xfrm>
              <a:custGeom>
                <a:avLst/>
                <a:gdLst>
                  <a:gd name="T0" fmla="*/ 1 w 1370"/>
                  <a:gd name="T1" fmla="*/ 131 h 418"/>
                  <a:gd name="T2" fmla="*/ 1 w 1370"/>
                  <a:gd name="T3" fmla="*/ 15 h 418"/>
                  <a:gd name="T4" fmla="*/ 14 w 1370"/>
                  <a:gd name="T5" fmla="*/ 7 h 418"/>
                  <a:gd name="T6" fmla="*/ 261 w 1370"/>
                  <a:gd name="T7" fmla="*/ 96 h 418"/>
                  <a:gd name="T8" fmla="*/ 523 w 1370"/>
                  <a:gd name="T9" fmla="*/ 133 h 418"/>
                  <a:gd name="T10" fmla="*/ 761 w 1370"/>
                  <a:gd name="T11" fmla="*/ 138 h 418"/>
                  <a:gd name="T12" fmla="*/ 1236 w 1370"/>
                  <a:gd name="T13" fmla="*/ 62 h 418"/>
                  <a:gd name="T14" fmla="*/ 1354 w 1370"/>
                  <a:gd name="T15" fmla="*/ 8 h 418"/>
                  <a:gd name="T16" fmla="*/ 1370 w 1370"/>
                  <a:gd name="T17" fmla="*/ 17 h 418"/>
                  <a:gd name="T18" fmla="*/ 1370 w 1370"/>
                  <a:gd name="T19" fmla="*/ 245 h 418"/>
                  <a:gd name="T20" fmla="*/ 1357 w 1370"/>
                  <a:gd name="T21" fmla="*/ 270 h 418"/>
                  <a:gd name="T22" fmla="*/ 1220 w 1370"/>
                  <a:gd name="T23" fmla="*/ 341 h 418"/>
                  <a:gd name="T24" fmla="*/ 890 w 1370"/>
                  <a:gd name="T25" fmla="*/ 406 h 418"/>
                  <a:gd name="T26" fmla="*/ 610 w 1370"/>
                  <a:gd name="T27" fmla="*/ 415 h 418"/>
                  <a:gd name="T28" fmla="*/ 160 w 1370"/>
                  <a:gd name="T29" fmla="*/ 344 h 418"/>
                  <a:gd name="T30" fmla="*/ 21 w 1370"/>
                  <a:gd name="T31" fmla="*/ 277 h 418"/>
                  <a:gd name="T32" fmla="*/ 1 w 1370"/>
                  <a:gd name="T33" fmla="*/ 237 h 418"/>
                  <a:gd name="T34" fmla="*/ 1 w 1370"/>
                  <a:gd name="T35" fmla="*/ 131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70" h="418">
                    <a:moveTo>
                      <a:pt x="1" y="131"/>
                    </a:moveTo>
                    <a:cubicBezTo>
                      <a:pt x="2" y="92"/>
                      <a:pt x="2" y="54"/>
                      <a:pt x="1" y="15"/>
                    </a:cubicBezTo>
                    <a:cubicBezTo>
                      <a:pt x="1" y="5"/>
                      <a:pt x="4" y="0"/>
                      <a:pt x="14" y="7"/>
                    </a:cubicBezTo>
                    <a:cubicBezTo>
                      <a:pt x="90" y="54"/>
                      <a:pt x="175" y="78"/>
                      <a:pt x="261" y="96"/>
                    </a:cubicBezTo>
                    <a:cubicBezTo>
                      <a:pt x="347" y="115"/>
                      <a:pt x="435" y="126"/>
                      <a:pt x="523" y="133"/>
                    </a:cubicBezTo>
                    <a:cubicBezTo>
                      <a:pt x="603" y="139"/>
                      <a:pt x="682" y="141"/>
                      <a:pt x="761" y="138"/>
                    </a:cubicBezTo>
                    <a:cubicBezTo>
                      <a:pt x="923" y="131"/>
                      <a:pt x="1082" y="113"/>
                      <a:pt x="1236" y="62"/>
                    </a:cubicBezTo>
                    <a:cubicBezTo>
                      <a:pt x="1277" y="48"/>
                      <a:pt x="1317" y="31"/>
                      <a:pt x="1354" y="8"/>
                    </a:cubicBezTo>
                    <a:cubicBezTo>
                      <a:pt x="1367" y="0"/>
                      <a:pt x="1370" y="1"/>
                      <a:pt x="1370" y="17"/>
                    </a:cubicBezTo>
                    <a:cubicBezTo>
                      <a:pt x="1370" y="93"/>
                      <a:pt x="1370" y="169"/>
                      <a:pt x="1370" y="245"/>
                    </a:cubicBezTo>
                    <a:cubicBezTo>
                      <a:pt x="1370" y="256"/>
                      <a:pt x="1366" y="264"/>
                      <a:pt x="1357" y="270"/>
                    </a:cubicBezTo>
                    <a:cubicBezTo>
                      <a:pt x="1316" y="304"/>
                      <a:pt x="1269" y="324"/>
                      <a:pt x="1220" y="341"/>
                    </a:cubicBezTo>
                    <a:cubicBezTo>
                      <a:pt x="1113" y="377"/>
                      <a:pt x="1002" y="396"/>
                      <a:pt x="890" y="406"/>
                    </a:cubicBezTo>
                    <a:cubicBezTo>
                      <a:pt x="797" y="415"/>
                      <a:pt x="704" y="418"/>
                      <a:pt x="610" y="415"/>
                    </a:cubicBezTo>
                    <a:cubicBezTo>
                      <a:pt x="458" y="409"/>
                      <a:pt x="307" y="392"/>
                      <a:pt x="160" y="344"/>
                    </a:cubicBezTo>
                    <a:cubicBezTo>
                      <a:pt x="111" y="328"/>
                      <a:pt x="64" y="308"/>
                      <a:pt x="21" y="277"/>
                    </a:cubicBezTo>
                    <a:cubicBezTo>
                      <a:pt x="7" y="267"/>
                      <a:pt x="0" y="255"/>
                      <a:pt x="1" y="237"/>
                    </a:cubicBezTo>
                    <a:cubicBezTo>
                      <a:pt x="3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23"/>
              <p:cNvSpPr>
                <a:spLocks/>
              </p:cNvSpPr>
              <p:nvPr/>
            </p:nvSpPr>
            <p:spPr bwMode="auto">
              <a:xfrm>
                <a:off x="4843" y="2255"/>
                <a:ext cx="184" cy="56"/>
              </a:xfrm>
              <a:custGeom>
                <a:avLst/>
                <a:gdLst>
                  <a:gd name="T0" fmla="*/ 1 w 1370"/>
                  <a:gd name="T1" fmla="*/ 131 h 419"/>
                  <a:gd name="T2" fmla="*/ 1 w 1370"/>
                  <a:gd name="T3" fmla="*/ 14 h 419"/>
                  <a:gd name="T4" fmla="*/ 14 w 1370"/>
                  <a:gd name="T5" fmla="*/ 7 h 419"/>
                  <a:gd name="T6" fmla="*/ 307 w 1370"/>
                  <a:gd name="T7" fmla="*/ 107 h 419"/>
                  <a:gd name="T8" fmla="*/ 615 w 1370"/>
                  <a:gd name="T9" fmla="*/ 138 h 419"/>
                  <a:gd name="T10" fmla="*/ 1137 w 1370"/>
                  <a:gd name="T11" fmla="*/ 91 h 419"/>
                  <a:gd name="T12" fmla="*/ 1357 w 1370"/>
                  <a:gd name="T13" fmla="*/ 6 h 419"/>
                  <a:gd name="T14" fmla="*/ 1370 w 1370"/>
                  <a:gd name="T15" fmla="*/ 14 h 419"/>
                  <a:gd name="T16" fmla="*/ 1370 w 1370"/>
                  <a:gd name="T17" fmla="*/ 248 h 419"/>
                  <a:gd name="T18" fmla="*/ 1355 w 1370"/>
                  <a:gd name="T19" fmla="*/ 272 h 419"/>
                  <a:gd name="T20" fmla="*/ 1238 w 1370"/>
                  <a:gd name="T21" fmla="*/ 334 h 419"/>
                  <a:gd name="T22" fmla="*/ 943 w 1370"/>
                  <a:gd name="T23" fmla="*/ 401 h 419"/>
                  <a:gd name="T24" fmla="*/ 637 w 1370"/>
                  <a:gd name="T25" fmla="*/ 416 h 419"/>
                  <a:gd name="T26" fmla="*/ 167 w 1370"/>
                  <a:gd name="T27" fmla="*/ 347 h 419"/>
                  <a:gd name="T28" fmla="*/ 21 w 1370"/>
                  <a:gd name="T29" fmla="*/ 277 h 419"/>
                  <a:gd name="T30" fmla="*/ 1 w 1370"/>
                  <a:gd name="T31" fmla="*/ 238 h 419"/>
                  <a:gd name="T32" fmla="*/ 1 w 1370"/>
                  <a:gd name="T33" fmla="*/ 131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0" h="419">
                    <a:moveTo>
                      <a:pt x="1" y="131"/>
                    </a:moveTo>
                    <a:cubicBezTo>
                      <a:pt x="1" y="92"/>
                      <a:pt x="2" y="53"/>
                      <a:pt x="1" y="14"/>
                    </a:cubicBezTo>
                    <a:cubicBezTo>
                      <a:pt x="1" y="3"/>
                      <a:pt x="4" y="1"/>
                      <a:pt x="14" y="7"/>
                    </a:cubicBezTo>
                    <a:cubicBezTo>
                      <a:pt x="104" y="62"/>
                      <a:pt x="205" y="88"/>
                      <a:pt x="307" y="107"/>
                    </a:cubicBezTo>
                    <a:cubicBezTo>
                      <a:pt x="409" y="127"/>
                      <a:pt x="512" y="135"/>
                      <a:pt x="615" y="138"/>
                    </a:cubicBezTo>
                    <a:cubicBezTo>
                      <a:pt x="791" y="143"/>
                      <a:pt x="966" y="133"/>
                      <a:pt x="1137" y="91"/>
                    </a:cubicBezTo>
                    <a:cubicBezTo>
                      <a:pt x="1214" y="73"/>
                      <a:pt x="1289" y="49"/>
                      <a:pt x="1357" y="6"/>
                    </a:cubicBezTo>
                    <a:cubicBezTo>
                      <a:pt x="1367" y="0"/>
                      <a:pt x="1370" y="4"/>
                      <a:pt x="1370" y="14"/>
                    </a:cubicBezTo>
                    <a:cubicBezTo>
                      <a:pt x="1370" y="92"/>
                      <a:pt x="1370" y="170"/>
                      <a:pt x="1370" y="248"/>
                    </a:cubicBezTo>
                    <a:cubicBezTo>
                      <a:pt x="1370" y="260"/>
                      <a:pt x="1363" y="266"/>
                      <a:pt x="1355" y="272"/>
                    </a:cubicBezTo>
                    <a:cubicBezTo>
                      <a:pt x="1320" y="301"/>
                      <a:pt x="1280" y="319"/>
                      <a:pt x="1238" y="334"/>
                    </a:cubicBezTo>
                    <a:cubicBezTo>
                      <a:pt x="1143" y="370"/>
                      <a:pt x="1044" y="389"/>
                      <a:pt x="943" y="401"/>
                    </a:cubicBezTo>
                    <a:cubicBezTo>
                      <a:pt x="841" y="413"/>
                      <a:pt x="739" y="419"/>
                      <a:pt x="637" y="416"/>
                    </a:cubicBezTo>
                    <a:cubicBezTo>
                      <a:pt x="477" y="411"/>
                      <a:pt x="320" y="395"/>
                      <a:pt x="167" y="347"/>
                    </a:cubicBezTo>
                    <a:cubicBezTo>
                      <a:pt x="115" y="330"/>
                      <a:pt x="65" y="310"/>
                      <a:pt x="21" y="277"/>
                    </a:cubicBezTo>
                    <a:cubicBezTo>
                      <a:pt x="7" y="267"/>
                      <a:pt x="0" y="256"/>
                      <a:pt x="1" y="238"/>
                    </a:cubicBezTo>
                    <a:cubicBezTo>
                      <a:pt x="2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56" name="Рисунок 55"/>
            <p:cNvPicPr>
              <a:picLocks noChangeAspect="1"/>
            </p:cNvPicPr>
            <p:nvPr userDrawn="1"/>
          </p:nvPicPr>
          <p:blipFill>
            <a:blip r:embed="rId6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964" y="255927"/>
              <a:ext cx="132047" cy="120941"/>
            </a:xfrm>
            <a:prstGeom prst="rect">
              <a:avLst/>
            </a:prstGeom>
          </p:spPr>
        </p:pic>
        <p:sp>
          <p:nvSpPr>
            <p:cNvPr id="57" name="Freeform 413"/>
            <p:cNvSpPr>
              <a:spLocks noEditPoints="1"/>
            </p:cNvSpPr>
            <p:nvPr userDrawn="1"/>
          </p:nvSpPr>
          <p:spPr bwMode="auto">
            <a:xfrm>
              <a:off x="467432" y="411832"/>
              <a:ext cx="136834" cy="109909"/>
            </a:xfrm>
            <a:custGeom>
              <a:avLst/>
              <a:gdLst/>
              <a:ahLst/>
              <a:cxnLst>
                <a:cxn ang="0">
                  <a:pos x="235" y="365"/>
                </a:cxn>
                <a:cxn ang="0">
                  <a:pos x="246" y="344"/>
                </a:cxn>
                <a:cxn ang="0">
                  <a:pos x="226" y="329"/>
                </a:cxn>
                <a:cxn ang="0">
                  <a:pos x="217" y="320"/>
                </a:cxn>
                <a:cxn ang="0">
                  <a:pos x="206" y="328"/>
                </a:cxn>
                <a:cxn ang="0">
                  <a:pos x="142" y="348"/>
                </a:cxn>
                <a:cxn ang="0">
                  <a:pos x="31" y="237"/>
                </a:cxn>
                <a:cxn ang="0">
                  <a:pos x="106" y="133"/>
                </a:cxn>
                <a:cxn ang="0">
                  <a:pos x="106" y="132"/>
                </a:cxn>
                <a:cxn ang="0">
                  <a:pos x="144" y="127"/>
                </a:cxn>
                <a:cxn ang="0">
                  <a:pos x="201" y="141"/>
                </a:cxn>
                <a:cxn ang="0">
                  <a:pos x="132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6" y="104"/>
                </a:cxn>
                <a:cxn ang="0">
                  <a:pos x="49" y="130"/>
                </a:cxn>
                <a:cxn ang="0">
                  <a:pos x="49" y="129"/>
                </a:cxn>
                <a:cxn ang="0">
                  <a:pos x="0" y="237"/>
                </a:cxn>
                <a:cxn ang="0">
                  <a:pos x="142" y="380"/>
                </a:cxn>
                <a:cxn ang="0">
                  <a:pos x="214" y="360"/>
                </a:cxn>
                <a:cxn ang="0">
                  <a:pos x="231" y="371"/>
                </a:cxn>
                <a:cxn ang="0">
                  <a:pos x="235" y="365"/>
                </a:cxn>
                <a:cxn ang="0">
                  <a:pos x="453" y="183"/>
                </a:cxn>
                <a:cxn ang="0">
                  <a:pos x="454" y="175"/>
                </a:cxn>
                <a:cxn ang="0">
                  <a:pos x="348" y="70"/>
                </a:cxn>
                <a:cxn ang="0">
                  <a:pos x="327" y="72"/>
                </a:cxn>
                <a:cxn ang="0">
                  <a:pos x="212" y="0"/>
                </a:cxn>
                <a:cxn ang="0">
                  <a:pos x="90" y="89"/>
                </a:cxn>
                <a:cxn ang="0">
                  <a:pos x="125" y="86"/>
                </a:cxn>
                <a:cxn ang="0">
                  <a:pos x="212" y="32"/>
                </a:cxn>
                <a:cxn ang="0">
                  <a:pos x="302" y="96"/>
                </a:cxn>
                <a:cxn ang="0">
                  <a:pos x="308" y="112"/>
                </a:cxn>
                <a:cxn ang="0">
                  <a:pos x="323" y="106"/>
                </a:cxn>
                <a:cxn ang="0">
                  <a:pos x="348" y="101"/>
                </a:cxn>
                <a:cxn ang="0">
                  <a:pos x="422" y="175"/>
                </a:cxn>
                <a:cxn ang="0">
                  <a:pos x="420" y="192"/>
                </a:cxn>
                <a:cxn ang="0">
                  <a:pos x="416" y="209"/>
                </a:cxn>
                <a:cxn ang="0">
                  <a:pos x="434" y="211"/>
                </a:cxn>
                <a:cxn ang="0">
                  <a:pos x="492" y="275"/>
                </a:cxn>
                <a:cxn ang="0">
                  <a:pos x="428" y="338"/>
                </a:cxn>
                <a:cxn ang="0">
                  <a:pos x="394" y="329"/>
                </a:cxn>
                <a:cxn ang="0">
                  <a:pos x="384" y="322"/>
                </a:cxn>
                <a:cxn ang="0">
                  <a:pos x="375" y="330"/>
                </a:cxn>
                <a:cxn ang="0">
                  <a:pos x="358" y="343"/>
                </a:cxn>
                <a:cxn ang="0">
                  <a:pos x="352" y="359"/>
                </a:cxn>
                <a:cxn ang="0">
                  <a:pos x="342" y="384"/>
                </a:cxn>
                <a:cxn ang="0">
                  <a:pos x="387" y="361"/>
                </a:cxn>
                <a:cxn ang="0">
                  <a:pos x="428" y="370"/>
                </a:cxn>
                <a:cxn ang="0">
                  <a:pos x="523" y="275"/>
                </a:cxn>
                <a:cxn ang="0">
                  <a:pos x="453" y="183"/>
                </a:cxn>
                <a:cxn ang="0">
                  <a:pos x="383" y="292"/>
                </a:cxn>
                <a:cxn ang="0">
                  <a:pos x="313" y="171"/>
                </a:cxn>
                <a:cxn ang="0">
                  <a:pos x="244" y="292"/>
                </a:cxn>
                <a:cxn ang="0">
                  <a:pos x="282" y="292"/>
                </a:cxn>
                <a:cxn ang="0">
                  <a:pos x="220" y="420"/>
                </a:cxn>
                <a:cxn ang="0">
                  <a:pos x="297" y="420"/>
                </a:cxn>
                <a:cxn ang="0">
                  <a:pos x="343" y="292"/>
                </a:cxn>
                <a:cxn ang="0">
                  <a:pos x="383" y="292"/>
                </a:cxn>
              </a:cxnLst>
              <a:rect l="0" t="0" r="r" b="b"/>
              <a:pathLst>
                <a:path w="523" h="420">
                  <a:moveTo>
                    <a:pt x="235" y="365"/>
                  </a:moveTo>
                  <a:cubicBezTo>
                    <a:pt x="239" y="358"/>
                    <a:pt x="243" y="351"/>
                    <a:pt x="246" y="344"/>
                  </a:cubicBezTo>
                  <a:cubicBezTo>
                    <a:pt x="239" y="340"/>
                    <a:pt x="232" y="335"/>
                    <a:pt x="226" y="329"/>
                  </a:cubicBezTo>
                  <a:cubicBezTo>
                    <a:pt x="217" y="320"/>
                    <a:pt x="217" y="320"/>
                    <a:pt x="217" y="320"/>
                  </a:cubicBezTo>
                  <a:cubicBezTo>
                    <a:pt x="206" y="328"/>
                    <a:pt x="206" y="328"/>
                    <a:pt x="206" y="328"/>
                  </a:cubicBezTo>
                  <a:cubicBezTo>
                    <a:pt x="187" y="341"/>
                    <a:pt x="165" y="348"/>
                    <a:pt x="142" y="348"/>
                  </a:cubicBezTo>
                  <a:cubicBezTo>
                    <a:pt x="81" y="348"/>
                    <a:pt x="31" y="299"/>
                    <a:pt x="31" y="237"/>
                  </a:cubicBezTo>
                  <a:cubicBezTo>
                    <a:pt x="31" y="190"/>
                    <a:pt x="61" y="148"/>
                    <a:pt x="106" y="133"/>
                  </a:cubicBezTo>
                  <a:cubicBezTo>
                    <a:pt x="106" y="132"/>
                    <a:pt x="106" y="132"/>
                    <a:pt x="106" y="132"/>
                  </a:cubicBezTo>
                  <a:cubicBezTo>
                    <a:pt x="117" y="129"/>
                    <a:pt x="129" y="127"/>
                    <a:pt x="144" y="127"/>
                  </a:cubicBezTo>
                  <a:cubicBezTo>
                    <a:pt x="167" y="127"/>
                    <a:pt x="187" y="132"/>
                    <a:pt x="201" y="141"/>
                  </a:cubicBezTo>
                  <a:cubicBezTo>
                    <a:pt x="208" y="131"/>
                    <a:pt x="195" y="103"/>
                    <a:pt x="132" y="103"/>
                  </a:cubicBezTo>
                  <a:cubicBezTo>
                    <a:pt x="127" y="103"/>
                    <a:pt x="123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8" y="103"/>
                    <a:pt x="117" y="104"/>
                    <a:pt x="116" y="104"/>
                  </a:cubicBezTo>
                  <a:cubicBezTo>
                    <a:pt x="77" y="107"/>
                    <a:pt x="49" y="130"/>
                    <a:pt x="49" y="130"/>
                  </a:cubicBezTo>
                  <a:cubicBezTo>
                    <a:pt x="49" y="129"/>
                    <a:pt x="49" y="129"/>
                    <a:pt x="49" y="129"/>
                  </a:cubicBezTo>
                  <a:cubicBezTo>
                    <a:pt x="18" y="156"/>
                    <a:pt x="0" y="195"/>
                    <a:pt x="0" y="237"/>
                  </a:cubicBezTo>
                  <a:cubicBezTo>
                    <a:pt x="0" y="316"/>
                    <a:pt x="63" y="380"/>
                    <a:pt x="142" y="380"/>
                  </a:cubicBezTo>
                  <a:cubicBezTo>
                    <a:pt x="168" y="380"/>
                    <a:pt x="192" y="373"/>
                    <a:pt x="214" y="360"/>
                  </a:cubicBezTo>
                  <a:cubicBezTo>
                    <a:pt x="220" y="364"/>
                    <a:pt x="225" y="368"/>
                    <a:pt x="231" y="371"/>
                  </a:cubicBezTo>
                  <a:lnTo>
                    <a:pt x="235" y="365"/>
                  </a:lnTo>
                  <a:close/>
                  <a:moveTo>
                    <a:pt x="453" y="183"/>
                  </a:moveTo>
                  <a:cubicBezTo>
                    <a:pt x="454" y="180"/>
                    <a:pt x="454" y="178"/>
                    <a:pt x="454" y="175"/>
                  </a:cubicBezTo>
                  <a:cubicBezTo>
                    <a:pt x="454" y="117"/>
                    <a:pt x="407" y="70"/>
                    <a:pt x="348" y="70"/>
                  </a:cubicBezTo>
                  <a:cubicBezTo>
                    <a:pt x="341" y="70"/>
                    <a:pt x="334" y="71"/>
                    <a:pt x="327" y="72"/>
                  </a:cubicBezTo>
                  <a:cubicBezTo>
                    <a:pt x="305" y="29"/>
                    <a:pt x="261" y="0"/>
                    <a:pt x="212" y="0"/>
                  </a:cubicBezTo>
                  <a:cubicBezTo>
                    <a:pt x="155" y="0"/>
                    <a:pt x="106" y="37"/>
                    <a:pt x="90" y="89"/>
                  </a:cubicBezTo>
                  <a:cubicBezTo>
                    <a:pt x="103" y="86"/>
                    <a:pt x="116" y="85"/>
                    <a:pt x="125" y="86"/>
                  </a:cubicBezTo>
                  <a:cubicBezTo>
                    <a:pt x="141" y="53"/>
                    <a:pt x="174" y="32"/>
                    <a:pt x="212" y="32"/>
                  </a:cubicBezTo>
                  <a:cubicBezTo>
                    <a:pt x="253" y="32"/>
                    <a:pt x="289" y="58"/>
                    <a:pt x="302" y="96"/>
                  </a:cubicBezTo>
                  <a:cubicBezTo>
                    <a:pt x="308" y="112"/>
                    <a:pt x="308" y="112"/>
                    <a:pt x="308" y="112"/>
                  </a:cubicBezTo>
                  <a:cubicBezTo>
                    <a:pt x="323" y="106"/>
                    <a:pt x="323" y="106"/>
                    <a:pt x="323" y="106"/>
                  </a:cubicBezTo>
                  <a:cubicBezTo>
                    <a:pt x="331" y="103"/>
                    <a:pt x="340" y="101"/>
                    <a:pt x="348" y="101"/>
                  </a:cubicBezTo>
                  <a:cubicBezTo>
                    <a:pt x="389" y="101"/>
                    <a:pt x="422" y="135"/>
                    <a:pt x="422" y="175"/>
                  </a:cubicBezTo>
                  <a:cubicBezTo>
                    <a:pt x="422" y="181"/>
                    <a:pt x="421" y="186"/>
                    <a:pt x="420" y="192"/>
                  </a:cubicBezTo>
                  <a:cubicBezTo>
                    <a:pt x="416" y="209"/>
                    <a:pt x="416" y="209"/>
                    <a:pt x="416" y="209"/>
                  </a:cubicBezTo>
                  <a:cubicBezTo>
                    <a:pt x="434" y="211"/>
                    <a:pt x="434" y="211"/>
                    <a:pt x="434" y="211"/>
                  </a:cubicBezTo>
                  <a:cubicBezTo>
                    <a:pt x="467" y="214"/>
                    <a:pt x="492" y="242"/>
                    <a:pt x="492" y="275"/>
                  </a:cubicBezTo>
                  <a:cubicBezTo>
                    <a:pt x="492" y="310"/>
                    <a:pt x="463" y="338"/>
                    <a:pt x="428" y="338"/>
                  </a:cubicBezTo>
                  <a:cubicBezTo>
                    <a:pt x="416" y="338"/>
                    <a:pt x="404" y="335"/>
                    <a:pt x="394" y="329"/>
                  </a:cubicBezTo>
                  <a:cubicBezTo>
                    <a:pt x="384" y="322"/>
                    <a:pt x="384" y="322"/>
                    <a:pt x="384" y="322"/>
                  </a:cubicBezTo>
                  <a:cubicBezTo>
                    <a:pt x="375" y="330"/>
                    <a:pt x="375" y="330"/>
                    <a:pt x="375" y="330"/>
                  </a:cubicBezTo>
                  <a:cubicBezTo>
                    <a:pt x="370" y="335"/>
                    <a:pt x="364" y="339"/>
                    <a:pt x="358" y="343"/>
                  </a:cubicBezTo>
                  <a:cubicBezTo>
                    <a:pt x="356" y="348"/>
                    <a:pt x="354" y="354"/>
                    <a:pt x="352" y="359"/>
                  </a:cubicBezTo>
                  <a:cubicBezTo>
                    <a:pt x="349" y="367"/>
                    <a:pt x="346" y="376"/>
                    <a:pt x="342" y="384"/>
                  </a:cubicBezTo>
                  <a:cubicBezTo>
                    <a:pt x="358" y="379"/>
                    <a:pt x="374" y="371"/>
                    <a:pt x="387" y="361"/>
                  </a:cubicBezTo>
                  <a:cubicBezTo>
                    <a:pt x="400" y="367"/>
                    <a:pt x="414" y="370"/>
                    <a:pt x="428" y="370"/>
                  </a:cubicBezTo>
                  <a:cubicBezTo>
                    <a:pt x="481" y="370"/>
                    <a:pt x="523" y="327"/>
                    <a:pt x="523" y="275"/>
                  </a:cubicBezTo>
                  <a:cubicBezTo>
                    <a:pt x="523" y="231"/>
                    <a:pt x="494" y="194"/>
                    <a:pt x="453" y="183"/>
                  </a:cubicBezTo>
                  <a:close/>
                  <a:moveTo>
                    <a:pt x="383" y="292"/>
                  </a:moveTo>
                  <a:cubicBezTo>
                    <a:pt x="313" y="171"/>
                    <a:pt x="313" y="171"/>
                    <a:pt x="313" y="171"/>
                  </a:cubicBezTo>
                  <a:cubicBezTo>
                    <a:pt x="244" y="292"/>
                    <a:pt x="244" y="292"/>
                    <a:pt x="244" y="292"/>
                  </a:cubicBezTo>
                  <a:cubicBezTo>
                    <a:pt x="282" y="292"/>
                    <a:pt x="282" y="292"/>
                    <a:pt x="282" y="292"/>
                  </a:cubicBezTo>
                  <a:cubicBezTo>
                    <a:pt x="274" y="341"/>
                    <a:pt x="252" y="385"/>
                    <a:pt x="220" y="420"/>
                  </a:cubicBezTo>
                  <a:cubicBezTo>
                    <a:pt x="297" y="420"/>
                    <a:pt x="297" y="420"/>
                    <a:pt x="297" y="420"/>
                  </a:cubicBezTo>
                  <a:cubicBezTo>
                    <a:pt x="321" y="382"/>
                    <a:pt x="338" y="338"/>
                    <a:pt x="343" y="292"/>
                  </a:cubicBezTo>
                  <a:lnTo>
                    <a:pt x="383" y="292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</p:grpSp>
      <p:sp>
        <p:nvSpPr>
          <p:cNvPr id="58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11790055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082269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P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066147C5-186D-4E4C-9242-8148410B3D18}"/>
              </a:ext>
            </a:extLst>
          </p:cNvPr>
          <p:cNvSpPr/>
          <p:nvPr userDrawn="1"/>
        </p:nvSpPr>
        <p:spPr>
          <a:xfrm>
            <a:off x="0" y="-18878"/>
            <a:ext cx="12192000" cy="6876879"/>
          </a:xfrm>
          <a:prstGeom prst="rect">
            <a:avLst/>
          </a:prstGeom>
          <a:gradFill flip="none" rotWithShape="1">
            <a:gsLst>
              <a:gs pos="18000">
                <a:schemeClr val="accent6">
                  <a:lumMod val="67000"/>
                </a:schemeClr>
              </a:gs>
              <a:gs pos="100000">
                <a:schemeClr val="accent6"/>
              </a:gs>
            </a:gsLst>
            <a:lin ang="162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5FCFC23A-FBBD-1442-BC6B-7AACBBDF17DB}"/>
              </a:ext>
            </a:extLst>
          </p:cNvPr>
          <p:cNvGrpSpPr/>
          <p:nvPr userDrawn="1"/>
        </p:nvGrpSpPr>
        <p:grpSpPr>
          <a:xfrm>
            <a:off x="0" y="-18879"/>
            <a:ext cx="12192000" cy="675904"/>
            <a:chOff x="0" y="4267200"/>
            <a:chExt cx="12192000" cy="675904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A96D3F2C-5F04-B84F-B9D5-D61433C77E05}"/>
                </a:ext>
              </a:extLst>
            </p:cNvPr>
            <p:cNvSpPr/>
            <p:nvPr userDrawn="1"/>
          </p:nvSpPr>
          <p:spPr>
            <a:xfrm>
              <a:off x="122213" y="4435305"/>
              <a:ext cx="11951853" cy="4294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dist="88900" dir="5400000" sx="97000" sy="97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xmlns="" id="{4BCEF6D8-1372-DA4D-AAD1-0712D4C4C8D4}"/>
                </a:ext>
              </a:extLst>
            </p:cNvPr>
            <p:cNvSpPr/>
            <p:nvPr userDrawn="1"/>
          </p:nvSpPr>
          <p:spPr>
            <a:xfrm>
              <a:off x="0" y="4267200"/>
              <a:ext cx="12192000" cy="675904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3E5CDD5-3156-47A9-A019-94E8642F4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7" y="162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629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F3E5CDD5-3156-47A9-A019-94E8642F4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62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"/>
          <p:cNvSpPr>
            <a:spLocks noGrp="1"/>
          </p:cNvSpPr>
          <p:nvPr>
            <p:ph type="title" hasCustomPrompt="1"/>
          </p:nvPr>
        </p:nvSpPr>
        <p:spPr>
          <a:xfrm>
            <a:off x="1602515" y="177110"/>
            <a:ext cx="9905376" cy="30780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000" kern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45780014-60AD-4D4C-B6BB-A0DF121B2FEB}"/>
              </a:ext>
            </a:extLst>
          </p:cNvPr>
          <p:cNvSpPr>
            <a:spLocks/>
          </p:cNvSpPr>
          <p:nvPr userDrawn="1"/>
        </p:nvSpPr>
        <p:spPr bwMode="auto">
          <a:xfrm>
            <a:off x="11662261" y="161564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102572" tIns="102572" rIns="102572" bIns="102572" rtlCol="0" anchor="ctr"/>
          <a:lstStyle/>
          <a:p>
            <a:pPr marL="0" marR="0" lvl="0" indent="0" algn="ctr" defTabSz="121866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>
              <a:ln>
                <a:noFill/>
              </a:ln>
              <a:solidFill>
                <a:srgbClr val="787E7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87759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31" name="Oval 5">
            <a:extLst>
              <a:ext uri="{FF2B5EF4-FFF2-40B4-BE49-F238E27FC236}">
                <a16:creationId xmlns:a16="http://schemas.microsoft.com/office/drawing/2014/main" xmlns="" id="{3DF6420D-E176-5C42-ABBA-A6D11E2EA40A}"/>
              </a:ext>
            </a:extLst>
          </p:cNvPr>
          <p:cNvSpPr/>
          <p:nvPr userDrawn="1"/>
        </p:nvSpPr>
        <p:spPr>
          <a:xfrm>
            <a:off x="1050131" y="97274"/>
            <a:ext cx="449004" cy="439023"/>
          </a:xfrm>
          <a:prstGeom prst="ellipse">
            <a:avLst/>
          </a:prstGeom>
          <a:solidFill>
            <a:schemeClr val="accent6"/>
          </a:solidFill>
          <a:ln w="12700" cap="flat" cmpd="sng" algn="ctr">
            <a:noFill/>
            <a:prstDash val="solid"/>
          </a:ln>
          <a:effectLst/>
        </p:spPr>
        <p:txBody>
          <a:bodyPr lIns="96747" tIns="48373" rIns="96747" bIns="48373" rtlCol="0" anchor="ctr"/>
          <a:lstStyle/>
          <a:p>
            <a:pPr algn="ctr" defTabSz="967502">
              <a:defRPr/>
            </a:pPr>
            <a:endParaRPr lang="en-US" sz="1481" kern="0" dirty="0" err="1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32" name="Рисунок 3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052" y="69057"/>
            <a:ext cx="543387" cy="497681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A0C4E7F1-7346-4A46-A777-55C481F872B9}"/>
              </a:ext>
            </a:extLst>
          </p:cNvPr>
          <p:cNvSpPr/>
          <p:nvPr userDrawn="1"/>
        </p:nvSpPr>
        <p:spPr>
          <a:xfrm>
            <a:off x="0" y="657026"/>
            <a:ext cx="12192000" cy="6200975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27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4" name="Группа 3"/>
          <p:cNvGrpSpPr/>
          <p:nvPr userDrawn="1"/>
        </p:nvGrpSpPr>
        <p:grpSpPr>
          <a:xfrm>
            <a:off x="146651" y="90377"/>
            <a:ext cx="802256" cy="446347"/>
            <a:chOff x="146650" y="90376"/>
            <a:chExt cx="802256" cy="446347"/>
          </a:xfrm>
        </p:grpSpPr>
        <p:grpSp>
          <p:nvGrpSpPr>
            <p:cNvPr id="33" name="Группа 32"/>
            <p:cNvGrpSpPr/>
            <p:nvPr userDrawn="1"/>
          </p:nvGrpSpPr>
          <p:grpSpPr>
            <a:xfrm>
              <a:off x="146650" y="90376"/>
              <a:ext cx="802256" cy="446347"/>
              <a:chOff x="3215754" y="3239215"/>
              <a:chExt cx="5277696" cy="2936328"/>
            </a:xfrm>
            <a:solidFill>
              <a:schemeClr val="accent6"/>
            </a:solidFill>
          </p:grpSpPr>
          <p:sp>
            <p:nvSpPr>
              <p:cNvPr id="34" name="Round Diagonal Corner Rectangle 73"/>
              <p:cNvSpPr/>
              <p:nvPr/>
            </p:nvSpPr>
            <p:spPr>
              <a:xfrm rot="16200000" flipV="1">
                <a:off x="4045695" y="2409275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35" name="Round Diagonal Corner Rectangle 73"/>
              <p:cNvSpPr/>
              <p:nvPr/>
            </p:nvSpPr>
            <p:spPr>
              <a:xfrm rot="16200000" flipV="1">
                <a:off x="6763017" y="2409276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36" name="Round Diagonal Corner Rectangle 73"/>
              <p:cNvSpPr/>
              <p:nvPr/>
            </p:nvSpPr>
            <p:spPr>
              <a:xfrm rot="16200000" flipV="1">
                <a:off x="4045695" y="3427192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4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37" name="Round Diagonal Corner Rectangle 73"/>
              <p:cNvSpPr/>
              <p:nvPr/>
            </p:nvSpPr>
            <p:spPr>
              <a:xfrm rot="16200000" flipV="1">
                <a:off x="6763017" y="3427193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38" name="Round Diagonal Corner Rectangle 73"/>
              <p:cNvSpPr/>
              <p:nvPr/>
            </p:nvSpPr>
            <p:spPr>
              <a:xfrm rot="16200000" flipV="1">
                <a:off x="5404355" y="3086448"/>
                <a:ext cx="900494" cy="527769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</p:grpSp>
        <p:grpSp>
          <p:nvGrpSpPr>
            <p:cNvPr id="19" name="Group 2"/>
            <p:cNvGrpSpPr/>
            <p:nvPr userDrawn="1"/>
          </p:nvGrpSpPr>
          <p:grpSpPr>
            <a:xfrm>
              <a:off x="298733" y="103728"/>
              <a:ext cx="90401" cy="105401"/>
              <a:chOff x="6670675" y="3513137"/>
              <a:chExt cx="1071561" cy="1249363"/>
            </a:xfrm>
            <a:solidFill>
              <a:schemeClr val="accent6">
                <a:lumMod val="60000"/>
                <a:lumOff val="40000"/>
              </a:schemeClr>
            </a:solidFill>
          </p:grpSpPr>
          <p:grpSp>
            <p:nvGrpSpPr>
              <p:cNvPr id="20" name="Group 115"/>
              <p:cNvGrpSpPr/>
              <p:nvPr/>
            </p:nvGrpSpPr>
            <p:grpSpPr>
              <a:xfrm>
                <a:off x="6670675" y="3513137"/>
                <a:ext cx="700087" cy="1249363"/>
                <a:chOff x="-2524125" y="-798513"/>
                <a:chExt cx="700087" cy="1249363"/>
              </a:xfrm>
              <a:grpFill/>
            </p:grpSpPr>
            <p:sp>
              <p:nvSpPr>
                <p:cNvPr id="22" name="Oval 273"/>
                <p:cNvSpPr>
                  <a:spLocks noChangeArrowheads="1"/>
                </p:cNvSpPr>
                <p:nvPr/>
              </p:nvSpPr>
              <p:spPr bwMode="auto">
                <a:xfrm>
                  <a:off x="-2268538" y="-798513"/>
                  <a:ext cx="200025" cy="23812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23" name="Freeform 274"/>
                <p:cNvSpPr>
                  <a:spLocks noEditPoints="1"/>
                </p:cNvSpPr>
                <p:nvPr/>
              </p:nvSpPr>
              <p:spPr bwMode="auto">
                <a:xfrm>
                  <a:off x="-2524125" y="-536575"/>
                  <a:ext cx="700087" cy="987425"/>
                </a:xfrm>
                <a:custGeom>
                  <a:avLst/>
                  <a:gdLst/>
                  <a:ahLst/>
                  <a:cxnLst>
                    <a:cxn ang="0">
                      <a:pos x="123" y="27"/>
                    </a:cxn>
                    <a:cxn ang="0">
                      <a:pos x="122" y="26"/>
                    </a:cxn>
                    <a:cxn ang="0">
                      <a:pos x="116" y="22"/>
                    </a:cxn>
                    <a:cxn ang="0">
                      <a:pos x="91" y="3"/>
                    </a:cxn>
                    <a:cxn ang="0">
                      <a:pos x="85" y="1"/>
                    </a:cxn>
                    <a:cxn ang="0">
                      <a:pos x="77" y="1"/>
                    </a:cxn>
                    <a:cxn ang="0">
                      <a:pos x="75" y="11"/>
                    </a:cxn>
                    <a:cxn ang="0">
                      <a:pos x="68" y="43"/>
                    </a:cxn>
                    <a:cxn ang="0">
                      <a:pos x="68" y="7"/>
                    </a:cxn>
                    <a:cxn ang="0">
                      <a:pos x="59" y="0"/>
                    </a:cxn>
                    <a:cxn ang="0">
                      <a:pos x="59" y="9"/>
                    </a:cxn>
                    <a:cxn ang="0">
                      <a:pos x="46" y="18"/>
                    </a:cxn>
                    <a:cxn ang="0">
                      <a:pos x="41" y="7"/>
                    </a:cxn>
                    <a:cxn ang="0">
                      <a:pos x="48" y="0"/>
                    </a:cxn>
                    <a:cxn ang="0">
                      <a:pos x="39" y="1"/>
                    </a:cxn>
                    <a:cxn ang="0">
                      <a:pos x="3" y="36"/>
                    </a:cxn>
                    <a:cxn ang="0">
                      <a:pos x="3" y="36"/>
                    </a:cxn>
                    <a:cxn ang="0">
                      <a:pos x="1" y="49"/>
                    </a:cxn>
                    <a:cxn ang="0">
                      <a:pos x="1" y="49"/>
                    </a:cxn>
                    <a:cxn ang="0">
                      <a:pos x="2" y="51"/>
                    </a:cxn>
                    <a:cxn ang="0">
                      <a:pos x="6" y="58"/>
                    </a:cxn>
                    <a:cxn ang="0">
                      <a:pos x="20" y="86"/>
                    </a:cxn>
                    <a:cxn ang="0">
                      <a:pos x="33" y="91"/>
                    </a:cxn>
                    <a:cxn ang="0">
                      <a:pos x="35" y="92"/>
                    </a:cxn>
                    <a:cxn ang="0">
                      <a:pos x="61" y="174"/>
                    </a:cxn>
                    <a:cxn ang="0">
                      <a:pos x="57" y="112"/>
                    </a:cxn>
                    <a:cxn ang="0">
                      <a:pos x="91" y="34"/>
                    </a:cxn>
                    <a:cxn ang="0">
                      <a:pos x="95" y="32"/>
                    </a:cxn>
                    <a:cxn ang="0">
                      <a:pos x="77" y="46"/>
                    </a:cxn>
                    <a:cxn ang="0">
                      <a:pos x="91" y="34"/>
                    </a:cxn>
                    <a:cxn ang="0">
                      <a:pos x="31" y="56"/>
                    </a:cxn>
                    <a:cxn ang="0">
                      <a:pos x="24" y="44"/>
                    </a:cxn>
                    <a:cxn ang="0">
                      <a:pos x="34" y="61"/>
                    </a:cxn>
                  </a:cxnLst>
                  <a:rect l="0" t="0" r="r" b="b"/>
                  <a:pathLst>
                    <a:path w="123" h="174">
                      <a:moveTo>
                        <a:pt x="122" y="42"/>
                      </a:moveTo>
                      <a:cubicBezTo>
                        <a:pt x="122" y="35"/>
                        <a:pt x="123" y="24"/>
                        <a:pt x="123" y="27"/>
                      </a:cubicBezTo>
                      <a:cubicBezTo>
                        <a:pt x="123" y="26"/>
                        <a:pt x="123" y="26"/>
                        <a:pt x="123" y="26"/>
                      </a:cubicBezTo>
                      <a:cubicBezTo>
                        <a:pt x="122" y="26"/>
                        <a:pt x="122" y="26"/>
                        <a:pt x="122" y="26"/>
                      </a:cubicBezTo>
                      <a:cubicBezTo>
                        <a:pt x="120" y="25"/>
                        <a:pt x="120" y="25"/>
                        <a:pt x="120" y="25"/>
                      </a:cubicBezTo>
                      <a:cubicBezTo>
                        <a:pt x="116" y="22"/>
                        <a:pt x="116" y="22"/>
                        <a:pt x="116" y="22"/>
                      </a:cubicBezTo>
                      <a:cubicBezTo>
                        <a:pt x="108" y="15"/>
                        <a:pt x="108" y="15"/>
                        <a:pt x="108" y="15"/>
                      </a:cubicBezTo>
                      <a:cubicBezTo>
                        <a:pt x="91" y="3"/>
                        <a:pt x="91" y="3"/>
                        <a:pt x="91" y="3"/>
                      </a:cubicBezTo>
                      <a:cubicBezTo>
                        <a:pt x="90" y="2"/>
                        <a:pt x="88" y="1"/>
                        <a:pt x="86" y="1"/>
                      </a:cubicBezTo>
                      <a:cubicBezTo>
                        <a:pt x="85" y="1"/>
                        <a:pt x="85" y="1"/>
                        <a:pt x="85" y="1"/>
                      </a:cubicBezTo>
                      <a:cubicBezTo>
                        <a:pt x="83" y="1"/>
                        <a:pt x="80" y="1"/>
                        <a:pt x="77" y="0"/>
                      </a:cubicBez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84" y="7"/>
                        <a:pt x="84" y="7"/>
                        <a:pt x="84" y="7"/>
                      </a:cubicBezTo>
                      <a:cubicBezTo>
                        <a:pt x="75" y="11"/>
                        <a:pt x="75" y="11"/>
                        <a:pt x="75" y="11"/>
                      </a:cubicBezTo>
                      <a:cubicBezTo>
                        <a:pt x="80" y="18"/>
                        <a:pt x="80" y="18"/>
                        <a:pt x="80" y="18"/>
                      </a:cubicBezTo>
                      <a:cubicBezTo>
                        <a:pt x="68" y="43"/>
                        <a:pt x="68" y="43"/>
                        <a:pt x="68" y="43"/>
                      </a:cubicBezTo>
                      <a:cubicBezTo>
                        <a:pt x="67" y="9"/>
                        <a:pt x="67" y="9"/>
                        <a:pt x="67" y="9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7" y="7"/>
                        <a:pt x="57" y="7"/>
                        <a:pt x="57" y="7"/>
                      </a:cubicBezTo>
                      <a:cubicBezTo>
                        <a:pt x="59" y="9"/>
                        <a:pt x="59" y="9"/>
                        <a:pt x="59" y="9"/>
                      </a:cubicBezTo>
                      <a:cubicBezTo>
                        <a:pt x="57" y="43"/>
                        <a:pt x="57" y="43"/>
                        <a:pt x="57" y="43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50" y="11"/>
                        <a:pt x="50" y="11"/>
                        <a:pt x="50" y="11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8" y="1"/>
                        <a:pt x="48" y="1"/>
                        <a:pt x="48" y="1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5" y="1"/>
                        <a:pt x="43" y="1"/>
                        <a:pt x="40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6" y="1"/>
                        <a:pt x="34" y="3"/>
                        <a:pt x="32" y="5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0" y="61"/>
                        <a:pt x="2" y="43"/>
                        <a:pt x="1" y="48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2" y="49"/>
                        <a:pt x="2" y="49"/>
                        <a:pt x="2" y="49"/>
                      </a:cubicBezTo>
                      <a:cubicBezTo>
                        <a:pt x="2" y="51"/>
                        <a:pt x="2" y="51"/>
                        <a:pt x="2" y="51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6" y="58"/>
                        <a:pt x="6" y="58"/>
                        <a:pt x="6" y="58"/>
                      </a:cubicBezTo>
                      <a:cubicBezTo>
                        <a:pt x="11" y="67"/>
                        <a:pt x="11" y="67"/>
                        <a:pt x="11" y="67"/>
                      </a:cubicBezTo>
                      <a:cubicBezTo>
                        <a:pt x="20" y="86"/>
                        <a:pt x="20" y="86"/>
                        <a:pt x="20" y="86"/>
                      </a:cubicBezTo>
                      <a:cubicBezTo>
                        <a:pt x="25" y="84"/>
                        <a:pt x="29" y="82"/>
                        <a:pt x="33" y="79"/>
                      </a:cubicBezTo>
                      <a:cubicBezTo>
                        <a:pt x="33" y="83"/>
                        <a:pt x="33" y="87"/>
                        <a:pt x="33" y="91"/>
                      </a:cubicBezTo>
                      <a:cubicBezTo>
                        <a:pt x="33" y="92"/>
                        <a:pt x="33" y="92"/>
                        <a:pt x="33" y="92"/>
                      </a:cubicBezTo>
                      <a:cubicBezTo>
                        <a:pt x="35" y="92"/>
                        <a:pt x="35" y="92"/>
                        <a:pt x="35" y="92"/>
                      </a:cubicBezTo>
                      <a:cubicBezTo>
                        <a:pt x="38" y="174"/>
                        <a:pt x="38" y="174"/>
                        <a:pt x="38" y="174"/>
                      </a:cubicBezTo>
                      <a:cubicBezTo>
                        <a:pt x="61" y="174"/>
                        <a:pt x="61" y="174"/>
                        <a:pt x="61" y="174"/>
                      </a:cubicBezTo>
                      <a:cubicBezTo>
                        <a:pt x="62" y="163"/>
                        <a:pt x="62" y="150"/>
                        <a:pt x="62" y="137"/>
                      </a:cubicBezTo>
                      <a:cubicBezTo>
                        <a:pt x="59" y="129"/>
                        <a:pt x="57" y="121"/>
                        <a:pt x="57" y="112"/>
                      </a:cubicBezTo>
                      <a:cubicBezTo>
                        <a:pt x="57" y="75"/>
                        <a:pt x="86" y="45"/>
                        <a:pt x="122" y="42"/>
                      </a:cubicBezTo>
                      <a:close/>
                      <a:moveTo>
                        <a:pt x="91" y="34"/>
                      </a:moveTo>
                      <a:cubicBezTo>
                        <a:pt x="91" y="32"/>
                        <a:pt x="91" y="30"/>
                        <a:pt x="90" y="28"/>
                      </a:cubicBezTo>
                      <a:cubicBezTo>
                        <a:pt x="95" y="32"/>
                        <a:pt x="95" y="32"/>
                        <a:pt x="95" y="32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ubicBezTo>
                        <a:pt x="77" y="46"/>
                        <a:pt x="77" y="46"/>
                        <a:pt x="77" y="46"/>
                      </a:cubicBezTo>
                      <a:cubicBezTo>
                        <a:pt x="75" y="43"/>
                        <a:pt x="75" y="43"/>
                        <a:pt x="75" y="43"/>
                      </a:cubicBezTo>
                      <a:lnTo>
                        <a:pt x="91" y="34"/>
                      </a:lnTo>
                      <a:close/>
                      <a:moveTo>
                        <a:pt x="34" y="61"/>
                      </a:moveTo>
                      <a:cubicBezTo>
                        <a:pt x="31" y="56"/>
                        <a:pt x="31" y="56"/>
                        <a:pt x="31" y="56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4" y="44"/>
                        <a:pt x="24" y="44"/>
                        <a:pt x="24" y="44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cubicBezTo>
                        <a:pt x="34" y="41"/>
                        <a:pt x="34" y="51"/>
                        <a:pt x="34" y="6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24" name="Freeform 275"/>
                <p:cNvSpPr>
                  <a:spLocks/>
                </p:cNvSpPr>
                <p:nvPr/>
              </p:nvSpPr>
              <p:spPr bwMode="auto">
                <a:xfrm>
                  <a:off x="-2154238" y="287337"/>
                  <a:ext cx="141287" cy="1635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" y="29"/>
                    </a:cxn>
                    <a:cxn ang="0">
                      <a:pos x="25" y="29"/>
                    </a:cxn>
                    <a:cxn ang="0">
                      <a:pos x="25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5" h="29">
                      <a:moveTo>
                        <a:pt x="0" y="0"/>
                      </a:move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25" y="29"/>
                        <a:pt x="25" y="29"/>
                        <a:pt x="25" y="29"/>
                      </a:cubicBezTo>
                      <a:cubicBezTo>
                        <a:pt x="25" y="28"/>
                        <a:pt x="25" y="27"/>
                        <a:pt x="25" y="26"/>
                      </a:cubicBezTo>
                      <a:cubicBezTo>
                        <a:pt x="15" y="19"/>
                        <a:pt x="6" y="10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</p:grpSp>
          <p:sp>
            <p:nvSpPr>
              <p:cNvPr id="21" name="Freeform 209"/>
              <p:cNvSpPr>
                <a:spLocks noEditPoints="1"/>
              </p:cNvSpPr>
              <p:nvPr/>
            </p:nvSpPr>
            <p:spPr bwMode="auto">
              <a:xfrm>
                <a:off x="7032625" y="4046538"/>
                <a:ext cx="709611" cy="709611"/>
              </a:xfrm>
              <a:custGeom>
                <a:avLst/>
                <a:gdLst/>
                <a:ahLst/>
                <a:cxnLst>
                  <a:cxn ang="0">
                    <a:pos x="114" y="40"/>
                  </a:cxn>
                  <a:cxn ang="0">
                    <a:pos x="109" y="41"/>
                  </a:cxn>
                  <a:cxn ang="0">
                    <a:pos x="103" y="34"/>
                  </a:cxn>
                  <a:cxn ang="0">
                    <a:pos x="109" y="25"/>
                  </a:cxn>
                  <a:cxn ang="0">
                    <a:pos x="96" y="16"/>
                  </a:cxn>
                  <a:cxn ang="0">
                    <a:pos x="88" y="19"/>
                  </a:cxn>
                  <a:cxn ang="0">
                    <a:pos x="87" y="10"/>
                  </a:cxn>
                  <a:cxn ang="0">
                    <a:pos x="74" y="2"/>
                  </a:cxn>
                  <a:cxn ang="0">
                    <a:pos x="70" y="3"/>
                  </a:cxn>
                  <a:cxn ang="0">
                    <a:pos x="59" y="10"/>
                  </a:cxn>
                  <a:cxn ang="0">
                    <a:pos x="55" y="0"/>
                  </a:cxn>
                  <a:cxn ang="0">
                    <a:pos x="47" y="2"/>
                  </a:cxn>
                  <a:cxn ang="0">
                    <a:pos x="45" y="2"/>
                  </a:cxn>
                  <a:cxn ang="0">
                    <a:pos x="40" y="6"/>
                  </a:cxn>
                  <a:cxn ang="0">
                    <a:pos x="34" y="16"/>
                  </a:cxn>
                  <a:cxn ang="0">
                    <a:pos x="26" y="11"/>
                  </a:cxn>
                  <a:cxn ang="0">
                    <a:pos x="16" y="19"/>
                  </a:cxn>
                  <a:cxn ang="0">
                    <a:pos x="21" y="29"/>
                  </a:cxn>
                  <a:cxn ang="0">
                    <a:pos x="14" y="34"/>
                  </a:cxn>
                  <a:cxn ang="0">
                    <a:pos x="6" y="34"/>
                  </a:cxn>
                  <a:cxn ang="0">
                    <a:pos x="2" y="46"/>
                  </a:cxn>
                  <a:cxn ang="0">
                    <a:pos x="10" y="52"/>
                  </a:cxn>
                  <a:cxn ang="0">
                    <a:pos x="3" y="61"/>
                  </a:cxn>
                  <a:cxn ang="0">
                    <a:pos x="2" y="77"/>
                  </a:cxn>
                  <a:cxn ang="0">
                    <a:pos x="13" y="78"/>
                  </a:cxn>
                  <a:cxn ang="0">
                    <a:pos x="11" y="89"/>
                  </a:cxn>
                  <a:cxn ang="0">
                    <a:pos x="19" y="103"/>
                  </a:cxn>
                  <a:cxn ang="0">
                    <a:pos x="29" y="99"/>
                  </a:cxn>
                  <a:cxn ang="0">
                    <a:pos x="33" y="110"/>
                  </a:cxn>
                  <a:cxn ang="0">
                    <a:pos x="46" y="118"/>
                  </a:cxn>
                  <a:cxn ang="0">
                    <a:pos x="52" y="109"/>
                  </a:cxn>
                  <a:cxn ang="0">
                    <a:pos x="61" y="117"/>
                  </a:cxn>
                  <a:cxn ang="0">
                    <a:pos x="77" y="117"/>
                  </a:cxn>
                  <a:cxn ang="0">
                    <a:pos x="78" y="106"/>
                  </a:cxn>
                  <a:cxn ang="0">
                    <a:pos x="90" y="108"/>
                  </a:cxn>
                  <a:cxn ang="0">
                    <a:pos x="103" y="101"/>
                  </a:cxn>
                  <a:cxn ang="0">
                    <a:pos x="99" y="91"/>
                  </a:cxn>
                  <a:cxn ang="0">
                    <a:pos x="110" y="87"/>
                  </a:cxn>
                  <a:cxn ang="0">
                    <a:pos x="118" y="73"/>
                  </a:cxn>
                  <a:cxn ang="0">
                    <a:pos x="109" y="67"/>
                  </a:cxn>
                  <a:cxn ang="0">
                    <a:pos x="117" y="58"/>
                  </a:cxn>
                  <a:cxn ang="0">
                    <a:pos x="117" y="44"/>
                  </a:cxn>
                  <a:cxn ang="0">
                    <a:pos x="23" y="67"/>
                  </a:cxn>
                  <a:cxn ang="0">
                    <a:pos x="24" y="47"/>
                  </a:cxn>
                  <a:cxn ang="0">
                    <a:pos x="50" y="23"/>
                  </a:cxn>
                  <a:cxn ang="0">
                    <a:pos x="51" y="39"/>
                  </a:cxn>
                  <a:cxn ang="0">
                    <a:pos x="47" y="41"/>
                  </a:cxn>
                  <a:cxn ang="0">
                    <a:pos x="37" y="60"/>
                  </a:cxn>
                  <a:cxn ang="0">
                    <a:pos x="66" y="97"/>
                  </a:cxn>
                  <a:cxn ang="0">
                    <a:pos x="48" y="79"/>
                  </a:cxn>
                  <a:cxn ang="0">
                    <a:pos x="68" y="81"/>
                  </a:cxn>
                  <a:cxn ang="0">
                    <a:pos x="66" y="97"/>
                  </a:cxn>
                  <a:cxn ang="0">
                    <a:pos x="82" y="64"/>
                  </a:cxn>
                  <a:cxn ang="0">
                    <a:pos x="74" y="42"/>
                  </a:cxn>
                  <a:cxn ang="0">
                    <a:pos x="74" y="25"/>
                  </a:cxn>
                  <a:cxn ang="0">
                    <a:pos x="89" y="36"/>
                  </a:cxn>
                  <a:cxn ang="0">
                    <a:pos x="97" y="53"/>
                  </a:cxn>
                </a:cxnLst>
                <a:rect l="0" t="0" r="r" b="b"/>
                <a:pathLst>
                  <a:path w="119" h="119">
                    <a:moveTo>
                      <a:pt x="117" y="42"/>
                    </a:moveTo>
                    <a:cubicBezTo>
                      <a:pt x="117" y="41"/>
                      <a:pt x="115" y="40"/>
                      <a:pt x="114" y="40"/>
                    </a:cubicBezTo>
                    <a:cubicBezTo>
                      <a:pt x="114" y="40"/>
                      <a:pt x="113" y="40"/>
                      <a:pt x="113" y="40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6" y="41"/>
                      <a:pt x="106" y="41"/>
                      <a:pt x="106" y="41"/>
                    </a:cubicBezTo>
                    <a:cubicBezTo>
                      <a:pt x="105" y="39"/>
                      <a:pt x="104" y="37"/>
                      <a:pt x="103" y="34"/>
                    </a:cubicBezTo>
                    <a:cubicBezTo>
                      <a:pt x="108" y="30"/>
                      <a:pt x="108" y="30"/>
                      <a:pt x="108" y="30"/>
                    </a:cubicBezTo>
                    <a:cubicBezTo>
                      <a:pt x="110" y="29"/>
                      <a:pt x="110" y="27"/>
                      <a:pt x="109" y="25"/>
                    </a:cubicBezTo>
                    <a:cubicBezTo>
                      <a:pt x="101" y="16"/>
                      <a:pt x="101" y="16"/>
                      <a:pt x="101" y="16"/>
                    </a:cubicBezTo>
                    <a:cubicBezTo>
                      <a:pt x="100" y="15"/>
                      <a:pt x="98" y="15"/>
                      <a:pt x="96" y="16"/>
                    </a:cubicBezTo>
                    <a:cubicBezTo>
                      <a:pt x="91" y="21"/>
                      <a:pt x="91" y="21"/>
                      <a:pt x="91" y="21"/>
                    </a:cubicBezTo>
                    <a:cubicBezTo>
                      <a:pt x="90" y="20"/>
                      <a:pt x="89" y="19"/>
                      <a:pt x="88" y="19"/>
                    </a:cubicBezTo>
                    <a:cubicBezTo>
                      <a:pt x="87" y="18"/>
                      <a:pt x="86" y="17"/>
                      <a:pt x="84" y="16"/>
                    </a:cubicBezTo>
                    <a:cubicBezTo>
                      <a:pt x="87" y="10"/>
                      <a:pt x="87" y="10"/>
                      <a:pt x="87" y="10"/>
                    </a:cubicBezTo>
                    <a:cubicBezTo>
                      <a:pt x="87" y="8"/>
                      <a:pt x="87" y="6"/>
                      <a:pt x="85" y="6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2" y="1"/>
                      <a:pt x="70" y="2"/>
                      <a:pt x="70" y="3"/>
                    </a:cubicBezTo>
                    <a:cubicBezTo>
                      <a:pt x="67" y="10"/>
                      <a:pt x="67" y="10"/>
                      <a:pt x="67" y="10"/>
                    </a:cubicBezTo>
                    <a:cubicBezTo>
                      <a:pt x="65" y="10"/>
                      <a:pt x="62" y="10"/>
                      <a:pt x="59" y="10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58" y="1"/>
                      <a:pt x="56" y="0"/>
                      <a:pt x="55" y="0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1" y="3"/>
                      <a:pt x="40" y="4"/>
                      <a:pt x="40" y="6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9" y="14"/>
                      <a:pt x="37" y="15"/>
                      <a:pt x="34" y="16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10"/>
                      <a:pt x="27" y="10"/>
                      <a:pt x="26" y="11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5" y="20"/>
                      <a:pt x="15" y="22"/>
                      <a:pt x="16" y="23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19" y="31"/>
                      <a:pt x="18" y="33"/>
                      <a:pt x="16" y="35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8" y="32"/>
                      <a:pt x="6" y="33"/>
                      <a:pt x="6" y="3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1" y="47"/>
                      <a:pt x="2" y="49"/>
                      <a:pt x="3" y="50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0" y="55"/>
                      <a:pt x="10" y="57"/>
                      <a:pt x="10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0" y="63"/>
                      <a:pt x="0" y="65"/>
                    </a:cubicBezTo>
                    <a:cubicBezTo>
                      <a:pt x="2" y="77"/>
                      <a:pt x="2" y="77"/>
                      <a:pt x="2" y="77"/>
                    </a:cubicBezTo>
                    <a:cubicBezTo>
                      <a:pt x="3" y="78"/>
                      <a:pt x="4" y="80"/>
                      <a:pt x="6" y="79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4" y="80"/>
                      <a:pt x="15" y="83"/>
                      <a:pt x="17" y="85"/>
                    </a:cubicBezTo>
                    <a:cubicBezTo>
                      <a:pt x="11" y="89"/>
                      <a:pt x="11" y="89"/>
                      <a:pt x="11" y="89"/>
                    </a:cubicBezTo>
                    <a:cubicBezTo>
                      <a:pt x="10" y="91"/>
                      <a:pt x="10" y="92"/>
                      <a:pt x="11" y="94"/>
                    </a:cubicBezTo>
                    <a:cubicBezTo>
                      <a:pt x="19" y="103"/>
                      <a:pt x="19" y="103"/>
                      <a:pt x="19" y="103"/>
                    </a:cubicBezTo>
                    <a:cubicBezTo>
                      <a:pt x="20" y="104"/>
                      <a:pt x="22" y="105"/>
                      <a:pt x="23" y="103"/>
                    </a:cubicBezTo>
                    <a:cubicBezTo>
                      <a:pt x="29" y="99"/>
                      <a:pt x="29" y="99"/>
                      <a:pt x="29" y="99"/>
                    </a:cubicBezTo>
                    <a:cubicBezTo>
                      <a:pt x="31" y="100"/>
                      <a:pt x="33" y="102"/>
                      <a:pt x="35" y="103"/>
                    </a:cubicBezTo>
                    <a:cubicBezTo>
                      <a:pt x="33" y="110"/>
                      <a:pt x="33" y="110"/>
                      <a:pt x="33" y="110"/>
                    </a:cubicBezTo>
                    <a:cubicBezTo>
                      <a:pt x="32" y="111"/>
                      <a:pt x="33" y="113"/>
                      <a:pt x="34" y="114"/>
                    </a:cubicBezTo>
                    <a:cubicBezTo>
                      <a:pt x="46" y="118"/>
                      <a:pt x="46" y="118"/>
                      <a:pt x="46" y="118"/>
                    </a:cubicBezTo>
                    <a:cubicBezTo>
                      <a:pt x="48" y="118"/>
                      <a:pt x="49" y="118"/>
                      <a:pt x="50" y="116"/>
                    </a:cubicBezTo>
                    <a:cubicBezTo>
                      <a:pt x="52" y="109"/>
                      <a:pt x="52" y="109"/>
                      <a:pt x="52" y="109"/>
                    </a:cubicBezTo>
                    <a:cubicBezTo>
                      <a:pt x="55" y="109"/>
                      <a:pt x="57" y="110"/>
                      <a:pt x="60" y="110"/>
                    </a:cubicBezTo>
                    <a:cubicBezTo>
                      <a:pt x="61" y="117"/>
                      <a:pt x="61" y="117"/>
                      <a:pt x="61" y="117"/>
                    </a:cubicBezTo>
                    <a:cubicBezTo>
                      <a:pt x="62" y="118"/>
                      <a:pt x="63" y="119"/>
                      <a:pt x="65" y="119"/>
                    </a:cubicBezTo>
                    <a:cubicBezTo>
                      <a:pt x="77" y="117"/>
                      <a:pt x="77" y="117"/>
                      <a:pt x="77" y="117"/>
                    </a:cubicBezTo>
                    <a:cubicBezTo>
                      <a:pt x="79" y="117"/>
                      <a:pt x="80" y="115"/>
                      <a:pt x="79" y="113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80" y="105"/>
                      <a:pt x="83" y="104"/>
                      <a:pt x="85" y="103"/>
                    </a:cubicBezTo>
                    <a:cubicBezTo>
                      <a:pt x="90" y="108"/>
                      <a:pt x="90" y="108"/>
                      <a:pt x="90" y="108"/>
                    </a:cubicBezTo>
                    <a:cubicBezTo>
                      <a:pt x="91" y="109"/>
                      <a:pt x="93" y="110"/>
                      <a:pt x="94" y="108"/>
                    </a:cubicBezTo>
                    <a:cubicBezTo>
                      <a:pt x="103" y="101"/>
                      <a:pt x="103" y="101"/>
                      <a:pt x="103" y="101"/>
                    </a:cubicBezTo>
                    <a:cubicBezTo>
                      <a:pt x="104" y="100"/>
                      <a:pt x="105" y="98"/>
                      <a:pt x="104" y="96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0" y="89"/>
                      <a:pt x="102" y="87"/>
                      <a:pt x="103" y="84"/>
                    </a:cubicBezTo>
                    <a:cubicBezTo>
                      <a:pt x="110" y="87"/>
                      <a:pt x="110" y="87"/>
                      <a:pt x="110" y="87"/>
                    </a:cubicBezTo>
                    <a:cubicBezTo>
                      <a:pt x="111" y="87"/>
                      <a:pt x="113" y="86"/>
                      <a:pt x="114" y="85"/>
                    </a:cubicBezTo>
                    <a:cubicBezTo>
                      <a:pt x="118" y="73"/>
                      <a:pt x="118" y="73"/>
                      <a:pt x="118" y="73"/>
                    </a:cubicBezTo>
                    <a:cubicBezTo>
                      <a:pt x="118" y="72"/>
                      <a:pt x="118" y="70"/>
                      <a:pt x="116" y="69"/>
                    </a:cubicBezTo>
                    <a:cubicBezTo>
                      <a:pt x="109" y="67"/>
                      <a:pt x="109" y="67"/>
                      <a:pt x="109" y="67"/>
                    </a:cubicBezTo>
                    <a:cubicBezTo>
                      <a:pt x="110" y="64"/>
                      <a:pt x="110" y="62"/>
                      <a:pt x="110" y="59"/>
                    </a:cubicBezTo>
                    <a:cubicBezTo>
                      <a:pt x="117" y="58"/>
                      <a:pt x="117" y="58"/>
                      <a:pt x="117" y="58"/>
                    </a:cubicBezTo>
                    <a:cubicBezTo>
                      <a:pt x="118" y="58"/>
                      <a:pt x="119" y="56"/>
                      <a:pt x="119" y="54"/>
                    </a:cubicBezTo>
                    <a:cubicBezTo>
                      <a:pt x="117" y="44"/>
                      <a:pt x="117" y="44"/>
                      <a:pt x="117" y="44"/>
                    </a:cubicBezTo>
                    <a:lnTo>
                      <a:pt x="117" y="42"/>
                    </a:lnTo>
                    <a:close/>
                    <a:moveTo>
                      <a:pt x="23" y="67"/>
                    </a:moveTo>
                    <a:cubicBezTo>
                      <a:pt x="23" y="66"/>
                      <a:pt x="23" y="66"/>
                      <a:pt x="23" y="66"/>
                    </a:cubicBezTo>
                    <a:cubicBezTo>
                      <a:pt x="22" y="60"/>
                      <a:pt x="22" y="53"/>
                      <a:pt x="24" y="47"/>
                    </a:cubicBezTo>
                    <a:cubicBezTo>
                      <a:pt x="28" y="37"/>
                      <a:pt x="36" y="28"/>
                      <a:pt x="47" y="24"/>
                    </a:cubicBezTo>
                    <a:cubicBezTo>
                      <a:pt x="48" y="24"/>
                      <a:pt x="49" y="24"/>
                      <a:pt x="50" y="23"/>
                    </a:cubicBezTo>
                    <a:cubicBezTo>
                      <a:pt x="51" y="23"/>
                      <a:pt x="52" y="23"/>
                      <a:pt x="52" y="23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49" y="39"/>
                      <a:pt x="48" y="40"/>
                      <a:pt x="47" y="41"/>
                    </a:cubicBezTo>
                    <a:cubicBezTo>
                      <a:pt x="42" y="44"/>
                      <a:pt x="39" y="50"/>
                      <a:pt x="38" y="56"/>
                    </a:cubicBezTo>
                    <a:cubicBezTo>
                      <a:pt x="37" y="57"/>
                      <a:pt x="37" y="59"/>
                      <a:pt x="37" y="60"/>
                    </a:cubicBezTo>
                    <a:lnTo>
                      <a:pt x="23" y="67"/>
                    </a:lnTo>
                    <a:close/>
                    <a:moveTo>
                      <a:pt x="66" y="97"/>
                    </a:moveTo>
                    <a:cubicBezTo>
                      <a:pt x="54" y="99"/>
                      <a:pt x="41" y="95"/>
                      <a:pt x="33" y="86"/>
                    </a:cubicBezTo>
                    <a:cubicBezTo>
                      <a:pt x="48" y="79"/>
                      <a:pt x="48" y="79"/>
                      <a:pt x="48" y="79"/>
                    </a:cubicBezTo>
                    <a:cubicBezTo>
                      <a:pt x="52" y="82"/>
                      <a:pt x="58" y="83"/>
                      <a:pt x="64" y="82"/>
                    </a:cubicBezTo>
                    <a:cubicBezTo>
                      <a:pt x="65" y="82"/>
                      <a:pt x="67" y="81"/>
                      <a:pt x="68" y="81"/>
                    </a:cubicBezTo>
                    <a:cubicBezTo>
                      <a:pt x="82" y="90"/>
                      <a:pt x="82" y="90"/>
                      <a:pt x="82" y="90"/>
                    </a:cubicBezTo>
                    <a:cubicBezTo>
                      <a:pt x="77" y="93"/>
                      <a:pt x="72" y="96"/>
                      <a:pt x="66" y="97"/>
                    </a:cubicBezTo>
                    <a:close/>
                    <a:moveTo>
                      <a:pt x="95" y="73"/>
                    </a:moveTo>
                    <a:cubicBezTo>
                      <a:pt x="82" y="64"/>
                      <a:pt x="82" y="64"/>
                      <a:pt x="82" y="64"/>
                    </a:cubicBezTo>
                    <a:cubicBezTo>
                      <a:pt x="82" y="62"/>
                      <a:pt x="83" y="59"/>
                      <a:pt x="82" y="56"/>
                    </a:cubicBezTo>
                    <a:cubicBezTo>
                      <a:pt x="81" y="50"/>
                      <a:pt x="78" y="45"/>
                      <a:pt x="74" y="42"/>
                    </a:cubicBezTo>
                    <a:cubicBezTo>
                      <a:pt x="73" y="42"/>
                      <a:pt x="73" y="41"/>
                      <a:pt x="72" y="41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80" y="27"/>
                      <a:pt x="85" y="31"/>
                      <a:pt x="89" y="36"/>
                    </a:cubicBezTo>
                    <a:cubicBezTo>
                      <a:pt x="91" y="38"/>
                      <a:pt x="93" y="41"/>
                      <a:pt x="94" y="44"/>
                    </a:cubicBezTo>
                    <a:cubicBezTo>
                      <a:pt x="95" y="47"/>
                      <a:pt x="96" y="50"/>
                      <a:pt x="97" y="53"/>
                    </a:cubicBezTo>
                    <a:cubicBezTo>
                      <a:pt x="98" y="60"/>
                      <a:pt x="97" y="67"/>
                      <a:pt x="95" y="7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</p:grpSp>
        <p:grpSp>
          <p:nvGrpSpPr>
            <p:cNvPr id="25" name="Group 4"/>
            <p:cNvGrpSpPr>
              <a:grpSpLocks noChangeAspect="1"/>
            </p:cNvGrpSpPr>
            <p:nvPr userDrawn="1"/>
          </p:nvGrpSpPr>
          <p:grpSpPr bwMode="auto">
            <a:xfrm>
              <a:off x="713661" y="113741"/>
              <a:ext cx="69318" cy="90152"/>
              <a:chOff x="3655" y="1900"/>
              <a:chExt cx="366" cy="476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26" name="Freeform 5"/>
              <p:cNvSpPr>
                <a:spLocks noEditPoints="1"/>
              </p:cNvSpPr>
              <p:nvPr/>
            </p:nvSpPr>
            <p:spPr bwMode="auto">
              <a:xfrm>
                <a:off x="3953" y="1971"/>
                <a:ext cx="68" cy="132"/>
              </a:xfrm>
              <a:custGeom>
                <a:avLst/>
                <a:gdLst>
                  <a:gd name="T0" fmla="*/ 31 w 38"/>
                  <a:gd name="T1" fmla="*/ 74 h 74"/>
                  <a:gd name="T2" fmla="*/ 27 w 38"/>
                  <a:gd name="T3" fmla="*/ 73 h 74"/>
                  <a:gd name="T4" fmla="*/ 18 w 38"/>
                  <a:gd name="T5" fmla="*/ 52 h 74"/>
                  <a:gd name="T6" fmla="*/ 17 w 38"/>
                  <a:gd name="T7" fmla="*/ 49 h 74"/>
                  <a:gd name="T8" fmla="*/ 2 w 38"/>
                  <a:gd name="T9" fmla="*/ 10 h 74"/>
                  <a:gd name="T10" fmla="*/ 4 w 38"/>
                  <a:gd name="T11" fmla="*/ 2 h 74"/>
                  <a:gd name="T12" fmla="*/ 12 w 38"/>
                  <a:gd name="T13" fmla="*/ 4 h 74"/>
                  <a:gd name="T14" fmla="*/ 29 w 38"/>
                  <a:gd name="T15" fmla="*/ 46 h 74"/>
                  <a:gd name="T16" fmla="*/ 29 w 38"/>
                  <a:gd name="T17" fmla="*/ 48 h 74"/>
                  <a:gd name="T18" fmla="*/ 30 w 38"/>
                  <a:gd name="T19" fmla="*/ 49 h 74"/>
                  <a:gd name="T20" fmla="*/ 34 w 38"/>
                  <a:gd name="T21" fmla="*/ 63 h 74"/>
                  <a:gd name="T22" fmla="*/ 36 w 38"/>
                  <a:gd name="T23" fmla="*/ 72 h 74"/>
                  <a:gd name="T24" fmla="*/ 31 w 38"/>
                  <a:gd name="T25" fmla="*/ 74 h 74"/>
                  <a:gd name="T26" fmla="*/ 31 w 38"/>
                  <a:gd name="T27" fmla="*/ 74 h 74"/>
                  <a:gd name="T28" fmla="*/ 31 w 38"/>
                  <a:gd name="T2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74">
                    <a:moveTo>
                      <a:pt x="31" y="74"/>
                    </a:moveTo>
                    <a:cubicBezTo>
                      <a:pt x="29" y="74"/>
                      <a:pt x="28" y="74"/>
                      <a:pt x="27" y="73"/>
                    </a:cubicBezTo>
                    <a:cubicBezTo>
                      <a:pt x="23" y="70"/>
                      <a:pt x="19" y="60"/>
                      <a:pt x="18" y="52"/>
                    </a:cubicBezTo>
                    <a:cubicBezTo>
                      <a:pt x="17" y="52"/>
                      <a:pt x="17" y="51"/>
                      <a:pt x="17" y="49"/>
                    </a:cubicBezTo>
                    <a:cubicBezTo>
                      <a:pt x="15" y="43"/>
                      <a:pt x="11" y="26"/>
                      <a:pt x="2" y="10"/>
                    </a:cubicBezTo>
                    <a:cubicBezTo>
                      <a:pt x="0" y="7"/>
                      <a:pt x="1" y="3"/>
                      <a:pt x="4" y="2"/>
                    </a:cubicBezTo>
                    <a:cubicBezTo>
                      <a:pt x="7" y="0"/>
                      <a:pt x="11" y="1"/>
                      <a:pt x="12" y="4"/>
                    </a:cubicBezTo>
                    <a:cubicBezTo>
                      <a:pt x="23" y="21"/>
                      <a:pt x="27" y="39"/>
                      <a:pt x="29" y="46"/>
                    </a:cubicBezTo>
                    <a:cubicBezTo>
                      <a:pt x="29" y="47"/>
                      <a:pt x="29" y="48"/>
                      <a:pt x="29" y="48"/>
                    </a:cubicBezTo>
                    <a:cubicBezTo>
                      <a:pt x="29" y="48"/>
                      <a:pt x="30" y="49"/>
                      <a:pt x="30" y="49"/>
                    </a:cubicBezTo>
                    <a:cubicBezTo>
                      <a:pt x="31" y="55"/>
                      <a:pt x="33" y="62"/>
                      <a:pt x="34" y="63"/>
                    </a:cubicBezTo>
                    <a:cubicBezTo>
                      <a:pt x="37" y="65"/>
                      <a:pt x="38" y="69"/>
                      <a:pt x="36" y="72"/>
                    </a:cubicBezTo>
                    <a:cubicBezTo>
                      <a:pt x="34" y="73"/>
                      <a:pt x="32" y="74"/>
                      <a:pt x="31" y="74"/>
                    </a:cubicBezTo>
                    <a:close/>
                    <a:moveTo>
                      <a:pt x="31" y="74"/>
                    </a:moveTo>
                    <a:cubicBezTo>
                      <a:pt x="31" y="74"/>
                      <a:pt x="31" y="74"/>
                      <a:pt x="31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28" name="Freeform 6"/>
              <p:cNvSpPr>
                <a:spLocks noEditPoints="1"/>
              </p:cNvSpPr>
              <p:nvPr/>
            </p:nvSpPr>
            <p:spPr bwMode="auto">
              <a:xfrm>
                <a:off x="3810" y="1900"/>
                <a:ext cx="143" cy="62"/>
              </a:xfrm>
              <a:custGeom>
                <a:avLst/>
                <a:gdLst>
                  <a:gd name="T0" fmla="*/ 74 w 80"/>
                  <a:gd name="T1" fmla="*/ 35 h 35"/>
                  <a:gd name="T2" fmla="*/ 69 w 80"/>
                  <a:gd name="T3" fmla="*/ 34 h 35"/>
                  <a:gd name="T4" fmla="*/ 25 w 80"/>
                  <a:gd name="T5" fmla="*/ 12 h 35"/>
                  <a:gd name="T6" fmla="*/ 8 w 80"/>
                  <a:gd name="T7" fmla="*/ 14 h 35"/>
                  <a:gd name="T8" fmla="*/ 1 w 80"/>
                  <a:gd name="T9" fmla="*/ 9 h 35"/>
                  <a:gd name="T10" fmla="*/ 6 w 80"/>
                  <a:gd name="T11" fmla="*/ 2 h 35"/>
                  <a:gd name="T12" fmla="*/ 26 w 80"/>
                  <a:gd name="T13" fmla="*/ 0 h 35"/>
                  <a:gd name="T14" fmla="*/ 26 w 80"/>
                  <a:gd name="T15" fmla="*/ 0 h 35"/>
                  <a:gd name="T16" fmla="*/ 78 w 80"/>
                  <a:gd name="T17" fmla="*/ 25 h 35"/>
                  <a:gd name="T18" fmla="*/ 78 w 80"/>
                  <a:gd name="T19" fmla="*/ 34 h 35"/>
                  <a:gd name="T20" fmla="*/ 74 w 80"/>
                  <a:gd name="T21" fmla="*/ 35 h 35"/>
                  <a:gd name="T22" fmla="*/ 74 w 80"/>
                  <a:gd name="T23" fmla="*/ 35 h 35"/>
                  <a:gd name="T24" fmla="*/ 74 w 80"/>
                  <a:gd name="T2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35">
                    <a:moveTo>
                      <a:pt x="74" y="35"/>
                    </a:moveTo>
                    <a:cubicBezTo>
                      <a:pt x="72" y="35"/>
                      <a:pt x="70" y="35"/>
                      <a:pt x="69" y="34"/>
                    </a:cubicBezTo>
                    <a:cubicBezTo>
                      <a:pt x="57" y="21"/>
                      <a:pt x="42" y="14"/>
                      <a:pt x="25" y="12"/>
                    </a:cubicBezTo>
                    <a:cubicBezTo>
                      <a:pt x="19" y="12"/>
                      <a:pt x="14" y="13"/>
                      <a:pt x="8" y="14"/>
                    </a:cubicBezTo>
                    <a:cubicBezTo>
                      <a:pt x="5" y="14"/>
                      <a:pt x="2" y="12"/>
                      <a:pt x="1" y="9"/>
                    </a:cubicBezTo>
                    <a:cubicBezTo>
                      <a:pt x="0" y="5"/>
                      <a:pt x="3" y="2"/>
                      <a:pt x="6" y="2"/>
                    </a:cubicBezTo>
                    <a:cubicBezTo>
                      <a:pt x="12" y="0"/>
                      <a:pt x="19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46" y="2"/>
                      <a:pt x="64" y="10"/>
                      <a:pt x="78" y="25"/>
                    </a:cubicBezTo>
                    <a:cubicBezTo>
                      <a:pt x="80" y="27"/>
                      <a:pt x="80" y="31"/>
                      <a:pt x="78" y="34"/>
                    </a:cubicBezTo>
                    <a:cubicBezTo>
                      <a:pt x="77" y="35"/>
                      <a:pt x="75" y="35"/>
                      <a:pt x="74" y="35"/>
                    </a:cubicBezTo>
                    <a:close/>
                    <a:moveTo>
                      <a:pt x="74" y="35"/>
                    </a:moveTo>
                    <a:cubicBezTo>
                      <a:pt x="74" y="35"/>
                      <a:pt x="74" y="35"/>
                      <a:pt x="74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29" name="Freeform 7"/>
              <p:cNvSpPr>
                <a:spLocks noEditPoints="1"/>
              </p:cNvSpPr>
              <p:nvPr/>
            </p:nvSpPr>
            <p:spPr bwMode="auto">
              <a:xfrm>
                <a:off x="3657" y="1927"/>
                <a:ext cx="120" cy="119"/>
              </a:xfrm>
              <a:custGeom>
                <a:avLst/>
                <a:gdLst>
                  <a:gd name="T0" fmla="*/ 6 w 67"/>
                  <a:gd name="T1" fmla="*/ 67 h 67"/>
                  <a:gd name="T2" fmla="*/ 5 w 67"/>
                  <a:gd name="T3" fmla="*/ 67 h 67"/>
                  <a:gd name="T4" fmla="*/ 0 w 67"/>
                  <a:gd name="T5" fmla="*/ 62 h 67"/>
                  <a:gd name="T6" fmla="*/ 3 w 67"/>
                  <a:gd name="T7" fmla="*/ 56 h 67"/>
                  <a:gd name="T8" fmla="*/ 4 w 67"/>
                  <a:gd name="T9" fmla="*/ 55 h 67"/>
                  <a:gd name="T10" fmla="*/ 14 w 67"/>
                  <a:gd name="T11" fmla="*/ 46 h 67"/>
                  <a:gd name="T12" fmla="*/ 15 w 67"/>
                  <a:gd name="T13" fmla="*/ 44 h 67"/>
                  <a:gd name="T14" fmla="*/ 24 w 67"/>
                  <a:gd name="T15" fmla="*/ 33 h 67"/>
                  <a:gd name="T16" fmla="*/ 56 w 67"/>
                  <a:gd name="T17" fmla="*/ 2 h 67"/>
                  <a:gd name="T18" fmla="*/ 65 w 67"/>
                  <a:gd name="T19" fmla="*/ 3 h 67"/>
                  <a:gd name="T20" fmla="*/ 63 w 67"/>
                  <a:gd name="T21" fmla="*/ 12 h 67"/>
                  <a:gd name="T22" fmla="*/ 33 w 67"/>
                  <a:gd name="T23" fmla="*/ 41 h 67"/>
                  <a:gd name="T24" fmla="*/ 25 w 67"/>
                  <a:gd name="T25" fmla="*/ 51 h 67"/>
                  <a:gd name="T26" fmla="*/ 24 w 67"/>
                  <a:gd name="T27" fmla="*/ 53 h 67"/>
                  <a:gd name="T28" fmla="*/ 14 w 67"/>
                  <a:gd name="T29" fmla="*/ 63 h 67"/>
                  <a:gd name="T30" fmla="*/ 6 w 67"/>
                  <a:gd name="T31" fmla="*/ 67 h 67"/>
                  <a:gd name="T32" fmla="*/ 6 w 67"/>
                  <a:gd name="T33" fmla="*/ 67 h 67"/>
                  <a:gd name="T34" fmla="*/ 6 w 67"/>
                  <a:gd name="T3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7" h="67">
                    <a:moveTo>
                      <a:pt x="6" y="67"/>
                    </a:moveTo>
                    <a:cubicBezTo>
                      <a:pt x="6" y="67"/>
                      <a:pt x="6" y="67"/>
                      <a:pt x="5" y="67"/>
                    </a:cubicBezTo>
                    <a:cubicBezTo>
                      <a:pt x="3" y="66"/>
                      <a:pt x="1" y="64"/>
                      <a:pt x="0" y="62"/>
                    </a:cubicBezTo>
                    <a:cubicBezTo>
                      <a:pt x="0" y="59"/>
                      <a:pt x="1" y="57"/>
                      <a:pt x="3" y="56"/>
                    </a:cubicBezTo>
                    <a:cubicBezTo>
                      <a:pt x="3" y="55"/>
                      <a:pt x="4" y="55"/>
                      <a:pt x="4" y="55"/>
                    </a:cubicBezTo>
                    <a:cubicBezTo>
                      <a:pt x="6" y="54"/>
                      <a:pt x="10" y="51"/>
                      <a:pt x="14" y="46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8" y="41"/>
                      <a:pt x="20" y="37"/>
                      <a:pt x="24" y="33"/>
                    </a:cubicBezTo>
                    <a:cubicBezTo>
                      <a:pt x="34" y="20"/>
                      <a:pt x="45" y="10"/>
                      <a:pt x="56" y="2"/>
                    </a:cubicBezTo>
                    <a:cubicBezTo>
                      <a:pt x="59" y="0"/>
                      <a:pt x="63" y="1"/>
                      <a:pt x="65" y="3"/>
                    </a:cubicBezTo>
                    <a:cubicBezTo>
                      <a:pt x="67" y="6"/>
                      <a:pt x="66" y="10"/>
                      <a:pt x="63" y="12"/>
                    </a:cubicBezTo>
                    <a:cubicBezTo>
                      <a:pt x="53" y="19"/>
                      <a:pt x="43" y="29"/>
                      <a:pt x="33" y="41"/>
                    </a:cubicBezTo>
                    <a:cubicBezTo>
                      <a:pt x="30" y="45"/>
                      <a:pt x="27" y="48"/>
                      <a:pt x="25" y="51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0" y="58"/>
                      <a:pt x="17" y="61"/>
                      <a:pt x="14" y="63"/>
                    </a:cubicBezTo>
                    <a:cubicBezTo>
                      <a:pt x="10" y="66"/>
                      <a:pt x="8" y="67"/>
                      <a:pt x="6" y="67"/>
                    </a:cubicBezTo>
                    <a:close/>
                    <a:moveTo>
                      <a:pt x="6" y="67"/>
                    </a:moveTo>
                    <a:cubicBezTo>
                      <a:pt x="6" y="67"/>
                      <a:pt x="6" y="67"/>
                      <a:pt x="6" y="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30" name="Freeform 8"/>
              <p:cNvSpPr>
                <a:spLocks noEditPoints="1"/>
              </p:cNvSpPr>
              <p:nvPr/>
            </p:nvSpPr>
            <p:spPr bwMode="auto">
              <a:xfrm>
                <a:off x="3655" y="2114"/>
                <a:ext cx="81" cy="44"/>
              </a:xfrm>
              <a:custGeom>
                <a:avLst/>
                <a:gdLst>
                  <a:gd name="T0" fmla="*/ 7 w 45"/>
                  <a:gd name="T1" fmla="*/ 25 h 25"/>
                  <a:gd name="T2" fmla="*/ 1 w 45"/>
                  <a:gd name="T3" fmla="*/ 21 h 25"/>
                  <a:gd name="T4" fmla="*/ 6 w 45"/>
                  <a:gd name="T5" fmla="*/ 13 h 25"/>
                  <a:gd name="T6" fmla="*/ 35 w 45"/>
                  <a:gd name="T7" fmla="*/ 1 h 25"/>
                  <a:gd name="T8" fmla="*/ 44 w 45"/>
                  <a:gd name="T9" fmla="*/ 4 h 25"/>
                  <a:gd name="T10" fmla="*/ 41 w 45"/>
                  <a:gd name="T11" fmla="*/ 12 h 25"/>
                  <a:gd name="T12" fmla="*/ 9 w 45"/>
                  <a:gd name="T13" fmla="*/ 25 h 25"/>
                  <a:gd name="T14" fmla="*/ 7 w 45"/>
                  <a:gd name="T15" fmla="*/ 25 h 25"/>
                  <a:gd name="T16" fmla="*/ 7 w 45"/>
                  <a:gd name="T17" fmla="*/ 25 h 25"/>
                  <a:gd name="T18" fmla="*/ 7 w 45"/>
                  <a:gd name="T1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5" h="25">
                    <a:moveTo>
                      <a:pt x="7" y="25"/>
                    </a:moveTo>
                    <a:cubicBezTo>
                      <a:pt x="4" y="25"/>
                      <a:pt x="2" y="24"/>
                      <a:pt x="1" y="21"/>
                    </a:cubicBezTo>
                    <a:cubicBezTo>
                      <a:pt x="0" y="17"/>
                      <a:pt x="2" y="14"/>
                      <a:pt x="6" y="13"/>
                    </a:cubicBezTo>
                    <a:cubicBezTo>
                      <a:pt x="17" y="10"/>
                      <a:pt x="28" y="5"/>
                      <a:pt x="35" y="1"/>
                    </a:cubicBezTo>
                    <a:cubicBezTo>
                      <a:pt x="38" y="0"/>
                      <a:pt x="42" y="1"/>
                      <a:pt x="44" y="4"/>
                    </a:cubicBezTo>
                    <a:cubicBezTo>
                      <a:pt x="45" y="7"/>
                      <a:pt x="44" y="11"/>
                      <a:pt x="41" y="12"/>
                    </a:cubicBezTo>
                    <a:cubicBezTo>
                      <a:pt x="33" y="16"/>
                      <a:pt x="21" y="22"/>
                      <a:pt x="9" y="25"/>
                    </a:cubicBezTo>
                    <a:cubicBezTo>
                      <a:pt x="8" y="25"/>
                      <a:pt x="8" y="25"/>
                      <a:pt x="7" y="25"/>
                    </a:cubicBezTo>
                    <a:close/>
                    <a:moveTo>
                      <a:pt x="7" y="25"/>
                    </a:moveTo>
                    <a:cubicBezTo>
                      <a:pt x="7" y="25"/>
                      <a:pt x="7" y="25"/>
                      <a:pt x="7" y="2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39" name="Freeform 9"/>
              <p:cNvSpPr>
                <a:spLocks noEditPoints="1"/>
              </p:cNvSpPr>
              <p:nvPr/>
            </p:nvSpPr>
            <p:spPr bwMode="auto">
              <a:xfrm>
                <a:off x="3738" y="1989"/>
                <a:ext cx="211" cy="132"/>
              </a:xfrm>
              <a:custGeom>
                <a:avLst/>
                <a:gdLst>
                  <a:gd name="T0" fmla="*/ 7 w 118"/>
                  <a:gd name="T1" fmla="*/ 74 h 74"/>
                  <a:gd name="T2" fmla="*/ 2 w 118"/>
                  <a:gd name="T3" fmla="*/ 71 h 74"/>
                  <a:gd name="T4" fmla="*/ 3 w 118"/>
                  <a:gd name="T5" fmla="*/ 63 h 74"/>
                  <a:gd name="T6" fmla="*/ 45 w 118"/>
                  <a:gd name="T7" fmla="*/ 27 h 74"/>
                  <a:gd name="T8" fmla="*/ 94 w 118"/>
                  <a:gd name="T9" fmla="*/ 5 h 74"/>
                  <a:gd name="T10" fmla="*/ 117 w 118"/>
                  <a:gd name="T11" fmla="*/ 27 h 74"/>
                  <a:gd name="T12" fmla="*/ 113 w 118"/>
                  <a:gd name="T13" fmla="*/ 34 h 74"/>
                  <a:gd name="T14" fmla="*/ 105 w 118"/>
                  <a:gd name="T15" fmla="*/ 30 h 74"/>
                  <a:gd name="T16" fmla="*/ 90 w 118"/>
                  <a:gd name="T17" fmla="*/ 17 h 74"/>
                  <a:gd name="T18" fmla="*/ 54 w 118"/>
                  <a:gd name="T19" fmla="*/ 35 h 74"/>
                  <a:gd name="T20" fmla="*/ 10 w 118"/>
                  <a:gd name="T21" fmla="*/ 73 h 74"/>
                  <a:gd name="T22" fmla="*/ 7 w 118"/>
                  <a:gd name="T23" fmla="*/ 74 h 74"/>
                  <a:gd name="T24" fmla="*/ 7 w 118"/>
                  <a:gd name="T25" fmla="*/ 74 h 74"/>
                  <a:gd name="T26" fmla="*/ 7 w 118"/>
                  <a:gd name="T27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8" h="74">
                    <a:moveTo>
                      <a:pt x="7" y="74"/>
                    </a:moveTo>
                    <a:cubicBezTo>
                      <a:pt x="5" y="74"/>
                      <a:pt x="3" y="73"/>
                      <a:pt x="2" y="71"/>
                    </a:cubicBezTo>
                    <a:cubicBezTo>
                      <a:pt x="0" y="69"/>
                      <a:pt x="0" y="65"/>
                      <a:pt x="3" y="63"/>
                    </a:cubicBezTo>
                    <a:cubicBezTo>
                      <a:pt x="25" y="48"/>
                      <a:pt x="45" y="27"/>
                      <a:pt x="45" y="27"/>
                    </a:cubicBezTo>
                    <a:cubicBezTo>
                      <a:pt x="61" y="8"/>
                      <a:pt x="79" y="0"/>
                      <a:pt x="94" y="5"/>
                    </a:cubicBezTo>
                    <a:cubicBezTo>
                      <a:pt x="109" y="9"/>
                      <a:pt x="115" y="19"/>
                      <a:pt x="117" y="27"/>
                    </a:cubicBezTo>
                    <a:cubicBezTo>
                      <a:pt x="118" y="30"/>
                      <a:pt x="116" y="33"/>
                      <a:pt x="113" y="34"/>
                    </a:cubicBezTo>
                    <a:cubicBezTo>
                      <a:pt x="110" y="35"/>
                      <a:pt x="106" y="34"/>
                      <a:pt x="105" y="30"/>
                    </a:cubicBezTo>
                    <a:cubicBezTo>
                      <a:pt x="103" y="24"/>
                      <a:pt x="98" y="19"/>
                      <a:pt x="90" y="17"/>
                    </a:cubicBezTo>
                    <a:cubicBezTo>
                      <a:pt x="79" y="13"/>
                      <a:pt x="64" y="24"/>
                      <a:pt x="54" y="35"/>
                    </a:cubicBezTo>
                    <a:cubicBezTo>
                      <a:pt x="52" y="38"/>
                      <a:pt x="32" y="58"/>
                      <a:pt x="10" y="73"/>
                    </a:cubicBezTo>
                    <a:cubicBezTo>
                      <a:pt x="9" y="74"/>
                      <a:pt x="8" y="74"/>
                      <a:pt x="7" y="74"/>
                    </a:cubicBezTo>
                    <a:close/>
                    <a:moveTo>
                      <a:pt x="7" y="74"/>
                    </a:moveTo>
                    <a:cubicBezTo>
                      <a:pt x="7" y="74"/>
                      <a:pt x="7" y="74"/>
                      <a:pt x="7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0" name="Freeform 10"/>
              <p:cNvSpPr>
                <a:spLocks noEditPoints="1"/>
              </p:cNvSpPr>
              <p:nvPr/>
            </p:nvSpPr>
            <p:spPr bwMode="auto">
              <a:xfrm>
                <a:off x="3677" y="2071"/>
                <a:ext cx="269" cy="203"/>
              </a:xfrm>
              <a:custGeom>
                <a:avLst/>
                <a:gdLst>
                  <a:gd name="T0" fmla="*/ 7 w 150"/>
                  <a:gd name="T1" fmla="*/ 114 h 114"/>
                  <a:gd name="T2" fmla="*/ 1 w 150"/>
                  <a:gd name="T3" fmla="*/ 110 h 114"/>
                  <a:gd name="T4" fmla="*/ 4 w 150"/>
                  <a:gd name="T5" fmla="*/ 102 h 114"/>
                  <a:gd name="T6" fmla="*/ 82 w 150"/>
                  <a:gd name="T7" fmla="*/ 58 h 114"/>
                  <a:gd name="T8" fmla="*/ 138 w 150"/>
                  <a:gd name="T9" fmla="*/ 5 h 114"/>
                  <a:gd name="T10" fmla="*/ 146 w 150"/>
                  <a:gd name="T11" fmla="*/ 1 h 114"/>
                  <a:gd name="T12" fmla="*/ 149 w 150"/>
                  <a:gd name="T13" fmla="*/ 9 h 114"/>
                  <a:gd name="T14" fmla="*/ 89 w 150"/>
                  <a:gd name="T15" fmla="*/ 69 h 114"/>
                  <a:gd name="T16" fmla="*/ 9 w 150"/>
                  <a:gd name="T17" fmla="*/ 113 h 114"/>
                  <a:gd name="T18" fmla="*/ 7 w 150"/>
                  <a:gd name="T19" fmla="*/ 114 h 114"/>
                  <a:gd name="T20" fmla="*/ 7 w 150"/>
                  <a:gd name="T21" fmla="*/ 114 h 114"/>
                  <a:gd name="T22" fmla="*/ 7 w 150"/>
                  <a:gd name="T23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0" h="114">
                    <a:moveTo>
                      <a:pt x="7" y="114"/>
                    </a:moveTo>
                    <a:cubicBezTo>
                      <a:pt x="4" y="114"/>
                      <a:pt x="2" y="113"/>
                      <a:pt x="1" y="110"/>
                    </a:cubicBezTo>
                    <a:cubicBezTo>
                      <a:pt x="0" y="107"/>
                      <a:pt x="1" y="103"/>
                      <a:pt x="4" y="102"/>
                    </a:cubicBezTo>
                    <a:cubicBezTo>
                      <a:pt x="31" y="91"/>
                      <a:pt x="68" y="68"/>
                      <a:pt x="82" y="58"/>
                    </a:cubicBezTo>
                    <a:cubicBezTo>
                      <a:pt x="112" y="39"/>
                      <a:pt x="131" y="20"/>
                      <a:pt x="138" y="5"/>
                    </a:cubicBezTo>
                    <a:cubicBezTo>
                      <a:pt x="139" y="2"/>
                      <a:pt x="143" y="0"/>
                      <a:pt x="146" y="1"/>
                    </a:cubicBezTo>
                    <a:cubicBezTo>
                      <a:pt x="149" y="3"/>
                      <a:pt x="150" y="6"/>
                      <a:pt x="149" y="9"/>
                    </a:cubicBezTo>
                    <a:cubicBezTo>
                      <a:pt x="140" y="33"/>
                      <a:pt x="111" y="54"/>
                      <a:pt x="89" y="69"/>
                    </a:cubicBezTo>
                    <a:cubicBezTo>
                      <a:pt x="74" y="78"/>
                      <a:pt x="36" y="102"/>
                      <a:pt x="9" y="113"/>
                    </a:cubicBezTo>
                    <a:cubicBezTo>
                      <a:pt x="8" y="114"/>
                      <a:pt x="8" y="114"/>
                      <a:pt x="7" y="114"/>
                    </a:cubicBezTo>
                    <a:close/>
                    <a:moveTo>
                      <a:pt x="7" y="114"/>
                    </a:moveTo>
                    <a:cubicBezTo>
                      <a:pt x="7" y="114"/>
                      <a:pt x="7" y="114"/>
                      <a:pt x="7" y="1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1" name="Freeform 11"/>
              <p:cNvSpPr>
                <a:spLocks noEditPoints="1"/>
              </p:cNvSpPr>
              <p:nvPr/>
            </p:nvSpPr>
            <p:spPr bwMode="auto">
              <a:xfrm>
                <a:off x="3766" y="1946"/>
                <a:ext cx="112" cy="73"/>
              </a:xfrm>
              <a:custGeom>
                <a:avLst/>
                <a:gdLst>
                  <a:gd name="T0" fmla="*/ 15 w 62"/>
                  <a:gd name="T1" fmla="*/ 35 h 41"/>
                  <a:gd name="T2" fmla="*/ 33 w 62"/>
                  <a:gd name="T3" fmla="*/ 21 h 41"/>
                  <a:gd name="T4" fmla="*/ 56 w 62"/>
                  <a:gd name="T5" fmla="*/ 13 h 41"/>
                  <a:gd name="T6" fmla="*/ 62 w 62"/>
                  <a:gd name="T7" fmla="*/ 7 h 41"/>
                  <a:gd name="T8" fmla="*/ 56 w 62"/>
                  <a:gd name="T9" fmla="*/ 0 h 41"/>
                  <a:gd name="T10" fmla="*/ 6 w 62"/>
                  <a:gd name="T11" fmla="*/ 26 h 41"/>
                  <a:gd name="T12" fmla="*/ 15 w 62"/>
                  <a:gd name="T13" fmla="*/ 35 h 41"/>
                  <a:gd name="T14" fmla="*/ 15 w 62"/>
                  <a:gd name="T15" fmla="*/ 35 h 41"/>
                  <a:gd name="T16" fmla="*/ 15 w 62"/>
                  <a:gd name="T17" fmla="*/ 3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41">
                    <a:moveTo>
                      <a:pt x="15" y="35"/>
                    </a:moveTo>
                    <a:cubicBezTo>
                      <a:pt x="20" y="30"/>
                      <a:pt x="26" y="25"/>
                      <a:pt x="33" y="21"/>
                    </a:cubicBezTo>
                    <a:cubicBezTo>
                      <a:pt x="40" y="17"/>
                      <a:pt x="48" y="14"/>
                      <a:pt x="56" y="13"/>
                    </a:cubicBezTo>
                    <a:cubicBezTo>
                      <a:pt x="59" y="13"/>
                      <a:pt x="62" y="10"/>
                      <a:pt x="62" y="7"/>
                    </a:cubicBezTo>
                    <a:cubicBezTo>
                      <a:pt x="62" y="4"/>
                      <a:pt x="59" y="0"/>
                      <a:pt x="56" y="0"/>
                    </a:cubicBezTo>
                    <a:cubicBezTo>
                      <a:pt x="36" y="3"/>
                      <a:pt x="20" y="13"/>
                      <a:pt x="6" y="26"/>
                    </a:cubicBezTo>
                    <a:cubicBezTo>
                      <a:pt x="0" y="32"/>
                      <a:pt x="9" y="41"/>
                      <a:pt x="15" y="35"/>
                    </a:cubicBezTo>
                    <a:close/>
                    <a:moveTo>
                      <a:pt x="15" y="35"/>
                    </a:moveTo>
                    <a:cubicBezTo>
                      <a:pt x="15" y="35"/>
                      <a:pt x="15" y="35"/>
                      <a:pt x="15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2" name="Freeform 12"/>
              <p:cNvSpPr>
                <a:spLocks noEditPoints="1"/>
              </p:cNvSpPr>
              <p:nvPr/>
            </p:nvSpPr>
            <p:spPr bwMode="auto">
              <a:xfrm>
                <a:off x="3661" y="2023"/>
                <a:ext cx="105" cy="78"/>
              </a:xfrm>
              <a:custGeom>
                <a:avLst/>
                <a:gdLst>
                  <a:gd name="T0" fmla="*/ 8 w 59"/>
                  <a:gd name="T1" fmla="*/ 43 h 44"/>
                  <a:gd name="T2" fmla="*/ 32 w 59"/>
                  <a:gd name="T3" fmla="*/ 32 h 44"/>
                  <a:gd name="T4" fmla="*/ 54 w 59"/>
                  <a:gd name="T5" fmla="*/ 14 h 44"/>
                  <a:gd name="T6" fmla="*/ 45 w 59"/>
                  <a:gd name="T7" fmla="*/ 6 h 44"/>
                  <a:gd name="T8" fmla="*/ 26 w 59"/>
                  <a:gd name="T9" fmla="*/ 21 h 44"/>
                  <a:gd name="T10" fmla="*/ 5 w 59"/>
                  <a:gd name="T11" fmla="*/ 31 h 44"/>
                  <a:gd name="T12" fmla="*/ 1 w 59"/>
                  <a:gd name="T13" fmla="*/ 39 h 44"/>
                  <a:gd name="T14" fmla="*/ 8 w 59"/>
                  <a:gd name="T15" fmla="*/ 43 h 44"/>
                  <a:gd name="T16" fmla="*/ 8 w 59"/>
                  <a:gd name="T17" fmla="*/ 43 h 44"/>
                  <a:gd name="T18" fmla="*/ 8 w 59"/>
                  <a:gd name="T1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44">
                    <a:moveTo>
                      <a:pt x="8" y="43"/>
                    </a:moveTo>
                    <a:cubicBezTo>
                      <a:pt x="17" y="41"/>
                      <a:pt x="24" y="36"/>
                      <a:pt x="32" y="32"/>
                    </a:cubicBezTo>
                    <a:cubicBezTo>
                      <a:pt x="40" y="28"/>
                      <a:pt x="47" y="21"/>
                      <a:pt x="54" y="14"/>
                    </a:cubicBezTo>
                    <a:cubicBezTo>
                      <a:pt x="59" y="9"/>
                      <a:pt x="50" y="0"/>
                      <a:pt x="45" y="6"/>
                    </a:cubicBezTo>
                    <a:cubicBezTo>
                      <a:pt x="39" y="12"/>
                      <a:pt x="33" y="17"/>
                      <a:pt x="26" y="21"/>
                    </a:cubicBezTo>
                    <a:cubicBezTo>
                      <a:pt x="19" y="25"/>
                      <a:pt x="12" y="29"/>
                      <a:pt x="5" y="31"/>
                    </a:cubicBezTo>
                    <a:cubicBezTo>
                      <a:pt x="2" y="32"/>
                      <a:pt x="0" y="36"/>
                      <a:pt x="1" y="39"/>
                    </a:cubicBezTo>
                    <a:cubicBezTo>
                      <a:pt x="1" y="42"/>
                      <a:pt x="5" y="44"/>
                      <a:pt x="8" y="43"/>
                    </a:cubicBezTo>
                    <a:close/>
                    <a:moveTo>
                      <a:pt x="8" y="43"/>
                    </a:moveTo>
                    <a:cubicBezTo>
                      <a:pt x="8" y="43"/>
                      <a:pt x="8" y="43"/>
                      <a:pt x="8" y="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3" name="Freeform 13"/>
              <p:cNvSpPr>
                <a:spLocks noEditPoints="1"/>
              </p:cNvSpPr>
              <p:nvPr/>
            </p:nvSpPr>
            <p:spPr bwMode="auto">
              <a:xfrm>
                <a:off x="3824" y="2046"/>
                <a:ext cx="75" cy="78"/>
              </a:xfrm>
              <a:custGeom>
                <a:avLst/>
                <a:gdLst>
                  <a:gd name="T0" fmla="*/ 7 w 42"/>
                  <a:gd name="T1" fmla="*/ 44 h 44"/>
                  <a:gd name="T2" fmla="*/ 3 w 42"/>
                  <a:gd name="T3" fmla="*/ 42 h 44"/>
                  <a:gd name="T4" fmla="*/ 3 w 42"/>
                  <a:gd name="T5" fmla="*/ 33 h 44"/>
                  <a:gd name="T6" fmla="*/ 30 w 42"/>
                  <a:gd name="T7" fmla="*/ 4 h 44"/>
                  <a:gd name="T8" fmla="*/ 39 w 42"/>
                  <a:gd name="T9" fmla="*/ 2 h 44"/>
                  <a:gd name="T10" fmla="*/ 40 w 42"/>
                  <a:gd name="T11" fmla="*/ 11 h 44"/>
                  <a:gd name="T12" fmla="*/ 11 w 42"/>
                  <a:gd name="T13" fmla="*/ 43 h 44"/>
                  <a:gd name="T14" fmla="*/ 7 w 42"/>
                  <a:gd name="T15" fmla="*/ 44 h 44"/>
                  <a:gd name="T16" fmla="*/ 7 w 42"/>
                  <a:gd name="T17" fmla="*/ 44 h 44"/>
                  <a:gd name="T18" fmla="*/ 7 w 42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" h="44">
                    <a:moveTo>
                      <a:pt x="7" y="44"/>
                    </a:moveTo>
                    <a:cubicBezTo>
                      <a:pt x="6" y="44"/>
                      <a:pt x="4" y="44"/>
                      <a:pt x="3" y="42"/>
                    </a:cubicBezTo>
                    <a:cubicBezTo>
                      <a:pt x="0" y="40"/>
                      <a:pt x="1" y="36"/>
                      <a:pt x="3" y="33"/>
                    </a:cubicBezTo>
                    <a:cubicBezTo>
                      <a:pt x="14" y="24"/>
                      <a:pt x="23" y="14"/>
                      <a:pt x="30" y="4"/>
                    </a:cubicBezTo>
                    <a:cubicBezTo>
                      <a:pt x="32" y="1"/>
                      <a:pt x="36" y="0"/>
                      <a:pt x="39" y="2"/>
                    </a:cubicBezTo>
                    <a:cubicBezTo>
                      <a:pt x="42" y="4"/>
                      <a:pt x="42" y="8"/>
                      <a:pt x="40" y="11"/>
                    </a:cubicBezTo>
                    <a:cubicBezTo>
                      <a:pt x="33" y="22"/>
                      <a:pt x="23" y="33"/>
                      <a:pt x="11" y="43"/>
                    </a:cubicBezTo>
                    <a:cubicBezTo>
                      <a:pt x="10" y="44"/>
                      <a:pt x="9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4" name="Freeform 14"/>
              <p:cNvSpPr>
                <a:spLocks noEditPoints="1"/>
              </p:cNvSpPr>
              <p:nvPr/>
            </p:nvSpPr>
            <p:spPr bwMode="auto">
              <a:xfrm>
                <a:off x="3662" y="2139"/>
                <a:ext cx="139" cy="78"/>
              </a:xfrm>
              <a:custGeom>
                <a:avLst/>
                <a:gdLst>
                  <a:gd name="T0" fmla="*/ 7 w 77"/>
                  <a:gd name="T1" fmla="*/ 44 h 44"/>
                  <a:gd name="T2" fmla="*/ 1 w 77"/>
                  <a:gd name="T3" fmla="*/ 40 h 44"/>
                  <a:gd name="T4" fmla="*/ 5 w 77"/>
                  <a:gd name="T5" fmla="*/ 32 h 44"/>
                  <a:gd name="T6" fmla="*/ 5 w 77"/>
                  <a:gd name="T7" fmla="*/ 32 h 44"/>
                  <a:gd name="T8" fmla="*/ 47 w 77"/>
                  <a:gd name="T9" fmla="*/ 13 h 44"/>
                  <a:gd name="T10" fmla="*/ 67 w 77"/>
                  <a:gd name="T11" fmla="*/ 1 h 44"/>
                  <a:gd name="T12" fmla="*/ 75 w 77"/>
                  <a:gd name="T13" fmla="*/ 3 h 44"/>
                  <a:gd name="T14" fmla="*/ 74 w 77"/>
                  <a:gd name="T15" fmla="*/ 12 h 44"/>
                  <a:gd name="T16" fmla="*/ 53 w 77"/>
                  <a:gd name="T17" fmla="*/ 24 h 44"/>
                  <a:gd name="T18" fmla="*/ 9 w 77"/>
                  <a:gd name="T19" fmla="*/ 44 h 44"/>
                  <a:gd name="T20" fmla="*/ 9 w 77"/>
                  <a:gd name="T21" fmla="*/ 44 h 44"/>
                  <a:gd name="T22" fmla="*/ 7 w 77"/>
                  <a:gd name="T23" fmla="*/ 44 h 44"/>
                  <a:gd name="T24" fmla="*/ 7 w 77"/>
                  <a:gd name="T25" fmla="*/ 44 h 44"/>
                  <a:gd name="T26" fmla="*/ 7 w 77"/>
                  <a:gd name="T2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7" h="44">
                    <a:moveTo>
                      <a:pt x="7" y="44"/>
                    </a:moveTo>
                    <a:cubicBezTo>
                      <a:pt x="4" y="44"/>
                      <a:pt x="2" y="43"/>
                      <a:pt x="1" y="40"/>
                    </a:cubicBezTo>
                    <a:cubicBezTo>
                      <a:pt x="0" y="37"/>
                      <a:pt x="2" y="33"/>
                      <a:pt x="5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11" y="30"/>
                      <a:pt x="28" y="24"/>
                      <a:pt x="47" y="13"/>
                    </a:cubicBezTo>
                    <a:cubicBezTo>
                      <a:pt x="54" y="9"/>
                      <a:pt x="61" y="5"/>
                      <a:pt x="67" y="1"/>
                    </a:cubicBezTo>
                    <a:cubicBezTo>
                      <a:pt x="70" y="0"/>
                      <a:pt x="73" y="0"/>
                      <a:pt x="75" y="3"/>
                    </a:cubicBezTo>
                    <a:cubicBezTo>
                      <a:pt x="77" y="6"/>
                      <a:pt x="76" y="10"/>
                      <a:pt x="74" y="12"/>
                    </a:cubicBezTo>
                    <a:cubicBezTo>
                      <a:pt x="67" y="16"/>
                      <a:pt x="60" y="20"/>
                      <a:pt x="53" y="24"/>
                    </a:cubicBezTo>
                    <a:cubicBezTo>
                      <a:pt x="33" y="35"/>
                      <a:pt x="16" y="41"/>
                      <a:pt x="9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8" y="44"/>
                      <a:pt x="8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5" name="Freeform 15"/>
              <p:cNvSpPr>
                <a:spLocks noEditPoints="1"/>
              </p:cNvSpPr>
              <p:nvPr/>
            </p:nvSpPr>
            <p:spPr bwMode="auto">
              <a:xfrm>
                <a:off x="3801" y="2215"/>
                <a:ext cx="190" cy="89"/>
              </a:xfrm>
              <a:custGeom>
                <a:avLst/>
                <a:gdLst>
                  <a:gd name="T0" fmla="*/ 99 w 106"/>
                  <a:gd name="T1" fmla="*/ 50 h 50"/>
                  <a:gd name="T2" fmla="*/ 97 w 106"/>
                  <a:gd name="T3" fmla="*/ 49 h 50"/>
                  <a:gd name="T4" fmla="*/ 64 w 106"/>
                  <a:gd name="T5" fmla="*/ 30 h 50"/>
                  <a:gd name="T6" fmla="*/ 36 w 106"/>
                  <a:gd name="T7" fmla="*/ 14 h 50"/>
                  <a:gd name="T8" fmla="*/ 10 w 106"/>
                  <a:gd name="T9" fmla="*/ 29 h 50"/>
                  <a:gd name="T10" fmla="*/ 1 w 106"/>
                  <a:gd name="T11" fmla="*/ 27 h 50"/>
                  <a:gd name="T12" fmla="*/ 3 w 106"/>
                  <a:gd name="T13" fmla="*/ 18 h 50"/>
                  <a:gd name="T14" fmla="*/ 34 w 106"/>
                  <a:gd name="T15" fmla="*/ 2 h 50"/>
                  <a:gd name="T16" fmla="*/ 71 w 106"/>
                  <a:gd name="T17" fmla="*/ 20 h 50"/>
                  <a:gd name="T18" fmla="*/ 101 w 106"/>
                  <a:gd name="T19" fmla="*/ 37 h 50"/>
                  <a:gd name="T20" fmla="*/ 105 w 106"/>
                  <a:gd name="T21" fmla="*/ 45 h 50"/>
                  <a:gd name="T22" fmla="*/ 99 w 106"/>
                  <a:gd name="T23" fmla="*/ 50 h 50"/>
                  <a:gd name="T24" fmla="*/ 99 w 106"/>
                  <a:gd name="T25" fmla="*/ 50 h 50"/>
                  <a:gd name="T26" fmla="*/ 99 w 106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6" h="50">
                    <a:moveTo>
                      <a:pt x="99" y="50"/>
                    </a:moveTo>
                    <a:cubicBezTo>
                      <a:pt x="98" y="50"/>
                      <a:pt x="97" y="49"/>
                      <a:pt x="97" y="49"/>
                    </a:cubicBezTo>
                    <a:cubicBezTo>
                      <a:pt x="86" y="46"/>
                      <a:pt x="75" y="38"/>
                      <a:pt x="64" y="30"/>
                    </a:cubicBezTo>
                    <a:cubicBezTo>
                      <a:pt x="54" y="23"/>
                      <a:pt x="41" y="13"/>
                      <a:pt x="36" y="14"/>
                    </a:cubicBezTo>
                    <a:cubicBezTo>
                      <a:pt x="31" y="15"/>
                      <a:pt x="15" y="25"/>
                      <a:pt x="10" y="29"/>
                    </a:cubicBezTo>
                    <a:cubicBezTo>
                      <a:pt x="7" y="30"/>
                      <a:pt x="3" y="30"/>
                      <a:pt x="1" y="27"/>
                    </a:cubicBezTo>
                    <a:cubicBezTo>
                      <a:pt x="0" y="24"/>
                      <a:pt x="0" y="20"/>
                      <a:pt x="3" y="18"/>
                    </a:cubicBezTo>
                    <a:cubicBezTo>
                      <a:pt x="20" y="8"/>
                      <a:pt x="28" y="3"/>
                      <a:pt x="34" y="2"/>
                    </a:cubicBezTo>
                    <a:cubicBezTo>
                      <a:pt x="44" y="0"/>
                      <a:pt x="57" y="9"/>
                      <a:pt x="71" y="20"/>
                    </a:cubicBezTo>
                    <a:cubicBezTo>
                      <a:pt x="82" y="27"/>
                      <a:pt x="92" y="35"/>
                      <a:pt x="101" y="37"/>
                    </a:cubicBezTo>
                    <a:cubicBezTo>
                      <a:pt x="104" y="39"/>
                      <a:pt x="106" y="42"/>
                      <a:pt x="105" y="45"/>
                    </a:cubicBezTo>
                    <a:cubicBezTo>
                      <a:pt x="104" y="48"/>
                      <a:pt x="101" y="50"/>
                      <a:pt x="99" y="50"/>
                    </a:cubicBezTo>
                    <a:close/>
                    <a:moveTo>
                      <a:pt x="99" y="50"/>
                    </a:moveTo>
                    <a:cubicBezTo>
                      <a:pt x="99" y="50"/>
                      <a:pt x="99" y="50"/>
                      <a:pt x="99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6" name="Freeform 16"/>
              <p:cNvSpPr>
                <a:spLocks noEditPoints="1"/>
              </p:cNvSpPr>
              <p:nvPr/>
            </p:nvSpPr>
            <p:spPr bwMode="auto">
              <a:xfrm>
                <a:off x="3702" y="2260"/>
                <a:ext cx="100" cy="66"/>
              </a:xfrm>
              <a:custGeom>
                <a:avLst/>
                <a:gdLst>
                  <a:gd name="T0" fmla="*/ 7 w 56"/>
                  <a:gd name="T1" fmla="*/ 37 h 37"/>
                  <a:gd name="T2" fmla="*/ 1 w 56"/>
                  <a:gd name="T3" fmla="*/ 33 h 37"/>
                  <a:gd name="T4" fmla="*/ 5 w 56"/>
                  <a:gd name="T5" fmla="*/ 25 h 37"/>
                  <a:gd name="T6" fmla="*/ 45 w 56"/>
                  <a:gd name="T7" fmla="*/ 2 h 37"/>
                  <a:gd name="T8" fmla="*/ 54 w 56"/>
                  <a:gd name="T9" fmla="*/ 4 h 37"/>
                  <a:gd name="T10" fmla="*/ 52 w 56"/>
                  <a:gd name="T11" fmla="*/ 12 h 37"/>
                  <a:gd name="T12" fmla="*/ 9 w 56"/>
                  <a:gd name="T13" fmla="*/ 37 h 37"/>
                  <a:gd name="T14" fmla="*/ 7 w 56"/>
                  <a:gd name="T15" fmla="*/ 37 h 37"/>
                  <a:gd name="T16" fmla="*/ 7 w 56"/>
                  <a:gd name="T17" fmla="*/ 37 h 37"/>
                  <a:gd name="T18" fmla="*/ 7 w 56"/>
                  <a:gd name="T1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37">
                    <a:moveTo>
                      <a:pt x="7" y="37"/>
                    </a:moveTo>
                    <a:cubicBezTo>
                      <a:pt x="4" y="37"/>
                      <a:pt x="2" y="35"/>
                      <a:pt x="1" y="33"/>
                    </a:cubicBezTo>
                    <a:cubicBezTo>
                      <a:pt x="0" y="29"/>
                      <a:pt x="2" y="26"/>
                      <a:pt x="5" y="25"/>
                    </a:cubicBezTo>
                    <a:cubicBezTo>
                      <a:pt x="13" y="23"/>
                      <a:pt x="31" y="11"/>
                      <a:pt x="45" y="2"/>
                    </a:cubicBezTo>
                    <a:cubicBezTo>
                      <a:pt x="48" y="0"/>
                      <a:pt x="52" y="1"/>
                      <a:pt x="54" y="4"/>
                    </a:cubicBezTo>
                    <a:cubicBezTo>
                      <a:pt x="56" y="6"/>
                      <a:pt x="55" y="10"/>
                      <a:pt x="52" y="12"/>
                    </a:cubicBezTo>
                    <a:cubicBezTo>
                      <a:pt x="32" y="25"/>
                      <a:pt x="17" y="35"/>
                      <a:pt x="9" y="37"/>
                    </a:cubicBezTo>
                    <a:cubicBezTo>
                      <a:pt x="8" y="37"/>
                      <a:pt x="7" y="37"/>
                      <a:pt x="7" y="37"/>
                    </a:cubicBezTo>
                    <a:close/>
                    <a:moveTo>
                      <a:pt x="7" y="37"/>
                    </a:moveTo>
                    <a:cubicBezTo>
                      <a:pt x="7" y="37"/>
                      <a:pt x="7" y="37"/>
                      <a:pt x="7" y="3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7" name="Freeform 17"/>
              <p:cNvSpPr>
                <a:spLocks noEditPoints="1"/>
              </p:cNvSpPr>
              <p:nvPr/>
            </p:nvSpPr>
            <p:spPr bwMode="auto">
              <a:xfrm>
                <a:off x="3906" y="2319"/>
                <a:ext cx="56" cy="39"/>
              </a:xfrm>
              <a:custGeom>
                <a:avLst/>
                <a:gdLst>
                  <a:gd name="T0" fmla="*/ 24 w 31"/>
                  <a:gd name="T1" fmla="*/ 22 h 22"/>
                  <a:gd name="T2" fmla="*/ 22 w 31"/>
                  <a:gd name="T3" fmla="*/ 21 h 22"/>
                  <a:gd name="T4" fmla="*/ 4 w 31"/>
                  <a:gd name="T5" fmla="*/ 12 h 22"/>
                  <a:gd name="T6" fmla="*/ 2 w 31"/>
                  <a:gd name="T7" fmla="*/ 4 h 22"/>
                  <a:gd name="T8" fmla="*/ 11 w 31"/>
                  <a:gd name="T9" fmla="*/ 1 h 22"/>
                  <a:gd name="T10" fmla="*/ 26 w 31"/>
                  <a:gd name="T11" fmla="*/ 10 h 22"/>
                  <a:gd name="T12" fmla="*/ 30 w 31"/>
                  <a:gd name="T13" fmla="*/ 18 h 22"/>
                  <a:gd name="T14" fmla="*/ 24 w 31"/>
                  <a:gd name="T15" fmla="*/ 22 h 22"/>
                  <a:gd name="T16" fmla="*/ 24 w 31"/>
                  <a:gd name="T17" fmla="*/ 22 h 22"/>
                  <a:gd name="T18" fmla="*/ 24 w 31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22">
                    <a:moveTo>
                      <a:pt x="24" y="22"/>
                    </a:moveTo>
                    <a:cubicBezTo>
                      <a:pt x="23" y="22"/>
                      <a:pt x="23" y="22"/>
                      <a:pt x="22" y="21"/>
                    </a:cubicBezTo>
                    <a:cubicBezTo>
                      <a:pt x="17" y="20"/>
                      <a:pt x="10" y="16"/>
                      <a:pt x="4" y="12"/>
                    </a:cubicBezTo>
                    <a:cubicBezTo>
                      <a:pt x="1" y="10"/>
                      <a:pt x="0" y="6"/>
                      <a:pt x="2" y="4"/>
                    </a:cubicBezTo>
                    <a:cubicBezTo>
                      <a:pt x="4" y="1"/>
                      <a:pt x="8" y="0"/>
                      <a:pt x="11" y="1"/>
                    </a:cubicBezTo>
                    <a:cubicBezTo>
                      <a:pt x="16" y="5"/>
                      <a:pt x="22" y="8"/>
                      <a:pt x="26" y="10"/>
                    </a:cubicBezTo>
                    <a:cubicBezTo>
                      <a:pt x="29" y="11"/>
                      <a:pt x="31" y="15"/>
                      <a:pt x="30" y="18"/>
                    </a:cubicBezTo>
                    <a:cubicBezTo>
                      <a:pt x="29" y="20"/>
                      <a:pt x="27" y="22"/>
                      <a:pt x="24" y="22"/>
                    </a:cubicBezTo>
                    <a:close/>
                    <a:moveTo>
                      <a:pt x="24" y="22"/>
                    </a:moveTo>
                    <a:cubicBezTo>
                      <a:pt x="24" y="22"/>
                      <a:pt x="24" y="22"/>
                      <a:pt x="24" y="2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8" name="Freeform 18"/>
              <p:cNvSpPr>
                <a:spLocks noEditPoints="1"/>
              </p:cNvSpPr>
              <p:nvPr/>
            </p:nvSpPr>
            <p:spPr bwMode="auto">
              <a:xfrm>
                <a:off x="3741" y="2287"/>
                <a:ext cx="165" cy="89"/>
              </a:xfrm>
              <a:custGeom>
                <a:avLst/>
                <a:gdLst>
                  <a:gd name="T0" fmla="*/ 7 w 92"/>
                  <a:gd name="T1" fmla="*/ 50 h 50"/>
                  <a:gd name="T2" fmla="*/ 2 w 92"/>
                  <a:gd name="T3" fmla="*/ 47 h 50"/>
                  <a:gd name="T4" fmla="*/ 4 w 92"/>
                  <a:gd name="T5" fmla="*/ 39 h 50"/>
                  <a:gd name="T6" fmla="*/ 12 w 92"/>
                  <a:gd name="T7" fmla="*/ 33 h 50"/>
                  <a:gd name="T8" fmla="*/ 63 w 92"/>
                  <a:gd name="T9" fmla="*/ 1 h 50"/>
                  <a:gd name="T10" fmla="*/ 88 w 92"/>
                  <a:gd name="T11" fmla="*/ 10 h 50"/>
                  <a:gd name="T12" fmla="*/ 90 w 92"/>
                  <a:gd name="T13" fmla="*/ 19 h 50"/>
                  <a:gd name="T14" fmla="*/ 81 w 92"/>
                  <a:gd name="T15" fmla="*/ 21 h 50"/>
                  <a:gd name="T16" fmla="*/ 65 w 92"/>
                  <a:gd name="T17" fmla="*/ 13 h 50"/>
                  <a:gd name="T18" fmla="*/ 19 w 92"/>
                  <a:gd name="T19" fmla="*/ 43 h 50"/>
                  <a:gd name="T20" fmla="*/ 11 w 92"/>
                  <a:gd name="T21" fmla="*/ 49 h 50"/>
                  <a:gd name="T22" fmla="*/ 7 w 92"/>
                  <a:gd name="T23" fmla="*/ 50 h 50"/>
                  <a:gd name="T24" fmla="*/ 7 w 92"/>
                  <a:gd name="T25" fmla="*/ 50 h 50"/>
                  <a:gd name="T26" fmla="*/ 7 w 92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50">
                    <a:moveTo>
                      <a:pt x="7" y="50"/>
                    </a:moveTo>
                    <a:cubicBezTo>
                      <a:pt x="5" y="50"/>
                      <a:pt x="3" y="49"/>
                      <a:pt x="2" y="47"/>
                    </a:cubicBezTo>
                    <a:cubicBezTo>
                      <a:pt x="0" y="45"/>
                      <a:pt x="1" y="41"/>
                      <a:pt x="4" y="39"/>
                    </a:cubicBezTo>
                    <a:cubicBezTo>
                      <a:pt x="6" y="37"/>
                      <a:pt x="9" y="35"/>
                      <a:pt x="12" y="33"/>
                    </a:cubicBezTo>
                    <a:cubicBezTo>
                      <a:pt x="39" y="13"/>
                      <a:pt x="55" y="2"/>
                      <a:pt x="63" y="1"/>
                    </a:cubicBezTo>
                    <a:cubicBezTo>
                      <a:pt x="68" y="0"/>
                      <a:pt x="75" y="3"/>
                      <a:pt x="88" y="10"/>
                    </a:cubicBezTo>
                    <a:cubicBezTo>
                      <a:pt x="91" y="12"/>
                      <a:pt x="92" y="16"/>
                      <a:pt x="90" y="19"/>
                    </a:cubicBezTo>
                    <a:cubicBezTo>
                      <a:pt x="88" y="22"/>
                      <a:pt x="84" y="23"/>
                      <a:pt x="81" y="21"/>
                    </a:cubicBezTo>
                    <a:cubicBezTo>
                      <a:pt x="69" y="14"/>
                      <a:pt x="66" y="13"/>
                      <a:pt x="65" y="13"/>
                    </a:cubicBezTo>
                    <a:cubicBezTo>
                      <a:pt x="58" y="14"/>
                      <a:pt x="30" y="35"/>
                      <a:pt x="19" y="43"/>
                    </a:cubicBezTo>
                    <a:cubicBezTo>
                      <a:pt x="16" y="45"/>
                      <a:pt x="13" y="48"/>
                      <a:pt x="11" y="49"/>
                    </a:cubicBezTo>
                    <a:cubicBezTo>
                      <a:pt x="10" y="50"/>
                      <a:pt x="9" y="50"/>
                      <a:pt x="7" y="50"/>
                    </a:cubicBezTo>
                    <a:close/>
                    <a:moveTo>
                      <a:pt x="7" y="50"/>
                    </a:moveTo>
                    <a:cubicBezTo>
                      <a:pt x="7" y="50"/>
                      <a:pt x="7" y="50"/>
                      <a:pt x="7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9" name="Freeform 20"/>
              <p:cNvSpPr>
                <a:spLocks noEditPoints="1"/>
              </p:cNvSpPr>
              <p:nvPr/>
            </p:nvSpPr>
            <p:spPr bwMode="auto">
              <a:xfrm>
                <a:off x="3949" y="2108"/>
                <a:ext cx="72" cy="77"/>
              </a:xfrm>
              <a:custGeom>
                <a:avLst/>
                <a:gdLst>
                  <a:gd name="T0" fmla="*/ 1 w 40"/>
                  <a:gd name="T1" fmla="*/ 11 h 43"/>
                  <a:gd name="T2" fmla="*/ 30 w 40"/>
                  <a:gd name="T3" fmla="*/ 41 h 43"/>
                  <a:gd name="T4" fmla="*/ 38 w 40"/>
                  <a:gd name="T5" fmla="*/ 39 h 43"/>
                  <a:gd name="T6" fmla="*/ 36 w 40"/>
                  <a:gd name="T7" fmla="*/ 31 h 43"/>
                  <a:gd name="T8" fmla="*/ 21 w 40"/>
                  <a:gd name="T9" fmla="*/ 23 h 43"/>
                  <a:gd name="T10" fmla="*/ 13 w 40"/>
                  <a:gd name="T11" fmla="*/ 7 h 43"/>
                  <a:gd name="T12" fmla="*/ 1 w 40"/>
                  <a:gd name="T13" fmla="*/ 11 h 43"/>
                  <a:gd name="T14" fmla="*/ 1 w 40"/>
                  <a:gd name="T15" fmla="*/ 11 h 43"/>
                  <a:gd name="T16" fmla="*/ 1 w 40"/>
                  <a:gd name="T17" fmla="*/ 1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43">
                    <a:moveTo>
                      <a:pt x="1" y="11"/>
                    </a:moveTo>
                    <a:cubicBezTo>
                      <a:pt x="4" y="27"/>
                      <a:pt x="15" y="36"/>
                      <a:pt x="30" y="41"/>
                    </a:cubicBezTo>
                    <a:cubicBezTo>
                      <a:pt x="33" y="43"/>
                      <a:pt x="36" y="42"/>
                      <a:pt x="38" y="39"/>
                    </a:cubicBezTo>
                    <a:cubicBezTo>
                      <a:pt x="40" y="37"/>
                      <a:pt x="39" y="32"/>
                      <a:pt x="36" y="31"/>
                    </a:cubicBezTo>
                    <a:cubicBezTo>
                      <a:pt x="31" y="29"/>
                      <a:pt x="25" y="26"/>
                      <a:pt x="21" y="23"/>
                    </a:cubicBezTo>
                    <a:cubicBezTo>
                      <a:pt x="16" y="19"/>
                      <a:pt x="14" y="13"/>
                      <a:pt x="13" y="7"/>
                    </a:cubicBezTo>
                    <a:cubicBezTo>
                      <a:pt x="12" y="0"/>
                      <a:pt x="0" y="3"/>
                      <a:pt x="1" y="11"/>
                    </a:cubicBezTo>
                    <a:close/>
                    <a:moveTo>
                      <a:pt x="1" y="11"/>
                    </a:moveTo>
                    <a:cubicBezTo>
                      <a:pt x="1" y="11"/>
                      <a:pt x="1" y="11"/>
                      <a:pt x="1" y="1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0" name="Freeform 21"/>
              <p:cNvSpPr>
                <a:spLocks noEditPoints="1"/>
              </p:cNvSpPr>
              <p:nvPr/>
            </p:nvSpPr>
            <p:spPr bwMode="auto">
              <a:xfrm>
                <a:off x="3906" y="2160"/>
                <a:ext cx="99" cy="86"/>
              </a:xfrm>
              <a:custGeom>
                <a:avLst/>
                <a:gdLst>
                  <a:gd name="T0" fmla="*/ 1 w 55"/>
                  <a:gd name="T1" fmla="*/ 8 h 48"/>
                  <a:gd name="T2" fmla="*/ 44 w 55"/>
                  <a:gd name="T3" fmla="*/ 46 h 48"/>
                  <a:gd name="T4" fmla="*/ 48 w 55"/>
                  <a:gd name="T5" fmla="*/ 34 h 48"/>
                  <a:gd name="T6" fmla="*/ 35 w 55"/>
                  <a:gd name="T7" fmla="*/ 28 h 48"/>
                  <a:gd name="T8" fmla="*/ 13 w 55"/>
                  <a:gd name="T9" fmla="*/ 5 h 48"/>
                  <a:gd name="T10" fmla="*/ 6 w 55"/>
                  <a:gd name="T11" fmla="*/ 1 h 48"/>
                  <a:gd name="T12" fmla="*/ 1 w 55"/>
                  <a:gd name="T13" fmla="*/ 8 h 48"/>
                  <a:gd name="T14" fmla="*/ 1 w 55"/>
                  <a:gd name="T15" fmla="*/ 8 h 48"/>
                  <a:gd name="T16" fmla="*/ 1 w 55"/>
                  <a:gd name="T17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48">
                    <a:moveTo>
                      <a:pt x="1" y="8"/>
                    </a:moveTo>
                    <a:cubicBezTo>
                      <a:pt x="9" y="27"/>
                      <a:pt x="26" y="40"/>
                      <a:pt x="44" y="46"/>
                    </a:cubicBezTo>
                    <a:cubicBezTo>
                      <a:pt x="52" y="48"/>
                      <a:pt x="55" y="36"/>
                      <a:pt x="48" y="34"/>
                    </a:cubicBezTo>
                    <a:cubicBezTo>
                      <a:pt x="43" y="33"/>
                      <a:pt x="40" y="31"/>
                      <a:pt x="35" y="28"/>
                    </a:cubicBezTo>
                    <a:cubicBezTo>
                      <a:pt x="26" y="23"/>
                      <a:pt x="17" y="15"/>
                      <a:pt x="13" y="5"/>
                    </a:cubicBezTo>
                    <a:cubicBezTo>
                      <a:pt x="12" y="2"/>
                      <a:pt x="9" y="0"/>
                      <a:pt x="6" y="1"/>
                    </a:cubicBezTo>
                    <a:cubicBezTo>
                      <a:pt x="3" y="2"/>
                      <a:pt x="0" y="5"/>
                      <a:pt x="1" y="8"/>
                    </a:cubicBezTo>
                    <a:close/>
                    <a:moveTo>
                      <a:pt x="1" y="8"/>
                    </a:moveTo>
                    <a:cubicBezTo>
                      <a:pt x="1" y="8"/>
                      <a:pt x="1" y="8"/>
                      <a:pt x="1" y="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</p:grpSp>
        <p:grpSp>
          <p:nvGrpSpPr>
            <p:cNvPr id="51" name="Group 15"/>
            <p:cNvGrpSpPr>
              <a:grpSpLocks noChangeAspect="1"/>
            </p:cNvGrpSpPr>
            <p:nvPr userDrawn="1"/>
          </p:nvGrpSpPr>
          <p:grpSpPr bwMode="auto">
            <a:xfrm>
              <a:off x="702225" y="267251"/>
              <a:ext cx="94846" cy="95277"/>
              <a:chOff x="4843" y="2141"/>
              <a:chExt cx="220" cy="22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52" name="Freeform 16"/>
              <p:cNvSpPr>
                <a:spLocks/>
              </p:cNvSpPr>
              <p:nvPr/>
            </p:nvSpPr>
            <p:spPr bwMode="auto">
              <a:xfrm>
                <a:off x="4843" y="2298"/>
                <a:ext cx="184" cy="64"/>
              </a:xfrm>
              <a:custGeom>
                <a:avLst/>
                <a:gdLst>
                  <a:gd name="T0" fmla="*/ 584 w 1371"/>
                  <a:gd name="T1" fmla="*/ 473 h 473"/>
                  <a:gd name="T2" fmla="*/ 489 w 1371"/>
                  <a:gd name="T3" fmla="*/ 464 h 473"/>
                  <a:gd name="T4" fmla="*/ 142 w 1371"/>
                  <a:gd name="T5" fmla="*/ 375 h 473"/>
                  <a:gd name="T6" fmla="*/ 18 w 1371"/>
                  <a:gd name="T7" fmla="*/ 273 h 473"/>
                  <a:gd name="T8" fmla="*/ 0 w 1371"/>
                  <a:gd name="T9" fmla="*/ 213 h 473"/>
                  <a:gd name="T10" fmla="*/ 0 w 1371"/>
                  <a:gd name="T11" fmla="*/ 17 h 473"/>
                  <a:gd name="T12" fmla="*/ 13 w 1371"/>
                  <a:gd name="T13" fmla="*/ 8 h 473"/>
                  <a:gd name="T14" fmla="*/ 285 w 1371"/>
                  <a:gd name="T15" fmla="*/ 107 h 473"/>
                  <a:gd name="T16" fmla="*/ 769 w 1371"/>
                  <a:gd name="T17" fmla="*/ 141 h 473"/>
                  <a:gd name="T18" fmla="*/ 1176 w 1371"/>
                  <a:gd name="T19" fmla="*/ 85 h 473"/>
                  <a:gd name="T20" fmla="*/ 1352 w 1371"/>
                  <a:gd name="T21" fmla="*/ 10 h 473"/>
                  <a:gd name="T22" fmla="*/ 1365 w 1371"/>
                  <a:gd name="T23" fmla="*/ 5 h 473"/>
                  <a:gd name="T24" fmla="*/ 1369 w 1371"/>
                  <a:gd name="T25" fmla="*/ 20 h 473"/>
                  <a:gd name="T26" fmla="*/ 1369 w 1371"/>
                  <a:gd name="T27" fmla="*/ 218 h 473"/>
                  <a:gd name="T28" fmla="*/ 1333 w 1371"/>
                  <a:gd name="T29" fmla="*/ 298 h 473"/>
                  <a:gd name="T30" fmla="*/ 1178 w 1371"/>
                  <a:gd name="T31" fmla="*/ 396 h 473"/>
                  <a:gd name="T32" fmla="*/ 876 w 1371"/>
                  <a:gd name="T33" fmla="*/ 464 h 473"/>
                  <a:gd name="T34" fmla="*/ 786 w 1371"/>
                  <a:gd name="T35" fmla="*/ 473 h 473"/>
                  <a:gd name="T36" fmla="*/ 584 w 1371"/>
                  <a:gd name="T37" fmla="*/ 473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71" h="473">
                    <a:moveTo>
                      <a:pt x="584" y="473"/>
                    </a:moveTo>
                    <a:cubicBezTo>
                      <a:pt x="552" y="470"/>
                      <a:pt x="520" y="467"/>
                      <a:pt x="489" y="464"/>
                    </a:cubicBezTo>
                    <a:cubicBezTo>
                      <a:pt x="369" y="450"/>
                      <a:pt x="252" y="427"/>
                      <a:pt x="142" y="375"/>
                    </a:cubicBezTo>
                    <a:cubicBezTo>
                      <a:pt x="93" y="351"/>
                      <a:pt x="47" y="322"/>
                      <a:pt x="18" y="273"/>
                    </a:cubicBezTo>
                    <a:cubicBezTo>
                      <a:pt x="7" y="255"/>
                      <a:pt x="0" y="235"/>
                      <a:pt x="0" y="213"/>
                    </a:cubicBezTo>
                    <a:cubicBezTo>
                      <a:pt x="1" y="148"/>
                      <a:pt x="1" y="82"/>
                      <a:pt x="0" y="17"/>
                    </a:cubicBezTo>
                    <a:cubicBezTo>
                      <a:pt x="0" y="8"/>
                      <a:pt x="1" y="0"/>
                      <a:pt x="13" y="8"/>
                    </a:cubicBezTo>
                    <a:cubicBezTo>
                      <a:pt x="97" y="61"/>
                      <a:pt x="190" y="87"/>
                      <a:pt x="285" y="107"/>
                    </a:cubicBezTo>
                    <a:cubicBezTo>
                      <a:pt x="445" y="140"/>
                      <a:pt x="607" y="146"/>
                      <a:pt x="769" y="141"/>
                    </a:cubicBezTo>
                    <a:cubicBezTo>
                      <a:pt x="906" y="137"/>
                      <a:pt x="1043" y="123"/>
                      <a:pt x="1176" y="85"/>
                    </a:cubicBezTo>
                    <a:cubicBezTo>
                      <a:pt x="1238" y="67"/>
                      <a:pt x="1298" y="45"/>
                      <a:pt x="1352" y="10"/>
                    </a:cubicBezTo>
                    <a:cubicBezTo>
                      <a:pt x="1356" y="8"/>
                      <a:pt x="1360" y="3"/>
                      <a:pt x="1365" y="5"/>
                    </a:cubicBezTo>
                    <a:cubicBezTo>
                      <a:pt x="1371" y="8"/>
                      <a:pt x="1369" y="15"/>
                      <a:pt x="1369" y="20"/>
                    </a:cubicBezTo>
                    <a:cubicBezTo>
                      <a:pt x="1369" y="86"/>
                      <a:pt x="1369" y="152"/>
                      <a:pt x="1369" y="218"/>
                    </a:cubicBezTo>
                    <a:cubicBezTo>
                      <a:pt x="1368" y="249"/>
                      <a:pt x="1353" y="275"/>
                      <a:pt x="1333" y="298"/>
                    </a:cubicBezTo>
                    <a:cubicBezTo>
                      <a:pt x="1291" y="346"/>
                      <a:pt x="1236" y="373"/>
                      <a:pt x="1178" y="396"/>
                    </a:cubicBezTo>
                    <a:cubicBezTo>
                      <a:pt x="1081" y="434"/>
                      <a:pt x="979" y="453"/>
                      <a:pt x="876" y="464"/>
                    </a:cubicBezTo>
                    <a:cubicBezTo>
                      <a:pt x="846" y="467"/>
                      <a:pt x="816" y="470"/>
                      <a:pt x="786" y="473"/>
                    </a:cubicBezTo>
                    <a:cubicBezTo>
                      <a:pt x="718" y="473"/>
                      <a:pt x="651" y="473"/>
                      <a:pt x="584" y="4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Freeform 17"/>
              <p:cNvSpPr>
                <a:spLocks/>
              </p:cNvSpPr>
              <p:nvPr/>
            </p:nvSpPr>
            <p:spPr bwMode="auto">
              <a:xfrm>
                <a:off x="4894" y="2141"/>
                <a:ext cx="169" cy="56"/>
              </a:xfrm>
              <a:custGeom>
                <a:avLst/>
                <a:gdLst>
                  <a:gd name="T0" fmla="*/ 1263 w 1263"/>
                  <a:gd name="T1" fmla="*/ 314 h 416"/>
                  <a:gd name="T2" fmla="*/ 1114 w 1263"/>
                  <a:gd name="T3" fmla="*/ 395 h 416"/>
                  <a:gd name="T4" fmla="*/ 1056 w 1263"/>
                  <a:gd name="T5" fmla="*/ 413 h 416"/>
                  <a:gd name="T6" fmla="*/ 1042 w 1263"/>
                  <a:gd name="T7" fmla="*/ 403 h 416"/>
                  <a:gd name="T8" fmla="*/ 943 w 1263"/>
                  <a:gd name="T9" fmla="*/ 233 h 416"/>
                  <a:gd name="T10" fmla="*/ 696 w 1263"/>
                  <a:gd name="T11" fmla="*/ 132 h 416"/>
                  <a:gd name="T12" fmla="*/ 462 w 1263"/>
                  <a:gd name="T13" fmla="*/ 99 h 416"/>
                  <a:gd name="T14" fmla="*/ 243 w 1263"/>
                  <a:gd name="T15" fmla="*/ 97 h 416"/>
                  <a:gd name="T16" fmla="*/ 15 w 1263"/>
                  <a:gd name="T17" fmla="*/ 124 h 416"/>
                  <a:gd name="T18" fmla="*/ 0 w 1263"/>
                  <a:gd name="T19" fmla="*/ 122 h 416"/>
                  <a:gd name="T20" fmla="*/ 47 w 1263"/>
                  <a:gd name="T21" fmla="*/ 96 h 416"/>
                  <a:gd name="T22" fmla="*/ 354 w 1263"/>
                  <a:gd name="T23" fmla="*/ 15 h 416"/>
                  <a:gd name="T24" fmla="*/ 648 w 1263"/>
                  <a:gd name="T25" fmla="*/ 3 h 416"/>
                  <a:gd name="T26" fmla="*/ 1057 w 1263"/>
                  <a:gd name="T27" fmla="*/ 72 h 416"/>
                  <a:gd name="T28" fmla="*/ 1213 w 1263"/>
                  <a:gd name="T29" fmla="*/ 162 h 416"/>
                  <a:gd name="T30" fmla="*/ 1263 w 1263"/>
                  <a:gd name="T31" fmla="*/ 237 h 416"/>
                  <a:gd name="T32" fmla="*/ 1263 w 1263"/>
                  <a:gd name="T33" fmla="*/ 314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63" h="416">
                    <a:moveTo>
                      <a:pt x="1263" y="314"/>
                    </a:moveTo>
                    <a:cubicBezTo>
                      <a:pt x="1221" y="355"/>
                      <a:pt x="1168" y="375"/>
                      <a:pt x="1114" y="395"/>
                    </a:cubicBezTo>
                    <a:cubicBezTo>
                      <a:pt x="1095" y="402"/>
                      <a:pt x="1075" y="407"/>
                      <a:pt x="1056" y="413"/>
                    </a:cubicBezTo>
                    <a:cubicBezTo>
                      <a:pt x="1046" y="416"/>
                      <a:pt x="1041" y="413"/>
                      <a:pt x="1042" y="403"/>
                    </a:cubicBezTo>
                    <a:cubicBezTo>
                      <a:pt x="1048" y="323"/>
                      <a:pt x="1001" y="274"/>
                      <a:pt x="943" y="233"/>
                    </a:cubicBezTo>
                    <a:cubicBezTo>
                      <a:pt x="868" y="181"/>
                      <a:pt x="783" y="153"/>
                      <a:pt x="696" y="132"/>
                    </a:cubicBezTo>
                    <a:cubicBezTo>
                      <a:pt x="619" y="114"/>
                      <a:pt x="541" y="105"/>
                      <a:pt x="462" y="99"/>
                    </a:cubicBezTo>
                    <a:cubicBezTo>
                      <a:pt x="389" y="94"/>
                      <a:pt x="316" y="95"/>
                      <a:pt x="243" y="97"/>
                    </a:cubicBezTo>
                    <a:cubicBezTo>
                      <a:pt x="166" y="100"/>
                      <a:pt x="90" y="109"/>
                      <a:pt x="15" y="124"/>
                    </a:cubicBezTo>
                    <a:cubicBezTo>
                      <a:pt x="11" y="124"/>
                      <a:pt x="7" y="126"/>
                      <a:pt x="0" y="122"/>
                    </a:cubicBezTo>
                    <a:cubicBezTo>
                      <a:pt x="17" y="113"/>
                      <a:pt x="31" y="104"/>
                      <a:pt x="47" y="96"/>
                    </a:cubicBezTo>
                    <a:cubicBezTo>
                      <a:pt x="144" y="51"/>
                      <a:pt x="248" y="29"/>
                      <a:pt x="354" y="15"/>
                    </a:cubicBezTo>
                    <a:cubicBezTo>
                      <a:pt x="452" y="2"/>
                      <a:pt x="550" y="0"/>
                      <a:pt x="648" y="3"/>
                    </a:cubicBezTo>
                    <a:cubicBezTo>
                      <a:pt x="787" y="7"/>
                      <a:pt x="925" y="23"/>
                      <a:pt x="1057" y="72"/>
                    </a:cubicBezTo>
                    <a:cubicBezTo>
                      <a:pt x="1114" y="93"/>
                      <a:pt x="1168" y="120"/>
                      <a:pt x="1213" y="162"/>
                    </a:cubicBezTo>
                    <a:cubicBezTo>
                      <a:pt x="1236" y="183"/>
                      <a:pt x="1251" y="209"/>
                      <a:pt x="1263" y="237"/>
                    </a:cubicBezTo>
                    <a:cubicBezTo>
                      <a:pt x="1263" y="262"/>
                      <a:pt x="1263" y="288"/>
                      <a:pt x="1263" y="3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18"/>
              <p:cNvSpPr>
                <a:spLocks/>
              </p:cNvSpPr>
              <p:nvPr/>
            </p:nvSpPr>
            <p:spPr bwMode="auto">
              <a:xfrm>
                <a:off x="5034" y="2192"/>
                <a:ext cx="29" cy="48"/>
              </a:xfrm>
              <a:custGeom>
                <a:avLst/>
                <a:gdLst>
                  <a:gd name="T0" fmla="*/ 221 w 221"/>
                  <a:gd name="T1" fmla="*/ 259 h 360"/>
                  <a:gd name="T2" fmla="*/ 52 w 221"/>
                  <a:gd name="T3" fmla="*/ 345 h 360"/>
                  <a:gd name="T4" fmla="*/ 13 w 221"/>
                  <a:gd name="T5" fmla="*/ 357 h 360"/>
                  <a:gd name="T6" fmla="*/ 0 w 221"/>
                  <a:gd name="T7" fmla="*/ 347 h 360"/>
                  <a:gd name="T8" fmla="*/ 0 w 221"/>
                  <a:gd name="T9" fmla="*/ 338 h 360"/>
                  <a:gd name="T10" fmla="*/ 0 w 221"/>
                  <a:gd name="T11" fmla="*/ 106 h 360"/>
                  <a:gd name="T12" fmla="*/ 19 w 221"/>
                  <a:gd name="T13" fmla="*/ 80 h 360"/>
                  <a:gd name="T14" fmla="*/ 215 w 221"/>
                  <a:gd name="T15" fmla="*/ 1 h 360"/>
                  <a:gd name="T16" fmla="*/ 221 w 221"/>
                  <a:gd name="T17" fmla="*/ 0 h 360"/>
                  <a:gd name="T18" fmla="*/ 221 w 221"/>
                  <a:gd name="T19" fmla="*/ 259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1" h="360">
                    <a:moveTo>
                      <a:pt x="221" y="259"/>
                    </a:moveTo>
                    <a:cubicBezTo>
                      <a:pt x="172" y="302"/>
                      <a:pt x="113" y="326"/>
                      <a:pt x="52" y="345"/>
                    </a:cubicBezTo>
                    <a:cubicBezTo>
                      <a:pt x="39" y="349"/>
                      <a:pt x="26" y="353"/>
                      <a:pt x="13" y="357"/>
                    </a:cubicBezTo>
                    <a:cubicBezTo>
                      <a:pt x="4" y="360"/>
                      <a:pt x="0" y="356"/>
                      <a:pt x="0" y="347"/>
                    </a:cubicBezTo>
                    <a:cubicBezTo>
                      <a:pt x="0" y="344"/>
                      <a:pt x="0" y="341"/>
                      <a:pt x="0" y="338"/>
                    </a:cubicBezTo>
                    <a:cubicBezTo>
                      <a:pt x="0" y="260"/>
                      <a:pt x="0" y="183"/>
                      <a:pt x="0" y="106"/>
                    </a:cubicBezTo>
                    <a:cubicBezTo>
                      <a:pt x="0" y="91"/>
                      <a:pt x="4" y="84"/>
                      <a:pt x="19" y="80"/>
                    </a:cubicBezTo>
                    <a:cubicBezTo>
                      <a:pt x="87" y="62"/>
                      <a:pt x="154" y="39"/>
                      <a:pt x="215" y="1"/>
                    </a:cubicBezTo>
                    <a:cubicBezTo>
                      <a:pt x="217" y="0"/>
                      <a:pt x="219" y="0"/>
                      <a:pt x="221" y="0"/>
                    </a:cubicBezTo>
                    <a:cubicBezTo>
                      <a:pt x="221" y="86"/>
                      <a:pt x="221" y="172"/>
                      <a:pt x="221" y="2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19"/>
              <p:cNvSpPr>
                <a:spLocks/>
              </p:cNvSpPr>
              <p:nvPr/>
            </p:nvSpPr>
            <p:spPr bwMode="auto">
              <a:xfrm>
                <a:off x="5034" y="2235"/>
                <a:ext cx="29" cy="49"/>
              </a:xfrm>
              <a:custGeom>
                <a:avLst/>
                <a:gdLst>
                  <a:gd name="T0" fmla="*/ 221 w 221"/>
                  <a:gd name="T1" fmla="*/ 262 h 362"/>
                  <a:gd name="T2" fmla="*/ 19 w 221"/>
                  <a:gd name="T3" fmla="*/ 357 h 362"/>
                  <a:gd name="T4" fmla="*/ 0 w 221"/>
                  <a:gd name="T5" fmla="*/ 344 h 362"/>
                  <a:gd name="T6" fmla="*/ 0 w 221"/>
                  <a:gd name="T7" fmla="*/ 111 h 362"/>
                  <a:gd name="T8" fmla="*/ 17 w 221"/>
                  <a:gd name="T9" fmla="*/ 87 h 362"/>
                  <a:gd name="T10" fmla="*/ 179 w 221"/>
                  <a:gd name="T11" fmla="*/ 23 h 362"/>
                  <a:gd name="T12" fmla="*/ 221 w 221"/>
                  <a:gd name="T13" fmla="*/ 0 h 362"/>
                  <a:gd name="T14" fmla="*/ 221 w 221"/>
                  <a:gd name="T15" fmla="*/ 2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1" h="362">
                    <a:moveTo>
                      <a:pt x="221" y="262"/>
                    </a:moveTo>
                    <a:cubicBezTo>
                      <a:pt x="162" y="311"/>
                      <a:pt x="91" y="336"/>
                      <a:pt x="19" y="357"/>
                    </a:cubicBezTo>
                    <a:cubicBezTo>
                      <a:pt x="2" y="362"/>
                      <a:pt x="0" y="361"/>
                      <a:pt x="0" y="344"/>
                    </a:cubicBezTo>
                    <a:cubicBezTo>
                      <a:pt x="0" y="266"/>
                      <a:pt x="0" y="188"/>
                      <a:pt x="0" y="111"/>
                    </a:cubicBezTo>
                    <a:cubicBezTo>
                      <a:pt x="0" y="97"/>
                      <a:pt x="5" y="91"/>
                      <a:pt x="17" y="87"/>
                    </a:cubicBezTo>
                    <a:cubicBezTo>
                      <a:pt x="72" y="68"/>
                      <a:pt x="128" y="51"/>
                      <a:pt x="179" y="23"/>
                    </a:cubicBezTo>
                    <a:cubicBezTo>
                      <a:pt x="193" y="16"/>
                      <a:pt x="207" y="8"/>
                      <a:pt x="221" y="0"/>
                    </a:cubicBezTo>
                    <a:cubicBezTo>
                      <a:pt x="221" y="87"/>
                      <a:pt x="221" y="175"/>
                      <a:pt x="221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Freeform 20"/>
              <p:cNvSpPr>
                <a:spLocks/>
              </p:cNvSpPr>
              <p:nvPr/>
            </p:nvSpPr>
            <p:spPr bwMode="auto">
              <a:xfrm>
                <a:off x="5034" y="2279"/>
                <a:ext cx="29" cy="54"/>
              </a:xfrm>
              <a:custGeom>
                <a:avLst/>
                <a:gdLst>
                  <a:gd name="T0" fmla="*/ 216 w 216"/>
                  <a:gd name="T1" fmla="*/ 237 h 402"/>
                  <a:gd name="T2" fmla="*/ 39 w 216"/>
                  <a:gd name="T3" fmla="*/ 388 h 402"/>
                  <a:gd name="T4" fmla="*/ 10 w 216"/>
                  <a:gd name="T5" fmla="*/ 400 h 402"/>
                  <a:gd name="T6" fmla="*/ 4 w 216"/>
                  <a:gd name="T7" fmla="*/ 393 h 402"/>
                  <a:gd name="T8" fmla="*/ 23 w 216"/>
                  <a:gd name="T9" fmla="*/ 269 h 402"/>
                  <a:gd name="T10" fmla="*/ 23 w 216"/>
                  <a:gd name="T11" fmla="*/ 106 h 402"/>
                  <a:gd name="T12" fmla="*/ 33 w 216"/>
                  <a:gd name="T13" fmla="*/ 84 h 402"/>
                  <a:gd name="T14" fmla="*/ 211 w 216"/>
                  <a:gd name="T15" fmla="*/ 1 h 402"/>
                  <a:gd name="T16" fmla="*/ 216 w 216"/>
                  <a:gd name="T17" fmla="*/ 0 h 402"/>
                  <a:gd name="T18" fmla="*/ 216 w 216"/>
                  <a:gd name="T19" fmla="*/ 237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6" h="402">
                    <a:moveTo>
                      <a:pt x="216" y="237"/>
                    </a:moveTo>
                    <a:cubicBezTo>
                      <a:pt x="185" y="320"/>
                      <a:pt x="113" y="355"/>
                      <a:pt x="39" y="388"/>
                    </a:cubicBezTo>
                    <a:cubicBezTo>
                      <a:pt x="30" y="393"/>
                      <a:pt x="20" y="396"/>
                      <a:pt x="10" y="400"/>
                    </a:cubicBezTo>
                    <a:cubicBezTo>
                      <a:pt x="3" y="402"/>
                      <a:pt x="0" y="399"/>
                      <a:pt x="4" y="393"/>
                    </a:cubicBezTo>
                    <a:cubicBezTo>
                      <a:pt x="28" y="354"/>
                      <a:pt x="23" y="311"/>
                      <a:pt x="23" y="269"/>
                    </a:cubicBezTo>
                    <a:cubicBezTo>
                      <a:pt x="23" y="214"/>
                      <a:pt x="23" y="160"/>
                      <a:pt x="23" y="106"/>
                    </a:cubicBezTo>
                    <a:cubicBezTo>
                      <a:pt x="23" y="97"/>
                      <a:pt x="23" y="89"/>
                      <a:pt x="33" y="84"/>
                    </a:cubicBezTo>
                    <a:cubicBezTo>
                      <a:pt x="93" y="57"/>
                      <a:pt x="152" y="29"/>
                      <a:pt x="211" y="1"/>
                    </a:cubicBezTo>
                    <a:cubicBezTo>
                      <a:pt x="213" y="0"/>
                      <a:pt x="214" y="0"/>
                      <a:pt x="216" y="0"/>
                    </a:cubicBezTo>
                    <a:cubicBezTo>
                      <a:pt x="216" y="79"/>
                      <a:pt x="216" y="158"/>
                      <a:pt x="216" y="2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Freeform 21"/>
              <p:cNvSpPr>
                <a:spLocks/>
              </p:cNvSpPr>
              <p:nvPr/>
            </p:nvSpPr>
            <p:spPr bwMode="auto">
              <a:xfrm>
                <a:off x="4843" y="2161"/>
                <a:ext cx="184" cy="63"/>
              </a:xfrm>
              <a:custGeom>
                <a:avLst/>
                <a:gdLst>
                  <a:gd name="T0" fmla="*/ 689 w 1377"/>
                  <a:gd name="T1" fmla="*/ 0 h 468"/>
                  <a:gd name="T2" fmla="*/ 1073 w 1377"/>
                  <a:gd name="T3" fmla="*/ 42 h 468"/>
                  <a:gd name="T4" fmla="*/ 1298 w 1377"/>
                  <a:gd name="T5" fmla="*/ 141 h 468"/>
                  <a:gd name="T6" fmla="*/ 1369 w 1377"/>
                  <a:gd name="T7" fmla="*/ 235 h 468"/>
                  <a:gd name="T8" fmla="*/ 1372 w 1377"/>
                  <a:gd name="T9" fmla="*/ 308 h 468"/>
                  <a:gd name="T10" fmla="*/ 1350 w 1377"/>
                  <a:gd name="T11" fmla="*/ 330 h 468"/>
                  <a:gd name="T12" fmla="*/ 1252 w 1377"/>
                  <a:gd name="T13" fmla="*/ 383 h 468"/>
                  <a:gd name="T14" fmla="*/ 965 w 1377"/>
                  <a:gd name="T15" fmla="*/ 450 h 468"/>
                  <a:gd name="T16" fmla="*/ 703 w 1377"/>
                  <a:gd name="T17" fmla="*/ 468 h 468"/>
                  <a:gd name="T18" fmla="*/ 472 w 1377"/>
                  <a:gd name="T19" fmla="*/ 457 h 468"/>
                  <a:gd name="T20" fmla="*/ 204 w 1377"/>
                  <a:gd name="T21" fmla="*/ 409 h 468"/>
                  <a:gd name="T22" fmla="*/ 30 w 1377"/>
                  <a:gd name="T23" fmla="*/ 333 h 468"/>
                  <a:gd name="T24" fmla="*/ 4 w 1377"/>
                  <a:gd name="T25" fmla="*/ 284 h 468"/>
                  <a:gd name="T26" fmla="*/ 75 w 1377"/>
                  <a:gd name="T27" fmla="*/ 143 h 468"/>
                  <a:gd name="T28" fmla="*/ 304 w 1377"/>
                  <a:gd name="T29" fmla="*/ 42 h 468"/>
                  <a:gd name="T30" fmla="*/ 584 w 1377"/>
                  <a:gd name="T31" fmla="*/ 3 h 468"/>
                  <a:gd name="T32" fmla="*/ 689 w 1377"/>
                  <a:gd name="T33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7" h="468">
                    <a:moveTo>
                      <a:pt x="689" y="0"/>
                    </a:moveTo>
                    <a:cubicBezTo>
                      <a:pt x="819" y="0"/>
                      <a:pt x="947" y="10"/>
                      <a:pt x="1073" y="42"/>
                    </a:cubicBezTo>
                    <a:cubicBezTo>
                      <a:pt x="1153" y="62"/>
                      <a:pt x="1231" y="90"/>
                      <a:pt x="1298" y="141"/>
                    </a:cubicBezTo>
                    <a:cubicBezTo>
                      <a:pt x="1331" y="165"/>
                      <a:pt x="1357" y="195"/>
                      <a:pt x="1369" y="235"/>
                    </a:cubicBezTo>
                    <a:cubicBezTo>
                      <a:pt x="1377" y="259"/>
                      <a:pt x="1373" y="283"/>
                      <a:pt x="1372" y="308"/>
                    </a:cubicBezTo>
                    <a:cubicBezTo>
                      <a:pt x="1371" y="318"/>
                      <a:pt x="1359" y="324"/>
                      <a:pt x="1350" y="330"/>
                    </a:cubicBezTo>
                    <a:cubicBezTo>
                      <a:pt x="1320" y="353"/>
                      <a:pt x="1287" y="369"/>
                      <a:pt x="1252" y="383"/>
                    </a:cubicBezTo>
                    <a:cubicBezTo>
                      <a:pt x="1159" y="418"/>
                      <a:pt x="1063" y="437"/>
                      <a:pt x="965" y="450"/>
                    </a:cubicBezTo>
                    <a:cubicBezTo>
                      <a:pt x="878" y="462"/>
                      <a:pt x="791" y="467"/>
                      <a:pt x="703" y="468"/>
                    </a:cubicBezTo>
                    <a:cubicBezTo>
                      <a:pt x="626" y="468"/>
                      <a:pt x="549" y="465"/>
                      <a:pt x="472" y="457"/>
                    </a:cubicBezTo>
                    <a:cubicBezTo>
                      <a:pt x="381" y="448"/>
                      <a:pt x="292" y="434"/>
                      <a:pt x="204" y="409"/>
                    </a:cubicBezTo>
                    <a:cubicBezTo>
                      <a:pt x="143" y="391"/>
                      <a:pt x="83" y="370"/>
                      <a:pt x="30" y="333"/>
                    </a:cubicBezTo>
                    <a:cubicBezTo>
                      <a:pt x="12" y="321"/>
                      <a:pt x="5" y="307"/>
                      <a:pt x="4" y="284"/>
                    </a:cubicBezTo>
                    <a:cubicBezTo>
                      <a:pt x="0" y="222"/>
                      <a:pt x="30" y="179"/>
                      <a:pt x="75" y="143"/>
                    </a:cubicBezTo>
                    <a:cubicBezTo>
                      <a:pt x="143" y="90"/>
                      <a:pt x="222" y="63"/>
                      <a:pt x="304" y="42"/>
                    </a:cubicBezTo>
                    <a:cubicBezTo>
                      <a:pt x="396" y="19"/>
                      <a:pt x="489" y="7"/>
                      <a:pt x="584" y="3"/>
                    </a:cubicBezTo>
                    <a:cubicBezTo>
                      <a:pt x="619" y="1"/>
                      <a:pt x="654" y="1"/>
                      <a:pt x="68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Freeform 22"/>
              <p:cNvSpPr>
                <a:spLocks/>
              </p:cNvSpPr>
              <p:nvPr/>
            </p:nvSpPr>
            <p:spPr bwMode="auto">
              <a:xfrm>
                <a:off x="4843" y="2211"/>
                <a:ext cx="184" cy="56"/>
              </a:xfrm>
              <a:custGeom>
                <a:avLst/>
                <a:gdLst>
                  <a:gd name="T0" fmla="*/ 1 w 1370"/>
                  <a:gd name="T1" fmla="*/ 131 h 418"/>
                  <a:gd name="T2" fmla="*/ 1 w 1370"/>
                  <a:gd name="T3" fmla="*/ 15 h 418"/>
                  <a:gd name="T4" fmla="*/ 14 w 1370"/>
                  <a:gd name="T5" fmla="*/ 7 h 418"/>
                  <a:gd name="T6" fmla="*/ 261 w 1370"/>
                  <a:gd name="T7" fmla="*/ 96 h 418"/>
                  <a:gd name="T8" fmla="*/ 523 w 1370"/>
                  <a:gd name="T9" fmla="*/ 133 h 418"/>
                  <a:gd name="T10" fmla="*/ 761 w 1370"/>
                  <a:gd name="T11" fmla="*/ 138 h 418"/>
                  <a:gd name="T12" fmla="*/ 1236 w 1370"/>
                  <a:gd name="T13" fmla="*/ 62 h 418"/>
                  <a:gd name="T14" fmla="*/ 1354 w 1370"/>
                  <a:gd name="T15" fmla="*/ 8 h 418"/>
                  <a:gd name="T16" fmla="*/ 1370 w 1370"/>
                  <a:gd name="T17" fmla="*/ 17 h 418"/>
                  <a:gd name="T18" fmla="*/ 1370 w 1370"/>
                  <a:gd name="T19" fmla="*/ 245 h 418"/>
                  <a:gd name="T20" fmla="*/ 1357 w 1370"/>
                  <a:gd name="T21" fmla="*/ 270 h 418"/>
                  <a:gd name="T22" fmla="*/ 1220 w 1370"/>
                  <a:gd name="T23" fmla="*/ 341 h 418"/>
                  <a:gd name="T24" fmla="*/ 890 w 1370"/>
                  <a:gd name="T25" fmla="*/ 406 h 418"/>
                  <a:gd name="T26" fmla="*/ 610 w 1370"/>
                  <a:gd name="T27" fmla="*/ 415 h 418"/>
                  <a:gd name="T28" fmla="*/ 160 w 1370"/>
                  <a:gd name="T29" fmla="*/ 344 h 418"/>
                  <a:gd name="T30" fmla="*/ 21 w 1370"/>
                  <a:gd name="T31" fmla="*/ 277 h 418"/>
                  <a:gd name="T32" fmla="*/ 1 w 1370"/>
                  <a:gd name="T33" fmla="*/ 237 h 418"/>
                  <a:gd name="T34" fmla="*/ 1 w 1370"/>
                  <a:gd name="T35" fmla="*/ 131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70" h="418">
                    <a:moveTo>
                      <a:pt x="1" y="131"/>
                    </a:moveTo>
                    <a:cubicBezTo>
                      <a:pt x="2" y="92"/>
                      <a:pt x="2" y="54"/>
                      <a:pt x="1" y="15"/>
                    </a:cubicBezTo>
                    <a:cubicBezTo>
                      <a:pt x="1" y="5"/>
                      <a:pt x="4" y="0"/>
                      <a:pt x="14" y="7"/>
                    </a:cubicBezTo>
                    <a:cubicBezTo>
                      <a:pt x="90" y="54"/>
                      <a:pt x="175" y="78"/>
                      <a:pt x="261" y="96"/>
                    </a:cubicBezTo>
                    <a:cubicBezTo>
                      <a:pt x="347" y="115"/>
                      <a:pt x="435" y="126"/>
                      <a:pt x="523" y="133"/>
                    </a:cubicBezTo>
                    <a:cubicBezTo>
                      <a:pt x="603" y="139"/>
                      <a:pt x="682" y="141"/>
                      <a:pt x="761" y="138"/>
                    </a:cubicBezTo>
                    <a:cubicBezTo>
                      <a:pt x="923" y="131"/>
                      <a:pt x="1082" y="113"/>
                      <a:pt x="1236" y="62"/>
                    </a:cubicBezTo>
                    <a:cubicBezTo>
                      <a:pt x="1277" y="48"/>
                      <a:pt x="1317" y="31"/>
                      <a:pt x="1354" y="8"/>
                    </a:cubicBezTo>
                    <a:cubicBezTo>
                      <a:pt x="1367" y="0"/>
                      <a:pt x="1370" y="1"/>
                      <a:pt x="1370" y="17"/>
                    </a:cubicBezTo>
                    <a:cubicBezTo>
                      <a:pt x="1370" y="93"/>
                      <a:pt x="1370" y="169"/>
                      <a:pt x="1370" y="245"/>
                    </a:cubicBezTo>
                    <a:cubicBezTo>
                      <a:pt x="1370" y="256"/>
                      <a:pt x="1366" y="264"/>
                      <a:pt x="1357" y="270"/>
                    </a:cubicBezTo>
                    <a:cubicBezTo>
                      <a:pt x="1316" y="304"/>
                      <a:pt x="1269" y="324"/>
                      <a:pt x="1220" y="341"/>
                    </a:cubicBezTo>
                    <a:cubicBezTo>
                      <a:pt x="1113" y="377"/>
                      <a:pt x="1002" y="396"/>
                      <a:pt x="890" y="406"/>
                    </a:cubicBezTo>
                    <a:cubicBezTo>
                      <a:pt x="797" y="415"/>
                      <a:pt x="704" y="418"/>
                      <a:pt x="610" y="415"/>
                    </a:cubicBezTo>
                    <a:cubicBezTo>
                      <a:pt x="458" y="409"/>
                      <a:pt x="307" y="392"/>
                      <a:pt x="160" y="344"/>
                    </a:cubicBezTo>
                    <a:cubicBezTo>
                      <a:pt x="111" y="328"/>
                      <a:pt x="64" y="308"/>
                      <a:pt x="21" y="277"/>
                    </a:cubicBezTo>
                    <a:cubicBezTo>
                      <a:pt x="7" y="267"/>
                      <a:pt x="0" y="255"/>
                      <a:pt x="1" y="237"/>
                    </a:cubicBezTo>
                    <a:cubicBezTo>
                      <a:pt x="3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Freeform 23"/>
              <p:cNvSpPr>
                <a:spLocks/>
              </p:cNvSpPr>
              <p:nvPr/>
            </p:nvSpPr>
            <p:spPr bwMode="auto">
              <a:xfrm>
                <a:off x="4843" y="2255"/>
                <a:ext cx="184" cy="56"/>
              </a:xfrm>
              <a:custGeom>
                <a:avLst/>
                <a:gdLst>
                  <a:gd name="T0" fmla="*/ 1 w 1370"/>
                  <a:gd name="T1" fmla="*/ 131 h 419"/>
                  <a:gd name="T2" fmla="*/ 1 w 1370"/>
                  <a:gd name="T3" fmla="*/ 14 h 419"/>
                  <a:gd name="T4" fmla="*/ 14 w 1370"/>
                  <a:gd name="T5" fmla="*/ 7 h 419"/>
                  <a:gd name="T6" fmla="*/ 307 w 1370"/>
                  <a:gd name="T7" fmla="*/ 107 h 419"/>
                  <a:gd name="T8" fmla="*/ 615 w 1370"/>
                  <a:gd name="T9" fmla="*/ 138 h 419"/>
                  <a:gd name="T10" fmla="*/ 1137 w 1370"/>
                  <a:gd name="T11" fmla="*/ 91 h 419"/>
                  <a:gd name="T12" fmla="*/ 1357 w 1370"/>
                  <a:gd name="T13" fmla="*/ 6 h 419"/>
                  <a:gd name="T14" fmla="*/ 1370 w 1370"/>
                  <a:gd name="T15" fmla="*/ 14 h 419"/>
                  <a:gd name="T16" fmla="*/ 1370 w 1370"/>
                  <a:gd name="T17" fmla="*/ 248 h 419"/>
                  <a:gd name="T18" fmla="*/ 1355 w 1370"/>
                  <a:gd name="T19" fmla="*/ 272 h 419"/>
                  <a:gd name="T20" fmla="*/ 1238 w 1370"/>
                  <a:gd name="T21" fmla="*/ 334 h 419"/>
                  <a:gd name="T22" fmla="*/ 943 w 1370"/>
                  <a:gd name="T23" fmla="*/ 401 h 419"/>
                  <a:gd name="T24" fmla="*/ 637 w 1370"/>
                  <a:gd name="T25" fmla="*/ 416 h 419"/>
                  <a:gd name="T26" fmla="*/ 167 w 1370"/>
                  <a:gd name="T27" fmla="*/ 347 h 419"/>
                  <a:gd name="T28" fmla="*/ 21 w 1370"/>
                  <a:gd name="T29" fmla="*/ 277 h 419"/>
                  <a:gd name="T30" fmla="*/ 1 w 1370"/>
                  <a:gd name="T31" fmla="*/ 238 h 419"/>
                  <a:gd name="T32" fmla="*/ 1 w 1370"/>
                  <a:gd name="T33" fmla="*/ 131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0" h="419">
                    <a:moveTo>
                      <a:pt x="1" y="131"/>
                    </a:moveTo>
                    <a:cubicBezTo>
                      <a:pt x="1" y="92"/>
                      <a:pt x="2" y="53"/>
                      <a:pt x="1" y="14"/>
                    </a:cubicBezTo>
                    <a:cubicBezTo>
                      <a:pt x="1" y="3"/>
                      <a:pt x="4" y="1"/>
                      <a:pt x="14" y="7"/>
                    </a:cubicBezTo>
                    <a:cubicBezTo>
                      <a:pt x="104" y="62"/>
                      <a:pt x="205" y="88"/>
                      <a:pt x="307" y="107"/>
                    </a:cubicBezTo>
                    <a:cubicBezTo>
                      <a:pt x="409" y="127"/>
                      <a:pt x="512" y="135"/>
                      <a:pt x="615" y="138"/>
                    </a:cubicBezTo>
                    <a:cubicBezTo>
                      <a:pt x="791" y="143"/>
                      <a:pt x="966" y="133"/>
                      <a:pt x="1137" y="91"/>
                    </a:cubicBezTo>
                    <a:cubicBezTo>
                      <a:pt x="1214" y="73"/>
                      <a:pt x="1289" y="49"/>
                      <a:pt x="1357" y="6"/>
                    </a:cubicBezTo>
                    <a:cubicBezTo>
                      <a:pt x="1367" y="0"/>
                      <a:pt x="1370" y="4"/>
                      <a:pt x="1370" y="14"/>
                    </a:cubicBezTo>
                    <a:cubicBezTo>
                      <a:pt x="1370" y="92"/>
                      <a:pt x="1370" y="170"/>
                      <a:pt x="1370" y="248"/>
                    </a:cubicBezTo>
                    <a:cubicBezTo>
                      <a:pt x="1370" y="260"/>
                      <a:pt x="1363" y="266"/>
                      <a:pt x="1355" y="272"/>
                    </a:cubicBezTo>
                    <a:cubicBezTo>
                      <a:pt x="1320" y="301"/>
                      <a:pt x="1280" y="319"/>
                      <a:pt x="1238" y="334"/>
                    </a:cubicBezTo>
                    <a:cubicBezTo>
                      <a:pt x="1143" y="370"/>
                      <a:pt x="1044" y="389"/>
                      <a:pt x="943" y="401"/>
                    </a:cubicBezTo>
                    <a:cubicBezTo>
                      <a:pt x="841" y="413"/>
                      <a:pt x="739" y="419"/>
                      <a:pt x="637" y="416"/>
                    </a:cubicBezTo>
                    <a:cubicBezTo>
                      <a:pt x="477" y="411"/>
                      <a:pt x="320" y="395"/>
                      <a:pt x="167" y="347"/>
                    </a:cubicBezTo>
                    <a:cubicBezTo>
                      <a:pt x="115" y="330"/>
                      <a:pt x="65" y="310"/>
                      <a:pt x="21" y="277"/>
                    </a:cubicBezTo>
                    <a:cubicBezTo>
                      <a:pt x="7" y="267"/>
                      <a:pt x="0" y="256"/>
                      <a:pt x="1" y="238"/>
                    </a:cubicBezTo>
                    <a:cubicBezTo>
                      <a:pt x="2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60" name="Рисунок 59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964" y="255927"/>
              <a:ext cx="132047" cy="120940"/>
            </a:xfrm>
            <a:prstGeom prst="rect">
              <a:avLst/>
            </a:prstGeom>
          </p:spPr>
        </p:pic>
        <p:sp>
          <p:nvSpPr>
            <p:cNvPr id="61" name="Freeform 413"/>
            <p:cNvSpPr>
              <a:spLocks noEditPoints="1"/>
            </p:cNvSpPr>
            <p:nvPr userDrawn="1"/>
          </p:nvSpPr>
          <p:spPr bwMode="auto">
            <a:xfrm>
              <a:off x="467432" y="411832"/>
              <a:ext cx="136834" cy="109909"/>
            </a:xfrm>
            <a:custGeom>
              <a:avLst/>
              <a:gdLst/>
              <a:ahLst/>
              <a:cxnLst>
                <a:cxn ang="0">
                  <a:pos x="235" y="365"/>
                </a:cxn>
                <a:cxn ang="0">
                  <a:pos x="246" y="344"/>
                </a:cxn>
                <a:cxn ang="0">
                  <a:pos x="226" y="329"/>
                </a:cxn>
                <a:cxn ang="0">
                  <a:pos x="217" y="320"/>
                </a:cxn>
                <a:cxn ang="0">
                  <a:pos x="206" y="328"/>
                </a:cxn>
                <a:cxn ang="0">
                  <a:pos x="142" y="348"/>
                </a:cxn>
                <a:cxn ang="0">
                  <a:pos x="31" y="237"/>
                </a:cxn>
                <a:cxn ang="0">
                  <a:pos x="106" y="133"/>
                </a:cxn>
                <a:cxn ang="0">
                  <a:pos x="106" y="132"/>
                </a:cxn>
                <a:cxn ang="0">
                  <a:pos x="144" y="127"/>
                </a:cxn>
                <a:cxn ang="0">
                  <a:pos x="201" y="141"/>
                </a:cxn>
                <a:cxn ang="0">
                  <a:pos x="132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6" y="104"/>
                </a:cxn>
                <a:cxn ang="0">
                  <a:pos x="49" y="130"/>
                </a:cxn>
                <a:cxn ang="0">
                  <a:pos x="49" y="129"/>
                </a:cxn>
                <a:cxn ang="0">
                  <a:pos x="0" y="237"/>
                </a:cxn>
                <a:cxn ang="0">
                  <a:pos x="142" y="380"/>
                </a:cxn>
                <a:cxn ang="0">
                  <a:pos x="214" y="360"/>
                </a:cxn>
                <a:cxn ang="0">
                  <a:pos x="231" y="371"/>
                </a:cxn>
                <a:cxn ang="0">
                  <a:pos x="235" y="365"/>
                </a:cxn>
                <a:cxn ang="0">
                  <a:pos x="453" y="183"/>
                </a:cxn>
                <a:cxn ang="0">
                  <a:pos x="454" y="175"/>
                </a:cxn>
                <a:cxn ang="0">
                  <a:pos x="348" y="70"/>
                </a:cxn>
                <a:cxn ang="0">
                  <a:pos x="327" y="72"/>
                </a:cxn>
                <a:cxn ang="0">
                  <a:pos x="212" y="0"/>
                </a:cxn>
                <a:cxn ang="0">
                  <a:pos x="90" y="89"/>
                </a:cxn>
                <a:cxn ang="0">
                  <a:pos x="125" y="86"/>
                </a:cxn>
                <a:cxn ang="0">
                  <a:pos x="212" y="32"/>
                </a:cxn>
                <a:cxn ang="0">
                  <a:pos x="302" y="96"/>
                </a:cxn>
                <a:cxn ang="0">
                  <a:pos x="308" y="112"/>
                </a:cxn>
                <a:cxn ang="0">
                  <a:pos x="323" y="106"/>
                </a:cxn>
                <a:cxn ang="0">
                  <a:pos x="348" y="101"/>
                </a:cxn>
                <a:cxn ang="0">
                  <a:pos x="422" y="175"/>
                </a:cxn>
                <a:cxn ang="0">
                  <a:pos x="420" y="192"/>
                </a:cxn>
                <a:cxn ang="0">
                  <a:pos x="416" y="209"/>
                </a:cxn>
                <a:cxn ang="0">
                  <a:pos x="434" y="211"/>
                </a:cxn>
                <a:cxn ang="0">
                  <a:pos x="492" y="275"/>
                </a:cxn>
                <a:cxn ang="0">
                  <a:pos x="428" y="338"/>
                </a:cxn>
                <a:cxn ang="0">
                  <a:pos x="394" y="329"/>
                </a:cxn>
                <a:cxn ang="0">
                  <a:pos x="384" y="322"/>
                </a:cxn>
                <a:cxn ang="0">
                  <a:pos x="375" y="330"/>
                </a:cxn>
                <a:cxn ang="0">
                  <a:pos x="358" y="343"/>
                </a:cxn>
                <a:cxn ang="0">
                  <a:pos x="352" y="359"/>
                </a:cxn>
                <a:cxn ang="0">
                  <a:pos x="342" y="384"/>
                </a:cxn>
                <a:cxn ang="0">
                  <a:pos x="387" y="361"/>
                </a:cxn>
                <a:cxn ang="0">
                  <a:pos x="428" y="370"/>
                </a:cxn>
                <a:cxn ang="0">
                  <a:pos x="523" y="275"/>
                </a:cxn>
                <a:cxn ang="0">
                  <a:pos x="453" y="183"/>
                </a:cxn>
                <a:cxn ang="0">
                  <a:pos x="383" y="292"/>
                </a:cxn>
                <a:cxn ang="0">
                  <a:pos x="313" y="171"/>
                </a:cxn>
                <a:cxn ang="0">
                  <a:pos x="244" y="292"/>
                </a:cxn>
                <a:cxn ang="0">
                  <a:pos x="282" y="292"/>
                </a:cxn>
                <a:cxn ang="0">
                  <a:pos x="220" y="420"/>
                </a:cxn>
                <a:cxn ang="0">
                  <a:pos x="297" y="420"/>
                </a:cxn>
                <a:cxn ang="0">
                  <a:pos x="343" y="292"/>
                </a:cxn>
                <a:cxn ang="0">
                  <a:pos x="383" y="292"/>
                </a:cxn>
              </a:cxnLst>
              <a:rect l="0" t="0" r="r" b="b"/>
              <a:pathLst>
                <a:path w="523" h="420">
                  <a:moveTo>
                    <a:pt x="235" y="365"/>
                  </a:moveTo>
                  <a:cubicBezTo>
                    <a:pt x="239" y="358"/>
                    <a:pt x="243" y="351"/>
                    <a:pt x="246" y="344"/>
                  </a:cubicBezTo>
                  <a:cubicBezTo>
                    <a:pt x="239" y="340"/>
                    <a:pt x="232" y="335"/>
                    <a:pt x="226" y="329"/>
                  </a:cubicBezTo>
                  <a:cubicBezTo>
                    <a:pt x="217" y="320"/>
                    <a:pt x="217" y="320"/>
                    <a:pt x="217" y="320"/>
                  </a:cubicBezTo>
                  <a:cubicBezTo>
                    <a:pt x="206" y="328"/>
                    <a:pt x="206" y="328"/>
                    <a:pt x="206" y="328"/>
                  </a:cubicBezTo>
                  <a:cubicBezTo>
                    <a:pt x="187" y="341"/>
                    <a:pt x="165" y="348"/>
                    <a:pt x="142" y="348"/>
                  </a:cubicBezTo>
                  <a:cubicBezTo>
                    <a:pt x="81" y="348"/>
                    <a:pt x="31" y="299"/>
                    <a:pt x="31" y="237"/>
                  </a:cubicBezTo>
                  <a:cubicBezTo>
                    <a:pt x="31" y="190"/>
                    <a:pt x="61" y="148"/>
                    <a:pt x="106" y="133"/>
                  </a:cubicBezTo>
                  <a:cubicBezTo>
                    <a:pt x="106" y="132"/>
                    <a:pt x="106" y="132"/>
                    <a:pt x="106" y="132"/>
                  </a:cubicBezTo>
                  <a:cubicBezTo>
                    <a:pt x="117" y="129"/>
                    <a:pt x="129" y="127"/>
                    <a:pt x="144" y="127"/>
                  </a:cubicBezTo>
                  <a:cubicBezTo>
                    <a:pt x="167" y="127"/>
                    <a:pt x="187" y="132"/>
                    <a:pt x="201" y="141"/>
                  </a:cubicBezTo>
                  <a:cubicBezTo>
                    <a:pt x="208" y="131"/>
                    <a:pt x="195" y="103"/>
                    <a:pt x="132" y="103"/>
                  </a:cubicBezTo>
                  <a:cubicBezTo>
                    <a:pt x="127" y="103"/>
                    <a:pt x="123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8" y="103"/>
                    <a:pt x="117" y="104"/>
                    <a:pt x="116" y="104"/>
                  </a:cubicBezTo>
                  <a:cubicBezTo>
                    <a:pt x="77" y="107"/>
                    <a:pt x="49" y="130"/>
                    <a:pt x="49" y="130"/>
                  </a:cubicBezTo>
                  <a:cubicBezTo>
                    <a:pt x="49" y="129"/>
                    <a:pt x="49" y="129"/>
                    <a:pt x="49" y="129"/>
                  </a:cubicBezTo>
                  <a:cubicBezTo>
                    <a:pt x="18" y="156"/>
                    <a:pt x="0" y="195"/>
                    <a:pt x="0" y="237"/>
                  </a:cubicBezTo>
                  <a:cubicBezTo>
                    <a:pt x="0" y="316"/>
                    <a:pt x="63" y="380"/>
                    <a:pt x="142" y="380"/>
                  </a:cubicBezTo>
                  <a:cubicBezTo>
                    <a:pt x="168" y="380"/>
                    <a:pt x="192" y="373"/>
                    <a:pt x="214" y="360"/>
                  </a:cubicBezTo>
                  <a:cubicBezTo>
                    <a:pt x="220" y="364"/>
                    <a:pt x="225" y="368"/>
                    <a:pt x="231" y="371"/>
                  </a:cubicBezTo>
                  <a:lnTo>
                    <a:pt x="235" y="365"/>
                  </a:lnTo>
                  <a:close/>
                  <a:moveTo>
                    <a:pt x="453" y="183"/>
                  </a:moveTo>
                  <a:cubicBezTo>
                    <a:pt x="454" y="180"/>
                    <a:pt x="454" y="178"/>
                    <a:pt x="454" y="175"/>
                  </a:cubicBezTo>
                  <a:cubicBezTo>
                    <a:pt x="454" y="117"/>
                    <a:pt x="407" y="70"/>
                    <a:pt x="348" y="70"/>
                  </a:cubicBezTo>
                  <a:cubicBezTo>
                    <a:pt x="341" y="70"/>
                    <a:pt x="334" y="71"/>
                    <a:pt x="327" y="72"/>
                  </a:cubicBezTo>
                  <a:cubicBezTo>
                    <a:pt x="305" y="29"/>
                    <a:pt x="261" y="0"/>
                    <a:pt x="212" y="0"/>
                  </a:cubicBezTo>
                  <a:cubicBezTo>
                    <a:pt x="155" y="0"/>
                    <a:pt x="106" y="37"/>
                    <a:pt x="90" y="89"/>
                  </a:cubicBezTo>
                  <a:cubicBezTo>
                    <a:pt x="103" y="86"/>
                    <a:pt x="116" y="85"/>
                    <a:pt x="125" y="86"/>
                  </a:cubicBezTo>
                  <a:cubicBezTo>
                    <a:pt x="141" y="53"/>
                    <a:pt x="174" y="32"/>
                    <a:pt x="212" y="32"/>
                  </a:cubicBezTo>
                  <a:cubicBezTo>
                    <a:pt x="253" y="32"/>
                    <a:pt x="289" y="58"/>
                    <a:pt x="302" y="96"/>
                  </a:cubicBezTo>
                  <a:cubicBezTo>
                    <a:pt x="308" y="112"/>
                    <a:pt x="308" y="112"/>
                    <a:pt x="308" y="112"/>
                  </a:cubicBezTo>
                  <a:cubicBezTo>
                    <a:pt x="323" y="106"/>
                    <a:pt x="323" y="106"/>
                    <a:pt x="323" y="106"/>
                  </a:cubicBezTo>
                  <a:cubicBezTo>
                    <a:pt x="331" y="103"/>
                    <a:pt x="340" y="101"/>
                    <a:pt x="348" y="101"/>
                  </a:cubicBezTo>
                  <a:cubicBezTo>
                    <a:pt x="389" y="101"/>
                    <a:pt x="422" y="135"/>
                    <a:pt x="422" y="175"/>
                  </a:cubicBezTo>
                  <a:cubicBezTo>
                    <a:pt x="422" y="181"/>
                    <a:pt x="421" y="186"/>
                    <a:pt x="420" y="192"/>
                  </a:cubicBezTo>
                  <a:cubicBezTo>
                    <a:pt x="416" y="209"/>
                    <a:pt x="416" y="209"/>
                    <a:pt x="416" y="209"/>
                  </a:cubicBezTo>
                  <a:cubicBezTo>
                    <a:pt x="434" y="211"/>
                    <a:pt x="434" y="211"/>
                    <a:pt x="434" y="211"/>
                  </a:cubicBezTo>
                  <a:cubicBezTo>
                    <a:pt x="467" y="214"/>
                    <a:pt x="492" y="242"/>
                    <a:pt x="492" y="275"/>
                  </a:cubicBezTo>
                  <a:cubicBezTo>
                    <a:pt x="492" y="310"/>
                    <a:pt x="463" y="338"/>
                    <a:pt x="428" y="338"/>
                  </a:cubicBezTo>
                  <a:cubicBezTo>
                    <a:pt x="416" y="338"/>
                    <a:pt x="404" y="335"/>
                    <a:pt x="394" y="329"/>
                  </a:cubicBezTo>
                  <a:cubicBezTo>
                    <a:pt x="384" y="322"/>
                    <a:pt x="384" y="322"/>
                    <a:pt x="384" y="322"/>
                  </a:cubicBezTo>
                  <a:cubicBezTo>
                    <a:pt x="375" y="330"/>
                    <a:pt x="375" y="330"/>
                    <a:pt x="375" y="330"/>
                  </a:cubicBezTo>
                  <a:cubicBezTo>
                    <a:pt x="370" y="335"/>
                    <a:pt x="364" y="339"/>
                    <a:pt x="358" y="343"/>
                  </a:cubicBezTo>
                  <a:cubicBezTo>
                    <a:pt x="356" y="348"/>
                    <a:pt x="354" y="354"/>
                    <a:pt x="352" y="359"/>
                  </a:cubicBezTo>
                  <a:cubicBezTo>
                    <a:pt x="349" y="367"/>
                    <a:pt x="346" y="376"/>
                    <a:pt x="342" y="384"/>
                  </a:cubicBezTo>
                  <a:cubicBezTo>
                    <a:pt x="358" y="379"/>
                    <a:pt x="374" y="371"/>
                    <a:pt x="387" y="361"/>
                  </a:cubicBezTo>
                  <a:cubicBezTo>
                    <a:pt x="400" y="367"/>
                    <a:pt x="414" y="370"/>
                    <a:pt x="428" y="370"/>
                  </a:cubicBezTo>
                  <a:cubicBezTo>
                    <a:pt x="481" y="370"/>
                    <a:pt x="523" y="327"/>
                    <a:pt x="523" y="275"/>
                  </a:cubicBezTo>
                  <a:cubicBezTo>
                    <a:pt x="523" y="231"/>
                    <a:pt x="494" y="194"/>
                    <a:pt x="453" y="183"/>
                  </a:cubicBezTo>
                  <a:close/>
                  <a:moveTo>
                    <a:pt x="383" y="292"/>
                  </a:moveTo>
                  <a:cubicBezTo>
                    <a:pt x="313" y="171"/>
                    <a:pt x="313" y="171"/>
                    <a:pt x="313" y="171"/>
                  </a:cubicBezTo>
                  <a:cubicBezTo>
                    <a:pt x="244" y="292"/>
                    <a:pt x="244" y="292"/>
                    <a:pt x="244" y="292"/>
                  </a:cubicBezTo>
                  <a:cubicBezTo>
                    <a:pt x="282" y="292"/>
                    <a:pt x="282" y="292"/>
                    <a:pt x="282" y="292"/>
                  </a:cubicBezTo>
                  <a:cubicBezTo>
                    <a:pt x="274" y="341"/>
                    <a:pt x="252" y="385"/>
                    <a:pt x="220" y="420"/>
                  </a:cubicBezTo>
                  <a:cubicBezTo>
                    <a:pt x="297" y="420"/>
                    <a:pt x="297" y="420"/>
                    <a:pt x="297" y="420"/>
                  </a:cubicBezTo>
                  <a:cubicBezTo>
                    <a:pt x="321" y="382"/>
                    <a:pt x="338" y="338"/>
                    <a:pt x="343" y="292"/>
                  </a:cubicBezTo>
                  <a:lnTo>
                    <a:pt x="383" y="29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176630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066147C5-186D-4E4C-9242-8148410B3D18}"/>
              </a:ext>
            </a:extLst>
          </p:cNvPr>
          <p:cNvSpPr/>
          <p:nvPr userDrawn="1"/>
        </p:nvSpPr>
        <p:spPr>
          <a:xfrm>
            <a:off x="0" y="-18878"/>
            <a:ext cx="12192000" cy="6876879"/>
          </a:xfrm>
          <a:prstGeom prst="rect">
            <a:avLst/>
          </a:prstGeom>
          <a:gradFill flip="none" rotWithShape="1">
            <a:gsLst>
              <a:gs pos="18000">
                <a:schemeClr val="accent6">
                  <a:lumMod val="67000"/>
                </a:schemeClr>
              </a:gs>
              <a:gs pos="100000">
                <a:schemeClr val="accent6"/>
              </a:gs>
            </a:gsLst>
            <a:lin ang="162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5FCFC23A-FBBD-1442-BC6B-7AACBBDF17DB}"/>
              </a:ext>
            </a:extLst>
          </p:cNvPr>
          <p:cNvGrpSpPr/>
          <p:nvPr userDrawn="1"/>
        </p:nvGrpSpPr>
        <p:grpSpPr>
          <a:xfrm>
            <a:off x="0" y="-18879"/>
            <a:ext cx="12192000" cy="675904"/>
            <a:chOff x="0" y="4267200"/>
            <a:chExt cx="12192000" cy="675904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A96D3F2C-5F04-B84F-B9D5-D61433C77E05}"/>
                </a:ext>
              </a:extLst>
            </p:cNvPr>
            <p:cNvSpPr/>
            <p:nvPr userDrawn="1"/>
          </p:nvSpPr>
          <p:spPr>
            <a:xfrm>
              <a:off x="122213" y="4435305"/>
              <a:ext cx="11951853" cy="4294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dist="88900" dir="5400000" sx="97000" sy="97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xmlns="" id="{4BCEF6D8-1372-DA4D-AAD1-0712D4C4C8D4}"/>
                </a:ext>
              </a:extLst>
            </p:cNvPr>
            <p:cNvSpPr/>
            <p:nvPr userDrawn="1"/>
          </p:nvSpPr>
          <p:spPr>
            <a:xfrm>
              <a:off x="0" y="4267200"/>
              <a:ext cx="12192000" cy="675904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3E5CDD5-3156-47A9-A019-94E8642F4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7" y="162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31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F3E5CDD5-3156-47A9-A019-94E8642F4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62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"/>
          <p:cNvSpPr>
            <a:spLocks noGrp="1"/>
          </p:cNvSpPr>
          <p:nvPr>
            <p:ph type="title" hasCustomPrompt="1"/>
          </p:nvPr>
        </p:nvSpPr>
        <p:spPr>
          <a:xfrm>
            <a:off x="1602515" y="177110"/>
            <a:ext cx="9905376" cy="30780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000" kern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45780014-60AD-4D4C-B6BB-A0DF121B2FEB}"/>
              </a:ext>
            </a:extLst>
          </p:cNvPr>
          <p:cNvSpPr>
            <a:spLocks/>
          </p:cNvSpPr>
          <p:nvPr userDrawn="1"/>
        </p:nvSpPr>
        <p:spPr bwMode="auto">
          <a:xfrm>
            <a:off x="11662261" y="161564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102572" tIns="102572" rIns="102572" bIns="102572" rtlCol="0" anchor="ctr"/>
          <a:lstStyle/>
          <a:p>
            <a:pPr marL="0" marR="0" lvl="0" indent="0" algn="ctr" defTabSz="121866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>
              <a:ln>
                <a:noFill/>
              </a:ln>
              <a:solidFill>
                <a:srgbClr val="787E7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87759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  <p:grpSp>
        <p:nvGrpSpPr>
          <p:cNvPr id="22" name="Группа 21"/>
          <p:cNvGrpSpPr/>
          <p:nvPr userDrawn="1"/>
        </p:nvGrpSpPr>
        <p:grpSpPr>
          <a:xfrm>
            <a:off x="1048633" y="97273"/>
            <a:ext cx="448340" cy="439451"/>
            <a:chOff x="8495853" y="4519415"/>
            <a:chExt cx="681227" cy="667720"/>
          </a:xfrm>
        </p:grpSpPr>
        <p:sp>
          <p:nvSpPr>
            <p:cNvPr id="23" name="Oval 100"/>
            <p:cNvSpPr/>
            <p:nvPr/>
          </p:nvSpPr>
          <p:spPr>
            <a:xfrm flipH="1">
              <a:off x="8495853" y="4519415"/>
              <a:ext cx="681227" cy="667720"/>
            </a:xfrm>
            <a:prstGeom prst="ellipse">
              <a:avLst/>
            </a:prstGeom>
            <a:solidFill>
              <a:schemeClr val="accent6"/>
            </a:solidFill>
            <a:ln w="19050" cap="rnd" cmpd="sng" algn="ctr">
              <a:solidFill>
                <a:schemeClr val="accent4"/>
              </a:solidFill>
              <a:prstDash val="solid"/>
            </a:ln>
            <a:effectLst/>
          </p:spPr>
          <p:txBody>
            <a:bodyPr lIns="40500" tIns="40500" rIns="40500" bIns="40500" rtlCol="0" anchor="ctr"/>
            <a:lstStyle/>
            <a:p>
              <a:pPr algn="ctr" defTabSz="685783">
                <a:defRPr/>
              </a:pPr>
              <a:endParaRPr lang="en-US" sz="751" kern="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24" name="Group 15"/>
            <p:cNvGrpSpPr>
              <a:grpSpLocks noChangeAspect="1"/>
            </p:cNvGrpSpPr>
            <p:nvPr/>
          </p:nvGrpSpPr>
          <p:grpSpPr bwMode="auto">
            <a:xfrm>
              <a:off x="8636192" y="4638991"/>
              <a:ext cx="383724" cy="385468"/>
              <a:chOff x="4843" y="2141"/>
              <a:chExt cx="220" cy="221"/>
            </a:xfrm>
            <a:solidFill>
              <a:schemeClr val="accent4"/>
            </a:solidFill>
          </p:grpSpPr>
          <p:sp>
            <p:nvSpPr>
              <p:cNvPr id="25" name="Freeform 16"/>
              <p:cNvSpPr>
                <a:spLocks/>
              </p:cNvSpPr>
              <p:nvPr/>
            </p:nvSpPr>
            <p:spPr bwMode="auto">
              <a:xfrm>
                <a:off x="4843" y="2298"/>
                <a:ext cx="184" cy="64"/>
              </a:xfrm>
              <a:custGeom>
                <a:avLst/>
                <a:gdLst>
                  <a:gd name="T0" fmla="*/ 584 w 1371"/>
                  <a:gd name="T1" fmla="*/ 473 h 473"/>
                  <a:gd name="T2" fmla="*/ 489 w 1371"/>
                  <a:gd name="T3" fmla="*/ 464 h 473"/>
                  <a:gd name="T4" fmla="*/ 142 w 1371"/>
                  <a:gd name="T5" fmla="*/ 375 h 473"/>
                  <a:gd name="T6" fmla="*/ 18 w 1371"/>
                  <a:gd name="T7" fmla="*/ 273 h 473"/>
                  <a:gd name="T8" fmla="*/ 0 w 1371"/>
                  <a:gd name="T9" fmla="*/ 213 h 473"/>
                  <a:gd name="T10" fmla="*/ 0 w 1371"/>
                  <a:gd name="T11" fmla="*/ 17 h 473"/>
                  <a:gd name="T12" fmla="*/ 13 w 1371"/>
                  <a:gd name="T13" fmla="*/ 8 h 473"/>
                  <a:gd name="T14" fmla="*/ 285 w 1371"/>
                  <a:gd name="T15" fmla="*/ 107 h 473"/>
                  <a:gd name="T16" fmla="*/ 769 w 1371"/>
                  <a:gd name="T17" fmla="*/ 141 h 473"/>
                  <a:gd name="T18" fmla="*/ 1176 w 1371"/>
                  <a:gd name="T19" fmla="*/ 85 h 473"/>
                  <a:gd name="T20" fmla="*/ 1352 w 1371"/>
                  <a:gd name="T21" fmla="*/ 10 h 473"/>
                  <a:gd name="T22" fmla="*/ 1365 w 1371"/>
                  <a:gd name="T23" fmla="*/ 5 h 473"/>
                  <a:gd name="T24" fmla="*/ 1369 w 1371"/>
                  <a:gd name="T25" fmla="*/ 20 h 473"/>
                  <a:gd name="T26" fmla="*/ 1369 w 1371"/>
                  <a:gd name="T27" fmla="*/ 218 h 473"/>
                  <a:gd name="T28" fmla="*/ 1333 w 1371"/>
                  <a:gd name="T29" fmla="*/ 298 h 473"/>
                  <a:gd name="T30" fmla="*/ 1178 w 1371"/>
                  <a:gd name="T31" fmla="*/ 396 h 473"/>
                  <a:gd name="T32" fmla="*/ 876 w 1371"/>
                  <a:gd name="T33" fmla="*/ 464 h 473"/>
                  <a:gd name="T34" fmla="*/ 786 w 1371"/>
                  <a:gd name="T35" fmla="*/ 473 h 473"/>
                  <a:gd name="T36" fmla="*/ 584 w 1371"/>
                  <a:gd name="T37" fmla="*/ 473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71" h="473">
                    <a:moveTo>
                      <a:pt x="584" y="473"/>
                    </a:moveTo>
                    <a:cubicBezTo>
                      <a:pt x="552" y="470"/>
                      <a:pt x="520" y="467"/>
                      <a:pt x="489" y="464"/>
                    </a:cubicBezTo>
                    <a:cubicBezTo>
                      <a:pt x="369" y="450"/>
                      <a:pt x="252" y="427"/>
                      <a:pt x="142" y="375"/>
                    </a:cubicBezTo>
                    <a:cubicBezTo>
                      <a:pt x="93" y="351"/>
                      <a:pt x="47" y="322"/>
                      <a:pt x="18" y="273"/>
                    </a:cubicBezTo>
                    <a:cubicBezTo>
                      <a:pt x="7" y="255"/>
                      <a:pt x="0" y="235"/>
                      <a:pt x="0" y="213"/>
                    </a:cubicBezTo>
                    <a:cubicBezTo>
                      <a:pt x="1" y="148"/>
                      <a:pt x="1" y="82"/>
                      <a:pt x="0" y="17"/>
                    </a:cubicBezTo>
                    <a:cubicBezTo>
                      <a:pt x="0" y="8"/>
                      <a:pt x="1" y="0"/>
                      <a:pt x="13" y="8"/>
                    </a:cubicBezTo>
                    <a:cubicBezTo>
                      <a:pt x="97" y="61"/>
                      <a:pt x="190" y="87"/>
                      <a:pt x="285" y="107"/>
                    </a:cubicBezTo>
                    <a:cubicBezTo>
                      <a:pt x="445" y="140"/>
                      <a:pt x="607" y="146"/>
                      <a:pt x="769" y="141"/>
                    </a:cubicBezTo>
                    <a:cubicBezTo>
                      <a:pt x="906" y="137"/>
                      <a:pt x="1043" y="123"/>
                      <a:pt x="1176" y="85"/>
                    </a:cubicBezTo>
                    <a:cubicBezTo>
                      <a:pt x="1238" y="67"/>
                      <a:pt x="1298" y="45"/>
                      <a:pt x="1352" y="10"/>
                    </a:cubicBezTo>
                    <a:cubicBezTo>
                      <a:pt x="1356" y="8"/>
                      <a:pt x="1360" y="3"/>
                      <a:pt x="1365" y="5"/>
                    </a:cubicBezTo>
                    <a:cubicBezTo>
                      <a:pt x="1371" y="8"/>
                      <a:pt x="1369" y="15"/>
                      <a:pt x="1369" y="20"/>
                    </a:cubicBezTo>
                    <a:cubicBezTo>
                      <a:pt x="1369" y="86"/>
                      <a:pt x="1369" y="152"/>
                      <a:pt x="1369" y="218"/>
                    </a:cubicBezTo>
                    <a:cubicBezTo>
                      <a:pt x="1368" y="249"/>
                      <a:pt x="1353" y="275"/>
                      <a:pt x="1333" y="298"/>
                    </a:cubicBezTo>
                    <a:cubicBezTo>
                      <a:pt x="1291" y="346"/>
                      <a:pt x="1236" y="373"/>
                      <a:pt x="1178" y="396"/>
                    </a:cubicBezTo>
                    <a:cubicBezTo>
                      <a:pt x="1081" y="434"/>
                      <a:pt x="979" y="453"/>
                      <a:pt x="876" y="464"/>
                    </a:cubicBezTo>
                    <a:cubicBezTo>
                      <a:pt x="846" y="467"/>
                      <a:pt x="816" y="470"/>
                      <a:pt x="786" y="473"/>
                    </a:cubicBezTo>
                    <a:cubicBezTo>
                      <a:pt x="718" y="473"/>
                      <a:pt x="651" y="473"/>
                      <a:pt x="584" y="4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17"/>
              <p:cNvSpPr>
                <a:spLocks/>
              </p:cNvSpPr>
              <p:nvPr/>
            </p:nvSpPr>
            <p:spPr bwMode="auto">
              <a:xfrm>
                <a:off x="4894" y="2141"/>
                <a:ext cx="169" cy="56"/>
              </a:xfrm>
              <a:custGeom>
                <a:avLst/>
                <a:gdLst>
                  <a:gd name="T0" fmla="*/ 1263 w 1263"/>
                  <a:gd name="T1" fmla="*/ 314 h 416"/>
                  <a:gd name="T2" fmla="*/ 1114 w 1263"/>
                  <a:gd name="T3" fmla="*/ 395 h 416"/>
                  <a:gd name="T4" fmla="*/ 1056 w 1263"/>
                  <a:gd name="T5" fmla="*/ 413 h 416"/>
                  <a:gd name="T6" fmla="*/ 1042 w 1263"/>
                  <a:gd name="T7" fmla="*/ 403 h 416"/>
                  <a:gd name="T8" fmla="*/ 943 w 1263"/>
                  <a:gd name="T9" fmla="*/ 233 h 416"/>
                  <a:gd name="T10" fmla="*/ 696 w 1263"/>
                  <a:gd name="T11" fmla="*/ 132 h 416"/>
                  <a:gd name="T12" fmla="*/ 462 w 1263"/>
                  <a:gd name="T13" fmla="*/ 99 h 416"/>
                  <a:gd name="T14" fmla="*/ 243 w 1263"/>
                  <a:gd name="T15" fmla="*/ 97 h 416"/>
                  <a:gd name="T16" fmla="*/ 15 w 1263"/>
                  <a:gd name="T17" fmla="*/ 124 h 416"/>
                  <a:gd name="T18" fmla="*/ 0 w 1263"/>
                  <a:gd name="T19" fmla="*/ 122 h 416"/>
                  <a:gd name="T20" fmla="*/ 47 w 1263"/>
                  <a:gd name="T21" fmla="*/ 96 h 416"/>
                  <a:gd name="T22" fmla="*/ 354 w 1263"/>
                  <a:gd name="T23" fmla="*/ 15 h 416"/>
                  <a:gd name="T24" fmla="*/ 648 w 1263"/>
                  <a:gd name="T25" fmla="*/ 3 h 416"/>
                  <a:gd name="T26" fmla="*/ 1057 w 1263"/>
                  <a:gd name="T27" fmla="*/ 72 h 416"/>
                  <a:gd name="T28" fmla="*/ 1213 w 1263"/>
                  <a:gd name="T29" fmla="*/ 162 h 416"/>
                  <a:gd name="T30" fmla="*/ 1263 w 1263"/>
                  <a:gd name="T31" fmla="*/ 237 h 416"/>
                  <a:gd name="T32" fmla="*/ 1263 w 1263"/>
                  <a:gd name="T33" fmla="*/ 314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63" h="416">
                    <a:moveTo>
                      <a:pt x="1263" y="314"/>
                    </a:moveTo>
                    <a:cubicBezTo>
                      <a:pt x="1221" y="355"/>
                      <a:pt x="1168" y="375"/>
                      <a:pt x="1114" y="395"/>
                    </a:cubicBezTo>
                    <a:cubicBezTo>
                      <a:pt x="1095" y="402"/>
                      <a:pt x="1075" y="407"/>
                      <a:pt x="1056" y="413"/>
                    </a:cubicBezTo>
                    <a:cubicBezTo>
                      <a:pt x="1046" y="416"/>
                      <a:pt x="1041" y="413"/>
                      <a:pt x="1042" y="403"/>
                    </a:cubicBezTo>
                    <a:cubicBezTo>
                      <a:pt x="1048" y="323"/>
                      <a:pt x="1001" y="274"/>
                      <a:pt x="943" y="233"/>
                    </a:cubicBezTo>
                    <a:cubicBezTo>
                      <a:pt x="868" y="181"/>
                      <a:pt x="783" y="153"/>
                      <a:pt x="696" y="132"/>
                    </a:cubicBezTo>
                    <a:cubicBezTo>
                      <a:pt x="619" y="114"/>
                      <a:pt x="541" y="105"/>
                      <a:pt x="462" y="99"/>
                    </a:cubicBezTo>
                    <a:cubicBezTo>
                      <a:pt x="389" y="94"/>
                      <a:pt x="316" y="95"/>
                      <a:pt x="243" y="97"/>
                    </a:cubicBezTo>
                    <a:cubicBezTo>
                      <a:pt x="166" y="100"/>
                      <a:pt x="90" y="109"/>
                      <a:pt x="15" y="124"/>
                    </a:cubicBezTo>
                    <a:cubicBezTo>
                      <a:pt x="11" y="124"/>
                      <a:pt x="7" y="126"/>
                      <a:pt x="0" y="122"/>
                    </a:cubicBezTo>
                    <a:cubicBezTo>
                      <a:pt x="17" y="113"/>
                      <a:pt x="31" y="104"/>
                      <a:pt x="47" y="96"/>
                    </a:cubicBezTo>
                    <a:cubicBezTo>
                      <a:pt x="144" y="51"/>
                      <a:pt x="248" y="29"/>
                      <a:pt x="354" y="15"/>
                    </a:cubicBezTo>
                    <a:cubicBezTo>
                      <a:pt x="452" y="2"/>
                      <a:pt x="550" y="0"/>
                      <a:pt x="648" y="3"/>
                    </a:cubicBezTo>
                    <a:cubicBezTo>
                      <a:pt x="787" y="7"/>
                      <a:pt x="925" y="23"/>
                      <a:pt x="1057" y="72"/>
                    </a:cubicBezTo>
                    <a:cubicBezTo>
                      <a:pt x="1114" y="93"/>
                      <a:pt x="1168" y="120"/>
                      <a:pt x="1213" y="162"/>
                    </a:cubicBezTo>
                    <a:cubicBezTo>
                      <a:pt x="1236" y="183"/>
                      <a:pt x="1251" y="209"/>
                      <a:pt x="1263" y="237"/>
                    </a:cubicBezTo>
                    <a:cubicBezTo>
                      <a:pt x="1263" y="262"/>
                      <a:pt x="1263" y="288"/>
                      <a:pt x="1263" y="3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18"/>
              <p:cNvSpPr>
                <a:spLocks/>
              </p:cNvSpPr>
              <p:nvPr/>
            </p:nvSpPr>
            <p:spPr bwMode="auto">
              <a:xfrm>
                <a:off x="5034" y="2192"/>
                <a:ext cx="29" cy="48"/>
              </a:xfrm>
              <a:custGeom>
                <a:avLst/>
                <a:gdLst>
                  <a:gd name="T0" fmla="*/ 221 w 221"/>
                  <a:gd name="T1" fmla="*/ 259 h 360"/>
                  <a:gd name="T2" fmla="*/ 52 w 221"/>
                  <a:gd name="T3" fmla="*/ 345 h 360"/>
                  <a:gd name="T4" fmla="*/ 13 w 221"/>
                  <a:gd name="T5" fmla="*/ 357 h 360"/>
                  <a:gd name="T6" fmla="*/ 0 w 221"/>
                  <a:gd name="T7" fmla="*/ 347 h 360"/>
                  <a:gd name="T8" fmla="*/ 0 w 221"/>
                  <a:gd name="T9" fmla="*/ 338 h 360"/>
                  <a:gd name="T10" fmla="*/ 0 w 221"/>
                  <a:gd name="T11" fmla="*/ 106 h 360"/>
                  <a:gd name="T12" fmla="*/ 19 w 221"/>
                  <a:gd name="T13" fmla="*/ 80 h 360"/>
                  <a:gd name="T14" fmla="*/ 215 w 221"/>
                  <a:gd name="T15" fmla="*/ 1 h 360"/>
                  <a:gd name="T16" fmla="*/ 221 w 221"/>
                  <a:gd name="T17" fmla="*/ 0 h 360"/>
                  <a:gd name="T18" fmla="*/ 221 w 221"/>
                  <a:gd name="T19" fmla="*/ 259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1" h="360">
                    <a:moveTo>
                      <a:pt x="221" y="259"/>
                    </a:moveTo>
                    <a:cubicBezTo>
                      <a:pt x="172" y="302"/>
                      <a:pt x="113" y="326"/>
                      <a:pt x="52" y="345"/>
                    </a:cubicBezTo>
                    <a:cubicBezTo>
                      <a:pt x="39" y="349"/>
                      <a:pt x="26" y="353"/>
                      <a:pt x="13" y="357"/>
                    </a:cubicBezTo>
                    <a:cubicBezTo>
                      <a:pt x="4" y="360"/>
                      <a:pt x="0" y="356"/>
                      <a:pt x="0" y="347"/>
                    </a:cubicBezTo>
                    <a:cubicBezTo>
                      <a:pt x="0" y="344"/>
                      <a:pt x="0" y="341"/>
                      <a:pt x="0" y="338"/>
                    </a:cubicBezTo>
                    <a:cubicBezTo>
                      <a:pt x="0" y="260"/>
                      <a:pt x="0" y="183"/>
                      <a:pt x="0" y="106"/>
                    </a:cubicBezTo>
                    <a:cubicBezTo>
                      <a:pt x="0" y="91"/>
                      <a:pt x="4" y="84"/>
                      <a:pt x="19" y="80"/>
                    </a:cubicBezTo>
                    <a:cubicBezTo>
                      <a:pt x="87" y="62"/>
                      <a:pt x="154" y="39"/>
                      <a:pt x="215" y="1"/>
                    </a:cubicBezTo>
                    <a:cubicBezTo>
                      <a:pt x="217" y="0"/>
                      <a:pt x="219" y="0"/>
                      <a:pt x="221" y="0"/>
                    </a:cubicBezTo>
                    <a:cubicBezTo>
                      <a:pt x="221" y="86"/>
                      <a:pt x="221" y="172"/>
                      <a:pt x="221" y="2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19"/>
              <p:cNvSpPr>
                <a:spLocks/>
              </p:cNvSpPr>
              <p:nvPr/>
            </p:nvSpPr>
            <p:spPr bwMode="auto">
              <a:xfrm>
                <a:off x="5034" y="2235"/>
                <a:ext cx="29" cy="49"/>
              </a:xfrm>
              <a:custGeom>
                <a:avLst/>
                <a:gdLst>
                  <a:gd name="T0" fmla="*/ 221 w 221"/>
                  <a:gd name="T1" fmla="*/ 262 h 362"/>
                  <a:gd name="T2" fmla="*/ 19 w 221"/>
                  <a:gd name="T3" fmla="*/ 357 h 362"/>
                  <a:gd name="T4" fmla="*/ 0 w 221"/>
                  <a:gd name="T5" fmla="*/ 344 h 362"/>
                  <a:gd name="T6" fmla="*/ 0 w 221"/>
                  <a:gd name="T7" fmla="*/ 111 h 362"/>
                  <a:gd name="T8" fmla="*/ 17 w 221"/>
                  <a:gd name="T9" fmla="*/ 87 h 362"/>
                  <a:gd name="T10" fmla="*/ 179 w 221"/>
                  <a:gd name="T11" fmla="*/ 23 h 362"/>
                  <a:gd name="T12" fmla="*/ 221 w 221"/>
                  <a:gd name="T13" fmla="*/ 0 h 362"/>
                  <a:gd name="T14" fmla="*/ 221 w 221"/>
                  <a:gd name="T15" fmla="*/ 2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1" h="362">
                    <a:moveTo>
                      <a:pt x="221" y="262"/>
                    </a:moveTo>
                    <a:cubicBezTo>
                      <a:pt x="162" y="311"/>
                      <a:pt x="91" y="336"/>
                      <a:pt x="19" y="357"/>
                    </a:cubicBezTo>
                    <a:cubicBezTo>
                      <a:pt x="2" y="362"/>
                      <a:pt x="0" y="361"/>
                      <a:pt x="0" y="344"/>
                    </a:cubicBezTo>
                    <a:cubicBezTo>
                      <a:pt x="0" y="266"/>
                      <a:pt x="0" y="188"/>
                      <a:pt x="0" y="111"/>
                    </a:cubicBezTo>
                    <a:cubicBezTo>
                      <a:pt x="0" y="97"/>
                      <a:pt x="5" y="91"/>
                      <a:pt x="17" y="87"/>
                    </a:cubicBezTo>
                    <a:cubicBezTo>
                      <a:pt x="72" y="68"/>
                      <a:pt x="128" y="51"/>
                      <a:pt x="179" y="23"/>
                    </a:cubicBezTo>
                    <a:cubicBezTo>
                      <a:pt x="193" y="16"/>
                      <a:pt x="207" y="8"/>
                      <a:pt x="221" y="0"/>
                    </a:cubicBezTo>
                    <a:cubicBezTo>
                      <a:pt x="221" y="87"/>
                      <a:pt x="221" y="175"/>
                      <a:pt x="221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0"/>
              <p:cNvSpPr>
                <a:spLocks/>
              </p:cNvSpPr>
              <p:nvPr/>
            </p:nvSpPr>
            <p:spPr bwMode="auto">
              <a:xfrm>
                <a:off x="5034" y="2279"/>
                <a:ext cx="29" cy="54"/>
              </a:xfrm>
              <a:custGeom>
                <a:avLst/>
                <a:gdLst>
                  <a:gd name="T0" fmla="*/ 216 w 216"/>
                  <a:gd name="T1" fmla="*/ 237 h 402"/>
                  <a:gd name="T2" fmla="*/ 39 w 216"/>
                  <a:gd name="T3" fmla="*/ 388 h 402"/>
                  <a:gd name="T4" fmla="*/ 10 w 216"/>
                  <a:gd name="T5" fmla="*/ 400 h 402"/>
                  <a:gd name="T6" fmla="*/ 4 w 216"/>
                  <a:gd name="T7" fmla="*/ 393 h 402"/>
                  <a:gd name="T8" fmla="*/ 23 w 216"/>
                  <a:gd name="T9" fmla="*/ 269 h 402"/>
                  <a:gd name="T10" fmla="*/ 23 w 216"/>
                  <a:gd name="T11" fmla="*/ 106 h 402"/>
                  <a:gd name="T12" fmla="*/ 33 w 216"/>
                  <a:gd name="T13" fmla="*/ 84 h 402"/>
                  <a:gd name="T14" fmla="*/ 211 w 216"/>
                  <a:gd name="T15" fmla="*/ 1 h 402"/>
                  <a:gd name="T16" fmla="*/ 216 w 216"/>
                  <a:gd name="T17" fmla="*/ 0 h 402"/>
                  <a:gd name="T18" fmla="*/ 216 w 216"/>
                  <a:gd name="T19" fmla="*/ 237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6" h="402">
                    <a:moveTo>
                      <a:pt x="216" y="237"/>
                    </a:moveTo>
                    <a:cubicBezTo>
                      <a:pt x="185" y="320"/>
                      <a:pt x="113" y="355"/>
                      <a:pt x="39" y="388"/>
                    </a:cubicBezTo>
                    <a:cubicBezTo>
                      <a:pt x="30" y="393"/>
                      <a:pt x="20" y="396"/>
                      <a:pt x="10" y="400"/>
                    </a:cubicBezTo>
                    <a:cubicBezTo>
                      <a:pt x="3" y="402"/>
                      <a:pt x="0" y="399"/>
                      <a:pt x="4" y="393"/>
                    </a:cubicBezTo>
                    <a:cubicBezTo>
                      <a:pt x="28" y="354"/>
                      <a:pt x="23" y="311"/>
                      <a:pt x="23" y="269"/>
                    </a:cubicBezTo>
                    <a:cubicBezTo>
                      <a:pt x="23" y="214"/>
                      <a:pt x="23" y="160"/>
                      <a:pt x="23" y="106"/>
                    </a:cubicBezTo>
                    <a:cubicBezTo>
                      <a:pt x="23" y="97"/>
                      <a:pt x="23" y="89"/>
                      <a:pt x="33" y="84"/>
                    </a:cubicBezTo>
                    <a:cubicBezTo>
                      <a:pt x="93" y="57"/>
                      <a:pt x="152" y="29"/>
                      <a:pt x="211" y="1"/>
                    </a:cubicBezTo>
                    <a:cubicBezTo>
                      <a:pt x="213" y="0"/>
                      <a:pt x="214" y="0"/>
                      <a:pt x="216" y="0"/>
                    </a:cubicBezTo>
                    <a:cubicBezTo>
                      <a:pt x="216" y="79"/>
                      <a:pt x="216" y="158"/>
                      <a:pt x="216" y="2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21"/>
              <p:cNvSpPr>
                <a:spLocks/>
              </p:cNvSpPr>
              <p:nvPr/>
            </p:nvSpPr>
            <p:spPr bwMode="auto">
              <a:xfrm>
                <a:off x="4843" y="2161"/>
                <a:ext cx="184" cy="63"/>
              </a:xfrm>
              <a:custGeom>
                <a:avLst/>
                <a:gdLst>
                  <a:gd name="T0" fmla="*/ 689 w 1377"/>
                  <a:gd name="T1" fmla="*/ 0 h 468"/>
                  <a:gd name="T2" fmla="*/ 1073 w 1377"/>
                  <a:gd name="T3" fmla="*/ 42 h 468"/>
                  <a:gd name="T4" fmla="*/ 1298 w 1377"/>
                  <a:gd name="T5" fmla="*/ 141 h 468"/>
                  <a:gd name="T6" fmla="*/ 1369 w 1377"/>
                  <a:gd name="T7" fmla="*/ 235 h 468"/>
                  <a:gd name="T8" fmla="*/ 1372 w 1377"/>
                  <a:gd name="T9" fmla="*/ 308 h 468"/>
                  <a:gd name="T10" fmla="*/ 1350 w 1377"/>
                  <a:gd name="T11" fmla="*/ 330 h 468"/>
                  <a:gd name="T12" fmla="*/ 1252 w 1377"/>
                  <a:gd name="T13" fmla="*/ 383 h 468"/>
                  <a:gd name="T14" fmla="*/ 965 w 1377"/>
                  <a:gd name="T15" fmla="*/ 450 h 468"/>
                  <a:gd name="T16" fmla="*/ 703 w 1377"/>
                  <a:gd name="T17" fmla="*/ 468 h 468"/>
                  <a:gd name="T18" fmla="*/ 472 w 1377"/>
                  <a:gd name="T19" fmla="*/ 457 h 468"/>
                  <a:gd name="T20" fmla="*/ 204 w 1377"/>
                  <a:gd name="T21" fmla="*/ 409 h 468"/>
                  <a:gd name="T22" fmla="*/ 30 w 1377"/>
                  <a:gd name="T23" fmla="*/ 333 h 468"/>
                  <a:gd name="T24" fmla="*/ 4 w 1377"/>
                  <a:gd name="T25" fmla="*/ 284 h 468"/>
                  <a:gd name="T26" fmla="*/ 75 w 1377"/>
                  <a:gd name="T27" fmla="*/ 143 h 468"/>
                  <a:gd name="T28" fmla="*/ 304 w 1377"/>
                  <a:gd name="T29" fmla="*/ 42 h 468"/>
                  <a:gd name="T30" fmla="*/ 584 w 1377"/>
                  <a:gd name="T31" fmla="*/ 3 h 468"/>
                  <a:gd name="T32" fmla="*/ 689 w 1377"/>
                  <a:gd name="T33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7" h="468">
                    <a:moveTo>
                      <a:pt x="689" y="0"/>
                    </a:moveTo>
                    <a:cubicBezTo>
                      <a:pt x="819" y="0"/>
                      <a:pt x="947" y="10"/>
                      <a:pt x="1073" y="42"/>
                    </a:cubicBezTo>
                    <a:cubicBezTo>
                      <a:pt x="1153" y="62"/>
                      <a:pt x="1231" y="90"/>
                      <a:pt x="1298" y="141"/>
                    </a:cubicBezTo>
                    <a:cubicBezTo>
                      <a:pt x="1331" y="165"/>
                      <a:pt x="1357" y="195"/>
                      <a:pt x="1369" y="235"/>
                    </a:cubicBezTo>
                    <a:cubicBezTo>
                      <a:pt x="1377" y="259"/>
                      <a:pt x="1373" y="283"/>
                      <a:pt x="1372" y="308"/>
                    </a:cubicBezTo>
                    <a:cubicBezTo>
                      <a:pt x="1371" y="318"/>
                      <a:pt x="1359" y="324"/>
                      <a:pt x="1350" y="330"/>
                    </a:cubicBezTo>
                    <a:cubicBezTo>
                      <a:pt x="1320" y="353"/>
                      <a:pt x="1287" y="369"/>
                      <a:pt x="1252" y="383"/>
                    </a:cubicBezTo>
                    <a:cubicBezTo>
                      <a:pt x="1159" y="418"/>
                      <a:pt x="1063" y="437"/>
                      <a:pt x="965" y="450"/>
                    </a:cubicBezTo>
                    <a:cubicBezTo>
                      <a:pt x="878" y="462"/>
                      <a:pt x="791" y="467"/>
                      <a:pt x="703" y="468"/>
                    </a:cubicBezTo>
                    <a:cubicBezTo>
                      <a:pt x="626" y="468"/>
                      <a:pt x="549" y="465"/>
                      <a:pt x="472" y="457"/>
                    </a:cubicBezTo>
                    <a:cubicBezTo>
                      <a:pt x="381" y="448"/>
                      <a:pt x="292" y="434"/>
                      <a:pt x="204" y="409"/>
                    </a:cubicBezTo>
                    <a:cubicBezTo>
                      <a:pt x="143" y="391"/>
                      <a:pt x="83" y="370"/>
                      <a:pt x="30" y="333"/>
                    </a:cubicBezTo>
                    <a:cubicBezTo>
                      <a:pt x="12" y="321"/>
                      <a:pt x="5" y="307"/>
                      <a:pt x="4" y="284"/>
                    </a:cubicBezTo>
                    <a:cubicBezTo>
                      <a:pt x="0" y="222"/>
                      <a:pt x="30" y="179"/>
                      <a:pt x="75" y="143"/>
                    </a:cubicBezTo>
                    <a:cubicBezTo>
                      <a:pt x="143" y="90"/>
                      <a:pt x="222" y="63"/>
                      <a:pt x="304" y="42"/>
                    </a:cubicBezTo>
                    <a:cubicBezTo>
                      <a:pt x="396" y="19"/>
                      <a:pt x="489" y="7"/>
                      <a:pt x="584" y="3"/>
                    </a:cubicBezTo>
                    <a:cubicBezTo>
                      <a:pt x="619" y="1"/>
                      <a:pt x="654" y="1"/>
                      <a:pt x="68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22"/>
              <p:cNvSpPr>
                <a:spLocks/>
              </p:cNvSpPr>
              <p:nvPr/>
            </p:nvSpPr>
            <p:spPr bwMode="auto">
              <a:xfrm>
                <a:off x="4843" y="2211"/>
                <a:ext cx="184" cy="56"/>
              </a:xfrm>
              <a:custGeom>
                <a:avLst/>
                <a:gdLst>
                  <a:gd name="T0" fmla="*/ 1 w 1370"/>
                  <a:gd name="T1" fmla="*/ 131 h 418"/>
                  <a:gd name="T2" fmla="*/ 1 w 1370"/>
                  <a:gd name="T3" fmla="*/ 15 h 418"/>
                  <a:gd name="T4" fmla="*/ 14 w 1370"/>
                  <a:gd name="T5" fmla="*/ 7 h 418"/>
                  <a:gd name="T6" fmla="*/ 261 w 1370"/>
                  <a:gd name="T7" fmla="*/ 96 h 418"/>
                  <a:gd name="T8" fmla="*/ 523 w 1370"/>
                  <a:gd name="T9" fmla="*/ 133 h 418"/>
                  <a:gd name="T10" fmla="*/ 761 w 1370"/>
                  <a:gd name="T11" fmla="*/ 138 h 418"/>
                  <a:gd name="T12" fmla="*/ 1236 w 1370"/>
                  <a:gd name="T13" fmla="*/ 62 h 418"/>
                  <a:gd name="T14" fmla="*/ 1354 w 1370"/>
                  <a:gd name="T15" fmla="*/ 8 h 418"/>
                  <a:gd name="T16" fmla="*/ 1370 w 1370"/>
                  <a:gd name="T17" fmla="*/ 17 h 418"/>
                  <a:gd name="T18" fmla="*/ 1370 w 1370"/>
                  <a:gd name="T19" fmla="*/ 245 h 418"/>
                  <a:gd name="T20" fmla="*/ 1357 w 1370"/>
                  <a:gd name="T21" fmla="*/ 270 h 418"/>
                  <a:gd name="T22" fmla="*/ 1220 w 1370"/>
                  <a:gd name="T23" fmla="*/ 341 h 418"/>
                  <a:gd name="T24" fmla="*/ 890 w 1370"/>
                  <a:gd name="T25" fmla="*/ 406 h 418"/>
                  <a:gd name="T26" fmla="*/ 610 w 1370"/>
                  <a:gd name="T27" fmla="*/ 415 h 418"/>
                  <a:gd name="T28" fmla="*/ 160 w 1370"/>
                  <a:gd name="T29" fmla="*/ 344 h 418"/>
                  <a:gd name="T30" fmla="*/ 21 w 1370"/>
                  <a:gd name="T31" fmla="*/ 277 h 418"/>
                  <a:gd name="T32" fmla="*/ 1 w 1370"/>
                  <a:gd name="T33" fmla="*/ 237 h 418"/>
                  <a:gd name="T34" fmla="*/ 1 w 1370"/>
                  <a:gd name="T35" fmla="*/ 131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70" h="418">
                    <a:moveTo>
                      <a:pt x="1" y="131"/>
                    </a:moveTo>
                    <a:cubicBezTo>
                      <a:pt x="2" y="92"/>
                      <a:pt x="2" y="54"/>
                      <a:pt x="1" y="15"/>
                    </a:cubicBezTo>
                    <a:cubicBezTo>
                      <a:pt x="1" y="5"/>
                      <a:pt x="4" y="0"/>
                      <a:pt x="14" y="7"/>
                    </a:cubicBezTo>
                    <a:cubicBezTo>
                      <a:pt x="90" y="54"/>
                      <a:pt x="175" y="78"/>
                      <a:pt x="261" y="96"/>
                    </a:cubicBezTo>
                    <a:cubicBezTo>
                      <a:pt x="347" y="115"/>
                      <a:pt x="435" y="126"/>
                      <a:pt x="523" y="133"/>
                    </a:cubicBezTo>
                    <a:cubicBezTo>
                      <a:pt x="603" y="139"/>
                      <a:pt x="682" y="141"/>
                      <a:pt x="761" y="138"/>
                    </a:cubicBezTo>
                    <a:cubicBezTo>
                      <a:pt x="923" y="131"/>
                      <a:pt x="1082" y="113"/>
                      <a:pt x="1236" y="62"/>
                    </a:cubicBezTo>
                    <a:cubicBezTo>
                      <a:pt x="1277" y="48"/>
                      <a:pt x="1317" y="31"/>
                      <a:pt x="1354" y="8"/>
                    </a:cubicBezTo>
                    <a:cubicBezTo>
                      <a:pt x="1367" y="0"/>
                      <a:pt x="1370" y="1"/>
                      <a:pt x="1370" y="17"/>
                    </a:cubicBezTo>
                    <a:cubicBezTo>
                      <a:pt x="1370" y="93"/>
                      <a:pt x="1370" y="169"/>
                      <a:pt x="1370" y="245"/>
                    </a:cubicBezTo>
                    <a:cubicBezTo>
                      <a:pt x="1370" y="256"/>
                      <a:pt x="1366" y="264"/>
                      <a:pt x="1357" y="270"/>
                    </a:cubicBezTo>
                    <a:cubicBezTo>
                      <a:pt x="1316" y="304"/>
                      <a:pt x="1269" y="324"/>
                      <a:pt x="1220" y="341"/>
                    </a:cubicBezTo>
                    <a:cubicBezTo>
                      <a:pt x="1113" y="377"/>
                      <a:pt x="1002" y="396"/>
                      <a:pt x="890" y="406"/>
                    </a:cubicBezTo>
                    <a:cubicBezTo>
                      <a:pt x="797" y="415"/>
                      <a:pt x="704" y="418"/>
                      <a:pt x="610" y="415"/>
                    </a:cubicBezTo>
                    <a:cubicBezTo>
                      <a:pt x="458" y="409"/>
                      <a:pt x="307" y="392"/>
                      <a:pt x="160" y="344"/>
                    </a:cubicBezTo>
                    <a:cubicBezTo>
                      <a:pt x="111" y="328"/>
                      <a:pt x="64" y="308"/>
                      <a:pt x="21" y="277"/>
                    </a:cubicBezTo>
                    <a:cubicBezTo>
                      <a:pt x="7" y="267"/>
                      <a:pt x="0" y="255"/>
                      <a:pt x="1" y="237"/>
                    </a:cubicBezTo>
                    <a:cubicBezTo>
                      <a:pt x="3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23"/>
              <p:cNvSpPr>
                <a:spLocks/>
              </p:cNvSpPr>
              <p:nvPr/>
            </p:nvSpPr>
            <p:spPr bwMode="auto">
              <a:xfrm>
                <a:off x="4843" y="2255"/>
                <a:ext cx="184" cy="56"/>
              </a:xfrm>
              <a:custGeom>
                <a:avLst/>
                <a:gdLst>
                  <a:gd name="T0" fmla="*/ 1 w 1370"/>
                  <a:gd name="T1" fmla="*/ 131 h 419"/>
                  <a:gd name="T2" fmla="*/ 1 w 1370"/>
                  <a:gd name="T3" fmla="*/ 14 h 419"/>
                  <a:gd name="T4" fmla="*/ 14 w 1370"/>
                  <a:gd name="T5" fmla="*/ 7 h 419"/>
                  <a:gd name="T6" fmla="*/ 307 w 1370"/>
                  <a:gd name="T7" fmla="*/ 107 h 419"/>
                  <a:gd name="T8" fmla="*/ 615 w 1370"/>
                  <a:gd name="T9" fmla="*/ 138 h 419"/>
                  <a:gd name="T10" fmla="*/ 1137 w 1370"/>
                  <a:gd name="T11" fmla="*/ 91 h 419"/>
                  <a:gd name="T12" fmla="*/ 1357 w 1370"/>
                  <a:gd name="T13" fmla="*/ 6 h 419"/>
                  <a:gd name="T14" fmla="*/ 1370 w 1370"/>
                  <a:gd name="T15" fmla="*/ 14 h 419"/>
                  <a:gd name="T16" fmla="*/ 1370 w 1370"/>
                  <a:gd name="T17" fmla="*/ 248 h 419"/>
                  <a:gd name="T18" fmla="*/ 1355 w 1370"/>
                  <a:gd name="T19" fmla="*/ 272 h 419"/>
                  <a:gd name="T20" fmla="*/ 1238 w 1370"/>
                  <a:gd name="T21" fmla="*/ 334 h 419"/>
                  <a:gd name="T22" fmla="*/ 943 w 1370"/>
                  <a:gd name="T23" fmla="*/ 401 h 419"/>
                  <a:gd name="T24" fmla="*/ 637 w 1370"/>
                  <a:gd name="T25" fmla="*/ 416 h 419"/>
                  <a:gd name="T26" fmla="*/ 167 w 1370"/>
                  <a:gd name="T27" fmla="*/ 347 h 419"/>
                  <a:gd name="T28" fmla="*/ 21 w 1370"/>
                  <a:gd name="T29" fmla="*/ 277 h 419"/>
                  <a:gd name="T30" fmla="*/ 1 w 1370"/>
                  <a:gd name="T31" fmla="*/ 238 h 419"/>
                  <a:gd name="T32" fmla="*/ 1 w 1370"/>
                  <a:gd name="T33" fmla="*/ 131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0" h="419">
                    <a:moveTo>
                      <a:pt x="1" y="131"/>
                    </a:moveTo>
                    <a:cubicBezTo>
                      <a:pt x="1" y="92"/>
                      <a:pt x="2" y="53"/>
                      <a:pt x="1" y="14"/>
                    </a:cubicBezTo>
                    <a:cubicBezTo>
                      <a:pt x="1" y="3"/>
                      <a:pt x="4" y="1"/>
                      <a:pt x="14" y="7"/>
                    </a:cubicBezTo>
                    <a:cubicBezTo>
                      <a:pt x="104" y="62"/>
                      <a:pt x="205" y="88"/>
                      <a:pt x="307" y="107"/>
                    </a:cubicBezTo>
                    <a:cubicBezTo>
                      <a:pt x="409" y="127"/>
                      <a:pt x="512" y="135"/>
                      <a:pt x="615" y="138"/>
                    </a:cubicBezTo>
                    <a:cubicBezTo>
                      <a:pt x="791" y="143"/>
                      <a:pt x="966" y="133"/>
                      <a:pt x="1137" y="91"/>
                    </a:cubicBezTo>
                    <a:cubicBezTo>
                      <a:pt x="1214" y="73"/>
                      <a:pt x="1289" y="49"/>
                      <a:pt x="1357" y="6"/>
                    </a:cubicBezTo>
                    <a:cubicBezTo>
                      <a:pt x="1367" y="0"/>
                      <a:pt x="1370" y="4"/>
                      <a:pt x="1370" y="14"/>
                    </a:cubicBezTo>
                    <a:cubicBezTo>
                      <a:pt x="1370" y="92"/>
                      <a:pt x="1370" y="170"/>
                      <a:pt x="1370" y="248"/>
                    </a:cubicBezTo>
                    <a:cubicBezTo>
                      <a:pt x="1370" y="260"/>
                      <a:pt x="1363" y="266"/>
                      <a:pt x="1355" y="272"/>
                    </a:cubicBezTo>
                    <a:cubicBezTo>
                      <a:pt x="1320" y="301"/>
                      <a:pt x="1280" y="319"/>
                      <a:pt x="1238" y="334"/>
                    </a:cubicBezTo>
                    <a:cubicBezTo>
                      <a:pt x="1143" y="370"/>
                      <a:pt x="1044" y="389"/>
                      <a:pt x="943" y="401"/>
                    </a:cubicBezTo>
                    <a:cubicBezTo>
                      <a:pt x="841" y="413"/>
                      <a:pt x="739" y="419"/>
                      <a:pt x="637" y="416"/>
                    </a:cubicBezTo>
                    <a:cubicBezTo>
                      <a:pt x="477" y="411"/>
                      <a:pt x="320" y="395"/>
                      <a:pt x="167" y="347"/>
                    </a:cubicBezTo>
                    <a:cubicBezTo>
                      <a:pt x="115" y="330"/>
                      <a:pt x="65" y="310"/>
                      <a:pt x="21" y="277"/>
                    </a:cubicBezTo>
                    <a:cubicBezTo>
                      <a:pt x="7" y="267"/>
                      <a:pt x="0" y="256"/>
                      <a:pt x="1" y="238"/>
                    </a:cubicBezTo>
                    <a:cubicBezTo>
                      <a:pt x="2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A0C4E7F1-7346-4A46-A777-55C481F872B9}"/>
              </a:ext>
            </a:extLst>
          </p:cNvPr>
          <p:cNvSpPr/>
          <p:nvPr userDrawn="1"/>
        </p:nvSpPr>
        <p:spPr>
          <a:xfrm>
            <a:off x="0" y="657026"/>
            <a:ext cx="12192000" cy="6200975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27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4" name="Группа 3"/>
          <p:cNvGrpSpPr/>
          <p:nvPr userDrawn="1"/>
        </p:nvGrpSpPr>
        <p:grpSpPr>
          <a:xfrm>
            <a:off x="146651" y="90377"/>
            <a:ext cx="802256" cy="446347"/>
            <a:chOff x="146650" y="90376"/>
            <a:chExt cx="802256" cy="446347"/>
          </a:xfrm>
        </p:grpSpPr>
        <p:grpSp>
          <p:nvGrpSpPr>
            <p:cNvPr id="34" name="Группа 33"/>
            <p:cNvGrpSpPr/>
            <p:nvPr userDrawn="1"/>
          </p:nvGrpSpPr>
          <p:grpSpPr>
            <a:xfrm>
              <a:off x="146650" y="90376"/>
              <a:ext cx="802256" cy="446347"/>
              <a:chOff x="3215754" y="3239215"/>
              <a:chExt cx="5277696" cy="2936328"/>
            </a:xfrm>
            <a:solidFill>
              <a:schemeClr val="accent6"/>
            </a:solidFill>
          </p:grpSpPr>
          <p:sp>
            <p:nvSpPr>
              <p:cNvPr id="35" name="Round Diagonal Corner Rectangle 73"/>
              <p:cNvSpPr/>
              <p:nvPr/>
            </p:nvSpPr>
            <p:spPr>
              <a:xfrm rot="16200000" flipV="1">
                <a:off x="4045695" y="2409275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36" name="Round Diagonal Corner Rectangle 73"/>
              <p:cNvSpPr/>
              <p:nvPr/>
            </p:nvSpPr>
            <p:spPr>
              <a:xfrm rot="16200000" flipV="1">
                <a:off x="6763017" y="2409276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37" name="Round Diagonal Corner Rectangle 73"/>
              <p:cNvSpPr/>
              <p:nvPr/>
            </p:nvSpPr>
            <p:spPr>
              <a:xfrm rot="16200000" flipV="1">
                <a:off x="4045695" y="3427192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6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38" name="Round Diagonal Corner Rectangle 73"/>
              <p:cNvSpPr/>
              <p:nvPr/>
            </p:nvSpPr>
            <p:spPr>
              <a:xfrm rot="16200000" flipV="1">
                <a:off x="6763017" y="3427193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4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39" name="Round Diagonal Corner Rectangle 73"/>
              <p:cNvSpPr/>
              <p:nvPr/>
            </p:nvSpPr>
            <p:spPr>
              <a:xfrm rot="16200000" flipV="1">
                <a:off x="5404355" y="3086448"/>
                <a:ext cx="900494" cy="527769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</p:grpSp>
        <p:grpSp>
          <p:nvGrpSpPr>
            <p:cNvPr id="41" name="Group 2"/>
            <p:cNvGrpSpPr/>
            <p:nvPr userDrawn="1"/>
          </p:nvGrpSpPr>
          <p:grpSpPr>
            <a:xfrm>
              <a:off x="298733" y="103728"/>
              <a:ext cx="90401" cy="105401"/>
              <a:chOff x="6670675" y="3513137"/>
              <a:chExt cx="1071561" cy="1249363"/>
            </a:xfrm>
            <a:solidFill>
              <a:schemeClr val="accent6">
                <a:lumMod val="60000"/>
                <a:lumOff val="40000"/>
              </a:schemeClr>
            </a:solidFill>
          </p:grpSpPr>
          <p:grpSp>
            <p:nvGrpSpPr>
              <p:cNvPr id="42" name="Group 115"/>
              <p:cNvGrpSpPr/>
              <p:nvPr/>
            </p:nvGrpSpPr>
            <p:grpSpPr>
              <a:xfrm>
                <a:off x="6670675" y="3513137"/>
                <a:ext cx="700087" cy="1249363"/>
                <a:chOff x="-2524125" y="-798513"/>
                <a:chExt cx="700087" cy="1249363"/>
              </a:xfrm>
              <a:grpFill/>
            </p:grpSpPr>
            <p:sp>
              <p:nvSpPr>
                <p:cNvPr id="44" name="Oval 273"/>
                <p:cNvSpPr>
                  <a:spLocks noChangeArrowheads="1"/>
                </p:cNvSpPr>
                <p:nvPr/>
              </p:nvSpPr>
              <p:spPr bwMode="auto">
                <a:xfrm>
                  <a:off x="-2268538" y="-798513"/>
                  <a:ext cx="200025" cy="23812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45" name="Freeform 274"/>
                <p:cNvSpPr>
                  <a:spLocks noEditPoints="1"/>
                </p:cNvSpPr>
                <p:nvPr/>
              </p:nvSpPr>
              <p:spPr bwMode="auto">
                <a:xfrm>
                  <a:off x="-2524125" y="-536575"/>
                  <a:ext cx="700087" cy="987425"/>
                </a:xfrm>
                <a:custGeom>
                  <a:avLst/>
                  <a:gdLst/>
                  <a:ahLst/>
                  <a:cxnLst>
                    <a:cxn ang="0">
                      <a:pos x="123" y="27"/>
                    </a:cxn>
                    <a:cxn ang="0">
                      <a:pos x="122" y="26"/>
                    </a:cxn>
                    <a:cxn ang="0">
                      <a:pos x="116" y="22"/>
                    </a:cxn>
                    <a:cxn ang="0">
                      <a:pos x="91" y="3"/>
                    </a:cxn>
                    <a:cxn ang="0">
                      <a:pos x="85" y="1"/>
                    </a:cxn>
                    <a:cxn ang="0">
                      <a:pos x="77" y="1"/>
                    </a:cxn>
                    <a:cxn ang="0">
                      <a:pos x="75" y="11"/>
                    </a:cxn>
                    <a:cxn ang="0">
                      <a:pos x="68" y="43"/>
                    </a:cxn>
                    <a:cxn ang="0">
                      <a:pos x="68" y="7"/>
                    </a:cxn>
                    <a:cxn ang="0">
                      <a:pos x="59" y="0"/>
                    </a:cxn>
                    <a:cxn ang="0">
                      <a:pos x="59" y="9"/>
                    </a:cxn>
                    <a:cxn ang="0">
                      <a:pos x="46" y="18"/>
                    </a:cxn>
                    <a:cxn ang="0">
                      <a:pos x="41" y="7"/>
                    </a:cxn>
                    <a:cxn ang="0">
                      <a:pos x="48" y="0"/>
                    </a:cxn>
                    <a:cxn ang="0">
                      <a:pos x="39" y="1"/>
                    </a:cxn>
                    <a:cxn ang="0">
                      <a:pos x="3" y="36"/>
                    </a:cxn>
                    <a:cxn ang="0">
                      <a:pos x="3" y="36"/>
                    </a:cxn>
                    <a:cxn ang="0">
                      <a:pos x="1" y="49"/>
                    </a:cxn>
                    <a:cxn ang="0">
                      <a:pos x="1" y="49"/>
                    </a:cxn>
                    <a:cxn ang="0">
                      <a:pos x="2" y="51"/>
                    </a:cxn>
                    <a:cxn ang="0">
                      <a:pos x="6" y="58"/>
                    </a:cxn>
                    <a:cxn ang="0">
                      <a:pos x="20" y="86"/>
                    </a:cxn>
                    <a:cxn ang="0">
                      <a:pos x="33" y="91"/>
                    </a:cxn>
                    <a:cxn ang="0">
                      <a:pos x="35" y="92"/>
                    </a:cxn>
                    <a:cxn ang="0">
                      <a:pos x="61" y="174"/>
                    </a:cxn>
                    <a:cxn ang="0">
                      <a:pos x="57" y="112"/>
                    </a:cxn>
                    <a:cxn ang="0">
                      <a:pos x="91" y="34"/>
                    </a:cxn>
                    <a:cxn ang="0">
                      <a:pos x="95" y="32"/>
                    </a:cxn>
                    <a:cxn ang="0">
                      <a:pos x="77" y="46"/>
                    </a:cxn>
                    <a:cxn ang="0">
                      <a:pos x="91" y="34"/>
                    </a:cxn>
                    <a:cxn ang="0">
                      <a:pos x="31" y="56"/>
                    </a:cxn>
                    <a:cxn ang="0">
                      <a:pos x="24" y="44"/>
                    </a:cxn>
                    <a:cxn ang="0">
                      <a:pos x="34" y="61"/>
                    </a:cxn>
                  </a:cxnLst>
                  <a:rect l="0" t="0" r="r" b="b"/>
                  <a:pathLst>
                    <a:path w="123" h="174">
                      <a:moveTo>
                        <a:pt x="122" y="42"/>
                      </a:moveTo>
                      <a:cubicBezTo>
                        <a:pt x="122" y="35"/>
                        <a:pt x="123" y="24"/>
                        <a:pt x="123" y="27"/>
                      </a:cubicBezTo>
                      <a:cubicBezTo>
                        <a:pt x="123" y="26"/>
                        <a:pt x="123" y="26"/>
                        <a:pt x="123" y="26"/>
                      </a:cubicBezTo>
                      <a:cubicBezTo>
                        <a:pt x="122" y="26"/>
                        <a:pt x="122" y="26"/>
                        <a:pt x="122" y="26"/>
                      </a:cubicBezTo>
                      <a:cubicBezTo>
                        <a:pt x="120" y="25"/>
                        <a:pt x="120" y="25"/>
                        <a:pt x="120" y="25"/>
                      </a:cubicBezTo>
                      <a:cubicBezTo>
                        <a:pt x="116" y="22"/>
                        <a:pt x="116" y="22"/>
                        <a:pt x="116" y="22"/>
                      </a:cubicBezTo>
                      <a:cubicBezTo>
                        <a:pt x="108" y="15"/>
                        <a:pt x="108" y="15"/>
                        <a:pt x="108" y="15"/>
                      </a:cubicBezTo>
                      <a:cubicBezTo>
                        <a:pt x="91" y="3"/>
                        <a:pt x="91" y="3"/>
                        <a:pt x="91" y="3"/>
                      </a:cubicBezTo>
                      <a:cubicBezTo>
                        <a:pt x="90" y="2"/>
                        <a:pt x="88" y="1"/>
                        <a:pt x="86" y="1"/>
                      </a:cubicBezTo>
                      <a:cubicBezTo>
                        <a:pt x="85" y="1"/>
                        <a:pt x="85" y="1"/>
                        <a:pt x="85" y="1"/>
                      </a:cubicBezTo>
                      <a:cubicBezTo>
                        <a:pt x="83" y="1"/>
                        <a:pt x="80" y="1"/>
                        <a:pt x="77" y="0"/>
                      </a:cubicBez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84" y="7"/>
                        <a:pt x="84" y="7"/>
                        <a:pt x="84" y="7"/>
                      </a:cubicBezTo>
                      <a:cubicBezTo>
                        <a:pt x="75" y="11"/>
                        <a:pt x="75" y="11"/>
                        <a:pt x="75" y="11"/>
                      </a:cubicBezTo>
                      <a:cubicBezTo>
                        <a:pt x="80" y="18"/>
                        <a:pt x="80" y="18"/>
                        <a:pt x="80" y="18"/>
                      </a:cubicBezTo>
                      <a:cubicBezTo>
                        <a:pt x="68" y="43"/>
                        <a:pt x="68" y="43"/>
                        <a:pt x="68" y="43"/>
                      </a:cubicBezTo>
                      <a:cubicBezTo>
                        <a:pt x="67" y="9"/>
                        <a:pt x="67" y="9"/>
                        <a:pt x="67" y="9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7" y="7"/>
                        <a:pt x="57" y="7"/>
                        <a:pt x="57" y="7"/>
                      </a:cubicBezTo>
                      <a:cubicBezTo>
                        <a:pt x="59" y="9"/>
                        <a:pt x="59" y="9"/>
                        <a:pt x="59" y="9"/>
                      </a:cubicBezTo>
                      <a:cubicBezTo>
                        <a:pt x="57" y="43"/>
                        <a:pt x="57" y="43"/>
                        <a:pt x="57" y="43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50" y="11"/>
                        <a:pt x="50" y="11"/>
                        <a:pt x="50" y="11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8" y="1"/>
                        <a:pt x="48" y="1"/>
                        <a:pt x="48" y="1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5" y="1"/>
                        <a:pt x="43" y="1"/>
                        <a:pt x="40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6" y="1"/>
                        <a:pt x="34" y="3"/>
                        <a:pt x="32" y="5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0" y="61"/>
                        <a:pt x="2" y="43"/>
                        <a:pt x="1" y="48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2" y="49"/>
                        <a:pt x="2" y="49"/>
                        <a:pt x="2" y="49"/>
                      </a:cubicBezTo>
                      <a:cubicBezTo>
                        <a:pt x="2" y="51"/>
                        <a:pt x="2" y="51"/>
                        <a:pt x="2" y="51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6" y="58"/>
                        <a:pt x="6" y="58"/>
                        <a:pt x="6" y="58"/>
                      </a:cubicBezTo>
                      <a:cubicBezTo>
                        <a:pt x="11" y="67"/>
                        <a:pt x="11" y="67"/>
                        <a:pt x="11" y="67"/>
                      </a:cubicBezTo>
                      <a:cubicBezTo>
                        <a:pt x="20" y="86"/>
                        <a:pt x="20" y="86"/>
                        <a:pt x="20" y="86"/>
                      </a:cubicBezTo>
                      <a:cubicBezTo>
                        <a:pt x="25" y="84"/>
                        <a:pt x="29" y="82"/>
                        <a:pt x="33" y="79"/>
                      </a:cubicBezTo>
                      <a:cubicBezTo>
                        <a:pt x="33" y="83"/>
                        <a:pt x="33" y="87"/>
                        <a:pt x="33" y="91"/>
                      </a:cubicBezTo>
                      <a:cubicBezTo>
                        <a:pt x="33" y="92"/>
                        <a:pt x="33" y="92"/>
                        <a:pt x="33" y="92"/>
                      </a:cubicBezTo>
                      <a:cubicBezTo>
                        <a:pt x="35" y="92"/>
                        <a:pt x="35" y="92"/>
                        <a:pt x="35" y="92"/>
                      </a:cubicBezTo>
                      <a:cubicBezTo>
                        <a:pt x="38" y="174"/>
                        <a:pt x="38" y="174"/>
                        <a:pt x="38" y="174"/>
                      </a:cubicBezTo>
                      <a:cubicBezTo>
                        <a:pt x="61" y="174"/>
                        <a:pt x="61" y="174"/>
                        <a:pt x="61" y="174"/>
                      </a:cubicBezTo>
                      <a:cubicBezTo>
                        <a:pt x="62" y="163"/>
                        <a:pt x="62" y="150"/>
                        <a:pt x="62" y="137"/>
                      </a:cubicBezTo>
                      <a:cubicBezTo>
                        <a:pt x="59" y="129"/>
                        <a:pt x="57" y="121"/>
                        <a:pt x="57" y="112"/>
                      </a:cubicBezTo>
                      <a:cubicBezTo>
                        <a:pt x="57" y="75"/>
                        <a:pt x="86" y="45"/>
                        <a:pt x="122" y="42"/>
                      </a:cubicBezTo>
                      <a:close/>
                      <a:moveTo>
                        <a:pt x="91" y="34"/>
                      </a:moveTo>
                      <a:cubicBezTo>
                        <a:pt x="91" y="32"/>
                        <a:pt x="91" y="30"/>
                        <a:pt x="90" y="28"/>
                      </a:cubicBezTo>
                      <a:cubicBezTo>
                        <a:pt x="95" y="32"/>
                        <a:pt x="95" y="32"/>
                        <a:pt x="95" y="32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ubicBezTo>
                        <a:pt x="77" y="46"/>
                        <a:pt x="77" y="46"/>
                        <a:pt x="77" y="46"/>
                      </a:cubicBezTo>
                      <a:cubicBezTo>
                        <a:pt x="75" y="43"/>
                        <a:pt x="75" y="43"/>
                        <a:pt x="75" y="43"/>
                      </a:cubicBezTo>
                      <a:lnTo>
                        <a:pt x="91" y="34"/>
                      </a:lnTo>
                      <a:close/>
                      <a:moveTo>
                        <a:pt x="34" y="61"/>
                      </a:moveTo>
                      <a:cubicBezTo>
                        <a:pt x="31" y="56"/>
                        <a:pt x="31" y="56"/>
                        <a:pt x="31" y="56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4" y="44"/>
                        <a:pt x="24" y="44"/>
                        <a:pt x="24" y="44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cubicBezTo>
                        <a:pt x="34" y="41"/>
                        <a:pt x="34" y="51"/>
                        <a:pt x="34" y="6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46" name="Freeform 275"/>
                <p:cNvSpPr>
                  <a:spLocks/>
                </p:cNvSpPr>
                <p:nvPr/>
              </p:nvSpPr>
              <p:spPr bwMode="auto">
                <a:xfrm>
                  <a:off x="-2154238" y="287337"/>
                  <a:ext cx="141287" cy="1635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" y="29"/>
                    </a:cxn>
                    <a:cxn ang="0">
                      <a:pos x="25" y="29"/>
                    </a:cxn>
                    <a:cxn ang="0">
                      <a:pos x="25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5" h="29">
                      <a:moveTo>
                        <a:pt x="0" y="0"/>
                      </a:move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25" y="29"/>
                        <a:pt x="25" y="29"/>
                        <a:pt x="25" y="29"/>
                      </a:cubicBezTo>
                      <a:cubicBezTo>
                        <a:pt x="25" y="28"/>
                        <a:pt x="25" y="27"/>
                        <a:pt x="25" y="26"/>
                      </a:cubicBezTo>
                      <a:cubicBezTo>
                        <a:pt x="15" y="19"/>
                        <a:pt x="6" y="10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</p:grpSp>
          <p:sp>
            <p:nvSpPr>
              <p:cNvPr id="43" name="Freeform 209"/>
              <p:cNvSpPr>
                <a:spLocks noEditPoints="1"/>
              </p:cNvSpPr>
              <p:nvPr/>
            </p:nvSpPr>
            <p:spPr bwMode="auto">
              <a:xfrm>
                <a:off x="7032625" y="4046538"/>
                <a:ext cx="709611" cy="709611"/>
              </a:xfrm>
              <a:custGeom>
                <a:avLst/>
                <a:gdLst/>
                <a:ahLst/>
                <a:cxnLst>
                  <a:cxn ang="0">
                    <a:pos x="114" y="40"/>
                  </a:cxn>
                  <a:cxn ang="0">
                    <a:pos x="109" y="41"/>
                  </a:cxn>
                  <a:cxn ang="0">
                    <a:pos x="103" y="34"/>
                  </a:cxn>
                  <a:cxn ang="0">
                    <a:pos x="109" y="25"/>
                  </a:cxn>
                  <a:cxn ang="0">
                    <a:pos x="96" y="16"/>
                  </a:cxn>
                  <a:cxn ang="0">
                    <a:pos x="88" y="19"/>
                  </a:cxn>
                  <a:cxn ang="0">
                    <a:pos x="87" y="10"/>
                  </a:cxn>
                  <a:cxn ang="0">
                    <a:pos x="74" y="2"/>
                  </a:cxn>
                  <a:cxn ang="0">
                    <a:pos x="70" y="3"/>
                  </a:cxn>
                  <a:cxn ang="0">
                    <a:pos x="59" y="10"/>
                  </a:cxn>
                  <a:cxn ang="0">
                    <a:pos x="55" y="0"/>
                  </a:cxn>
                  <a:cxn ang="0">
                    <a:pos x="47" y="2"/>
                  </a:cxn>
                  <a:cxn ang="0">
                    <a:pos x="45" y="2"/>
                  </a:cxn>
                  <a:cxn ang="0">
                    <a:pos x="40" y="6"/>
                  </a:cxn>
                  <a:cxn ang="0">
                    <a:pos x="34" y="16"/>
                  </a:cxn>
                  <a:cxn ang="0">
                    <a:pos x="26" y="11"/>
                  </a:cxn>
                  <a:cxn ang="0">
                    <a:pos x="16" y="19"/>
                  </a:cxn>
                  <a:cxn ang="0">
                    <a:pos x="21" y="29"/>
                  </a:cxn>
                  <a:cxn ang="0">
                    <a:pos x="14" y="34"/>
                  </a:cxn>
                  <a:cxn ang="0">
                    <a:pos x="6" y="34"/>
                  </a:cxn>
                  <a:cxn ang="0">
                    <a:pos x="2" y="46"/>
                  </a:cxn>
                  <a:cxn ang="0">
                    <a:pos x="10" y="52"/>
                  </a:cxn>
                  <a:cxn ang="0">
                    <a:pos x="3" y="61"/>
                  </a:cxn>
                  <a:cxn ang="0">
                    <a:pos x="2" y="77"/>
                  </a:cxn>
                  <a:cxn ang="0">
                    <a:pos x="13" y="78"/>
                  </a:cxn>
                  <a:cxn ang="0">
                    <a:pos x="11" y="89"/>
                  </a:cxn>
                  <a:cxn ang="0">
                    <a:pos x="19" y="103"/>
                  </a:cxn>
                  <a:cxn ang="0">
                    <a:pos x="29" y="99"/>
                  </a:cxn>
                  <a:cxn ang="0">
                    <a:pos x="33" y="110"/>
                  </a:cxn>
                  <a:cxn ang="0">
                    <a:pos x="46" y="118"/>
                  </a:cxn>
                  <a:cxn ang="0">
                    <a:pos x="52" y="109"/>
                  </a:cxn>
                  <a:cxn ang="0">
                    <a:pos x="61" y="117"/>
                  </a:cxn>
                  <a:cxn ang="0">
                    <a:pos x="77" y="117"/>
                  </a:cxn>
                  <a:cxn ang="0">
                    <a:pos x="78" y="106"/>
                  </a:cxn>
                  <a:cxn ang="0">
                    <a:pos x="90" y="108"/>
                  </a:cxn>
                  <a:cxn ang="0">
                    <a:pos x="103" y="101"/>
                  </a:cxn>
                  <a:cxn ang="0">
                    <a:pos x="99" y="91"/>
                  </a:cxn>
                  <a:cxn ang="0">
                    <a:pos x="110" y="87"/>
                  </a:cxn>
                  <a:cxn ang="0">
                    <a:pos x="118" y="73"/>
                  </a:cxn>
                  <a:cxn ang="0">
                    <a:pos x="109" y="67"/>
                  </a:cxn>
                  <a:cxn ang="0">
                    <a:pos x="117" y="58"/>
                  </a:cxn>
                  <a:cxn ang="0">
                    <a:pos x="117" y="44"/>
                  </a:cxn>
                  <a:cxn ang="0">
                    <a:pos x="23" y="67"/>
                  </a:cxn>
                  <a:cxn ang="0">
                    <a:pos x="24" y="47"/>
                  </a:cxn>
                  <a:cxn ang="0">
                    <a:pos x="50" y="23"/>
                  </a:cxn>
                  <a:cxn ang="0">
                    <a:pos x="51" y="39"/>
                  </a:cxn>
                  <a:cxn ang="0">
                    <a:pos x="47" y="41"/>
                  </a:cxn>
                  <a:cxn ang="0">
                    <a:pos x="37" y="60"/>
                  </a:cxn>
                  <a:cxn ang="0">
                    <a:pos x="66" y="97"/>
                  </a:cxn>
                  <a:cxn ang="0">
                    <a:pos x="48" y="79"/>
                  </a:cxn>
                  <a:cxn ang="0">
                    <a:pos x="68" y="81"/>
                  </a:cxn>
                  <a:cxn ang="0">
                    <a:pos x="66" y="97"/>
                  </a:cxn>
                  <a:cxn ang="0">
                    <a:pos x="82" y="64"/>
                  </a:cxn>
                  <a:cxn ang="0">
                    <a:pos x="74" y="42"/>
                  </a:cxn>
                  <a:cxn ang="0">
                    <a:pos x="74" y="25"/>
                  </a:cxn>
                  <a:cxn ang="0">
                    <a:pos x="89" y="36"/>
                  </a:cxn>
                  <a:cxn ang="0">
                    <a:pos x="97" y="53"/>
                  </a:cxn>
                </a:cxnLst>
                <a:rect l="0" t="0" r="r" b="b"/>
                <a:pathLst>
                  <a:path w="119" h="119">
                    <a:moveTo>
                      <a:pt x="117" y="42"/>
                    </a:moveTo>
                    <a:cubicBezTo>
                      <a:pt x="117" y="41"/>
                      <a:pt x="115" y="40"/>
                      <a:pt x="114" y="40"/>
                    </a:cubicBezTo>
                    <a:cubicBezTo>
                      <a:pt x="114" y="40"/>
                      <a:pt x="113" y="40"/>
                      <a:pt x="113" y="40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6" y="41"/>
                      <a:pt x="106" y="41"/>
                      <a:pt x="106" y="41"/>
                    </a:cubicBezTo>
                    <a:cubicBezTo>
                      <a:pt x="105" y="39"/>
                      <a:pt x="104" y="37"/>
                      <a:pt x="103" y="34"/>
                    </a:cubicBezTo>
                    <a:cubicBezTo>
                      <a:pt x="108" y="30"/>
                      <a:pt x="108" y="30"/>
                      <a:pt x="108" y="30"/>
                    </a:cubicBezTo>
                    <a:cubicBezTo>
                      <a:pt x="110" y="29"/>
                      <a:pt x="110" y="27"/>
                      <a:pt x="109" y="25"/>
                    </a:cubicBezTo>
                    <a:cubicBezTo>
                      <a:pt x="101" y="16"/>
                      <a:pt x="101" y="16"/>
                      <a:pt x="101" y="16"/>
                    </a:cubicBezTo>
                    <a:cubicBezTo>
                      <a:pt x="100" y="15"/>
                      <a:pt x="98" y="15"/>
                      <a:pt x="96" y="16"/>
                    </a:cubicBezTo>
                    <a:cubicBezTo>
                      <a:pt x="91" y="21"/>
                      <a:pt x="91" y="21"/>
                      <a:pt x="91" y="21"/>
                    </a:cubicBezTo>
                    <a:cubicBezTo>
                      <a:pt x="90" y="20"/>
                      <a:pt x="89" y="19"/>
                      <a:pt x="88" y="19"/>
                    </a:cubicBezTo>
                    <a:cubicBezTo>
                      <a:pt x="87" y="18"/>
                      <a:pt x="86" y="17"/>
                      <a:pt x="84" y="16"/>
                    </a:cubicBezTo>
                    <a:cubicBezTo>
                      <a:pt x="87" y="10"/>
                      <a:pt x="87" y="10"/>
                      <a:pt x="87" y="10"/>
                    </a:cubicBezTo>
                    <a:cubicBezTo>
                      <a:pt x="87" y="8"/>
                      <a:pt x="87" y="6"/>
                      <a:pt x="85" y="6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2" y="1"/>
                      <a:pt x="70" y="2"/>
                      <a:pt x="70" y="3"/>
                    </a:cubicBezTo>
                    <a:cubicBezTo>
                      <a:pt x="67" y="10"/>
                      <a:pt x="67" y="10"/>
                      <a:pt x="67" y="10"/>
                    </a:cubicBezTo>
                    <a:cubicBezTo>
                      <a:pt x="65" y="10"/>
                      <a:pt x="62" y="10"/>
                      <a:pt x="59" y="10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58" y="1"/>
                      <a:pt x="56" y="0"/>
                      <a:pt x="55" y="0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1" y="3"/>
                      <a:pt x="40" y="4"/>
                      <a:pt x="40" y="6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9" y="14"/>
                      <a:pt x="37" y="15"/>
                      <a:pt x="34" y="16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10"/>
                      <a:pt x="27" y="10"/>
                      <a:pt x="26" y="11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5" y="20"/>
                      <a:pt x="15" y="22"/>
                      <a:pt x="16" y="23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19" y="31"/>
                      <a:pt x="18" y="33"/>
                      <a:pt x="16" y="35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8" y="32"/>
                      <a:pt x="6" y="33"/>
                      <a:pt x="6" y="3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1" y="47"/>
                      <a:pt x="2" y="49"/>
                      <a:pt x="3" y="50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0" y="55"/>
                      <a:pt x="10" y="57"/>
                      <a:pt x="10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0" y="63"/>
                      <a:pt x="0" y="65"/>
                    </a:cubicBezTo>
                    <a:cubicBezTo>
                      <a:pt x="2" y="77"/>
                      <a:pt x="2" y="77"/>
                      <a:pt x="2" y="77"/>
                    </a:cubicBezTo>
                    <a:cubicBezTo>
                      <a:pt x="3" y="78"/>
                      <a:pt x="4" y="80"/>
                      <a:pt x="6" y="79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4" y="80"/>
                      <a:pt x="15" y="83"/>
                      <a:pt x="17" y="85"/>
                    </a:cubicBezTo>
                    <a:cubicBezTo>
                      <a:pt x="11" y="89"/>
                      <a:pt x="11" y="89"/>
                      <a:pt x="11" y="89"/>
                    </a:cubicBezTo>
                    <a:cubicBezTo>
                      <a:pt x="10" y="91"/>
                      <a:pt x="10" y="92"/>
                      <a:pt x="11" y="94"/>
                    </a:cubicBezTo>
                    <a:cubicBezTo>
                      <a:pt x="19" y="103"/>
                      <a:pt x="19" y="103"/>
                      <a:pt x="19" y="103"/>
                    </a:cubicBezTo>
                    <a:cubicBezTo>
                      <a:pt x="20" y="104"/>
                      <a:pt x="22" y="105"/>
                      <a:pt x="23" y="103"/>
                    </a:cubicBezTo>
                    <a:cubicBezTo>
                      <a:pt x="29" y="99"/>
                      <a:pt x="29" y="99"/>
                      <a:pt x="29" y="99"/>
                    </a:cubicBezTo>
                    <a:cubicBezTo>
                      <a:pt x="31" y="100"/>
                      <a:pt x="33" y="102"/>
                      <a:pt x="35" y="103"/>
                    </a:cubicBezTo>
                    <a:cubicBezTo>
                      <a:pt x="33" y="110"/>
                      <a:pt x="33" y="110"/>
                      <a:pt x="33" y="110"/>
                    </a:cubicBezTo>
                    <a:cubicBezTo>
                      <a:pt x="32" y="111"/>
                      <a:pt x="33" y="113"/>
                      <a:pt x="34" y="114"/>
                    </a:cubicBezTo>
                    <a:cubicBezTo>
                      <a:pt x="46" y="118"/>
                      <a:pt x="46" y="118"/>
                      <a:pt x="46" y="118"/>
                    </a:cubicBezTo>
                    <a:cubicBezTo>
                      <a:pt x="48" y="118"/>
                      <a:pt x="49" y="118"/>
                      <a:pt x="50" y="116"/>
                    </a:cubicBezTo>
                    <a:cubicBezTo>
                      <a:pt x="52" y="109"/>
                      <a:pt x="52" y="109"/>
                      <a:pt x="52" y="109"/>
                    </a:cubicBezTo>
                    <a:cubicBezTo>
                      <a:pt x="55" y="109"/>
                      <a:pt x="57" y="110"/>
                      <a:pt x="60" y="110"/>
                    </a:cubicBezTo>
                    <a:cubicBezTo>
                      <a:pt x="61" y="117"/>
                      <a:pt x="61" y="117"/>
                      <a:pt x="61" y="117"/>
                    </a:cubicBezTo>
                    <a:cubicBezTo>
                      <a:pt x="62" y="118"/>
                      <a:pt x="63" y="119"/>
                      <a:pt x="65" y="119"/>
                    </a:cubicBezTo>
                    <a:cubicBezTo>
                      <a:pt x="77" y="117"/>
                      <a:pt x="77" y="117"/>
                      <a:pt x="77" y="117"/>
                    </a:cubicBezTo>
                    <a:cubicBezTo>
                      <a:pt x="79" y="117"/>
                      <a:pt x="80" y="115"/>
                      <a:pt x="79" y="113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80" y="105"/>
                      <a:pt x="83" y="104"/>
                      <a:pt x="85" y="103"/>
                    </a:cubicBezTo>
                    <a:cubicBezTo>
                      <a:pt x="90" y="108"/>
                      <a:pt x="90" y="108"/>
                      <a:pt x="90" y="108"/>
                    </a:cubicBezTo>
                    <a:cubicBezTo>
                      <a:pt x="91" y="109"/>
                      <a:pt x="93" y="110"/>
                      <a:pt x="94" y="108"/>
                    </a:cubicBezTo>
                    <a:cubicBezTo>
                      <a:pt x="103" y="101"/>
                      <a:pt x="103" y="101"/>
                      <a:pt x="103" y="101"/>
                    </a:cubicBezTo>
                    <a:cubicBezTo>
                      <a:pt x="104" y="100"/>
                      <a:pt x="105" y="98"/>
                      <a:pt x="104" y="96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0" y="89"/>
                      <a:pt x="102" y="87"/>
                      <a:pt x="103" y="84"/>
                    </a:cubicBezTo>
                    <a:cubicBezTo>
                      <a:pt x="110" y="87"/>
                      <a:pt x="110" y="87"/>
                      <a:pt x="110" y="87"/>
                    </a:cubicBezTo>
                    <a:cubicBezTo>
                      <a:pt x="111" y="87"/>
                      <a:pt x="113" y="86"/>
                      <a:pt x="114" y="85"/>
                    </a:cubicBezTo>
                    <a:cubicBezTo>
                      <a:pt x="118" y="73"/>
                      <a:pt x="118" y="73"/>
                      <a:pt x="118" y="73"/>
                    </a:cubicBezTo>
                    <a:cubicBezTo>
                      <a:pt x="118" y="72"/>
                      <a:pt x="118" y="70"/>
                      <a:pt x="116" y="69"/>
                    </a:cubicBezTo>
                    <a:cubicBezTo>
                      <a:pt x="109" y="67"/>
                      <a:pt x="109" y="67"/>
                      <a:pt x="109" y="67"/>
                    </a:cubicBezTo>
                    <a:cubicBezTo>
                      <a:pt x="110" y="64"/>
                      <a:pt x="110" y="62"/>
                      <a:pt x="110" y="59"/>
                    </a:cubicBezTo>
                    <a:cubicBezTo>
                      <a:pt x="117" y="58"/>
                      <a:pt x="117" y="58"/>
                      <a:pt x="117" y="58"/>
                    </a:cubicBezTo>
                    <a:cubicBezTo>
                      <a:pt x="118" y="58"/>
                      <a:pt x="119" y="56"/>
                      <a:pt x="119" y="54"/>
                    </a:cubicBezTo>
                    <a:cubicBezTo>
                      <a:pt x="117" y="44"/>
                      <a:pt x="117" y="44"/>
                      <a:pt x="117" y="44"/>
                    </a:cubicBezTo>
                    <a:lnTo>
                      <a:pt x="117" y="42"/>
                    </a:lnTo>
                    <a:close/>
                    <a:moveTo>
                      <a:pt x="23" y="67"/>
                    </a:moveTo>
                    <a:cubicBezTo>
                      <a:pt x="23" y="66"/>
                      <a:pt x="23" y="66"/>
                      <a:pt x="23" y="66"/>
                    </a:cubicBezTo>
                    <a:cubicBezTo>
                      <a:pt x="22" y="60"/>
                      <a:pt x="22" y="53"/>
                      <a:pt x="24" y="47"/>
                    </a:cubicBezTo>
                    <a:cubicBezTo>
                      <a:pt x="28" y="37"/>
                      <a:pt x="36" y="28"/>
                      <a:pt x="47" y="24"/>
                    </a:cubicBezTo>
                    <a:cubicBezTo>
                      <a:pt x="48" y="24"/>
                      <a:pt x="49" y="24"/>
                      <a:pt x="50" y="23"/>
                    </a:cubicBezTo>
                    <a:cubicBezTo>
                      <a:pt x="51" y="23"/>
                      <a:pt x="52" y="23"/>
                      <a:pt x="52" y="23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49" y="39"/>
                      <a:pt x="48" y="40"/>
                      <a:pt x="47" y="41"/>
                    </a:cubicBezTo>
                    <a:cubicBezTo>
                      <a:pt x="42" y="44"/>
                      <a:pt x="39" y="50"/>
                      <a:pt x="38" y="56"/>
                    </a:cubicBezTo>
                    <a:cubicBezTo>
                      <a:pt x="37" y="57"/>
                      <a:pt x="37" y="59"/>
                      <a:pt x="37" y="60"/>
                    </a:cubicBezTo>
                    <a:lnTo>
                      <a:pt x="23" y="67"/>
                    </a:lnTo>
                    <a:close/>
                    <a:moveTo>
                      <a:pt x="66" y="97"/>
                    </a:moveTo>
                    <a:cubicBezTo>
                      <a:pt x="54" y="99"/>
                      <a:pt x="41" y="95"/>
                      <a:pt x="33" y="86"/>
                    </a:cubicBezTo>
                    <a:cubicBezTo>
                      <a:pt x="48" y="79"/>
                      <a:pt x="48" y="79"/>
                      <a:pt x="48" y="79"/>
                    </a:cubicBezTo>
                    <a:cubicBezTo>
                      <a:pt x="52" y="82"/>
                      <a:pt x="58" y="83"/>
                      <a:pt x="64" y="82"/>
                    </a:cubicBezTo>
                    <a:cubicBezTo>
                      <a:pt x="65" y="82"/>
                      <a:pt x="67" y="81"/>
                      <a:pt x="68" y="81"/>
                    </a:cubicBezTo>
                    <a:cubicBezTo>
                      <a:pt x="82" y="90"/>
                      <a:pt x="82" y="90"/>
                      <a:pt x="82" y="90"/>
                    </a:cubicBezTo>
                    <a:cubicBezTo>
                      <a:pt x="77" y="93"/>
                      <a:pt x="72" y="96"/>
                      <a:pt x="66" y="97"/>
                    </a:cubicBezTo>
                    <a:close/>
                    <a:moveTo>
                      <a:pt x="95" y="73"/>
                    </a:moveTo>
                    <a:cubicBezTo>
                      <a:pt x="82" y="64"/>
                      <a:pt x="82" y="64"/>
                      <a:pt x="82" y="64"/>
                    </a:cubicBezTo>
                    <a:cubicBezTo>
                      <a:pt x="82" y="62"/>
                      <a:pt x="83" y="59"/>
                      <a:pt x="82" y="56"/>
                    </a:cubicBezTo>
                    <a:cubicBezTo>
                      <a:pt x="81" y="50"/>
                      <a:pt x="78" y="45"/>
                      <a:pt x="74" y="42"/>
                    </a:cubicBezTo>
                    <a:cubicBezTo>
                      <a:pt x="73" y="42"/>
                      <a:pt x="73" y="41"/>
                      <a:pt x="72" y="41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80" y="27"/>
                      <a:pt x="85" y="31"/>
                      <a:pt x="89" y="36"/>
                    </a:cubicBezTo>
                    <a:cubicBezTo>
                      <a:pt x="91" y="38"/>
                      <a:pt x="93" y="41"/>
                      <a:pt x="94" y="44"/>
                    </a:cubicBezTo>
                    <a:cubicBezTo>
                      <a:pt x="95" y="47"/>
                      <a:pt x="96" y="50"/>
                      <a:pt x="97" y="53"/>
                    </a:cubicBezTo>
                    <a:cubicBezTo>
                      <a:pt x="98" y="60"/>
                      <a:pt x="97" y="67"/>
                      <a:pt x="95" y="7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</p:grpSp>
        <p:grpSp>
          <p:nvGrpSpPr>
            <p:cNvPr id="47" name="Group 4"/>
            <p:cNvGrpSpPr>
              <a:grpSpLocks noChangeAspect="1"/>
            </p:cNvGrpSpPr>
            <p:nvPr userDrawn="1"/>
          </p:nvGrpSpPr>
          <p:grpSpPr bwMode="auto">
            <a:xfrm>
              <a:off x="713661" y="113741"/>
              <a:ext cx="69318" cy="90152"/>
              <a:chOff x="3655" y="1900"/>
              <a:chExt cx="366" cy="476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48" name="Freeform 5"/>
              <p:cNvSpPr>
                <a:spLocks noEditPoints="1"/>
              </p:cNvSpPr>
              <p:nvPr/>
            </p:nvSpPr>
            <p:spPr bwMode="auto">
              <a:xfrm>
                <a:off x="3953" y="1971"/>
                <a:ext cx="68" cy="132"/>
              </a:xfrm>
              <a:custGeom>
                <a:avLst/>
                <a:gdLst>
                  <a:gd name="T0" fmla="*/ 31 w 38"/>
                  <a:gd name="T1" fmla="*/ 74 h 74"/>
                  <a:gd name="T2" fmla="*/ 27 w 38"/>
                  <a:gd name="T3" fmla="*/ 73 h 74"/>
                  <a:gd name="T4" fmla="*/ 18 w 38"/>
                  <a:gd name="T5" fmla="*/ 52 h 74"/>
                  <a:gd name="T6" fmla="*/ 17 w 38"/>
                  <a:gd name="T7" fmla="*/ 49 h 74"/>
                  <a:gd name="T8" fmla="*/ 2 w 38"/>
                  <a:gd name="T9" fmla="*/ 10 h 74"/>
                  <a:gd name="T10" fmla="*/ 4 w 38"/>
                  <a:gd name="T11" fmla="*/ 2 h 74"/>
                  <a:gd name="T12" fmla="*/ 12 w 38"/>
                  <a:gd name="T13" fmla="*/ 4 h 74"/>
                  <a:gd name="T14" fmla="*/ 29 w 38"/>
                  <a:gd name="T15" fmla="*/ 46 h 74"/>
                  <a:gd name="T16" fmla="*/ 29 w 38"/>
                  <a:gd name="T17" fmla="*/ 48 h 74"/>
                  <a:gd name="T18" fmla="*/ 30 w 38"/>
                  <a:gd name="T19" fmla="*/ 49 h 74"/>
                  <a:gd name="T20" fmla="*/ 34 w 38"/>
                  <a:gd name="T21" fmla="*/ 63 h 74"/>
                  <a:gd name="T22" fmla="*/ 36 w 38"/>
                  <a:gd name="T23" fmla="*/ 72 h 74"/>
                  <a:gd name="T24" fmla="*/ 31 w 38"/>
                  <a:gd name="T25" fmla="*/ 74 h 74"/>
                  <a:gd name="T26" fmla="*/ 31 w 38"/>
                  <a:gd name="T27" fmla="*/ 74 h 74"/>
                  <a:gd name="T28" fmla="*/ 31 w 38"/>
                  <a:gd name="T2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74">
                    <a:moveTo>
                      <a:pt x="31" y="74"/>
                    </a:moveTo>
                    <a:cubicBezTo>
                      <a:pt x="29" y="74"/>
                      <a:pt x="28" y="74"/>
                      <a:pt x="27" y="73"/>
                    </a:cubicBezTo>
                    <a:cubicBezTo>
                      <a:pt x="23" y="70"/>
                      <a:pt x="19" y="60"/>
                      <a:pt x="18" y="52"/>
                    </a:cubicBezTo>
                    <a:cubicBezTo>
                      <a:pt x="17" y="52"/>
                      <a:pt x="17" y="51"/>
                      <a:pt x="17" y="49"/>
                    </a:cubicBezTo>
                    <a:cubicBezTo>
                      <a:pt x="15" y="43"/>
                      <a:pt x="11" y="26"/>
                      <a:pt x="2" y="10"/>
                    </a:cubicBezTo>
                    <a:cubicBezTo>
                      <a:pt x="0" y="7"/>
                      <a:pt x="1" y="3"/>
                      <a:pt x="4" y="2"/>
                    </a:cubicBezTo>
                    <a:cubicBezTo>
                      <a:pt x="7" y="0"/>
                      <a:pt x="11" y="1"/>
                      <a:pt x="12" y="4"/>
                    </a:cubicBezTo>
                    <a:cubicBezTo>
                      <a:pt x="23" y="21"/>
                      <a:pt x="27" y="39"/>
                      <a:pt x="29" y="46"/>
                    </a:cubicBezTo>
                    <a:cubicBezTo>
                      <a:pt x="29" y="47"/>
                      <a:pt x="29" y="48"/>
                      <a:pt x="29" y="48"/>
                    </a:cubicBezTo>
                    <a:cubicBezTo>
                      <a:pt x="29" y="48"/>
                      <a:pt x="30" y="49"/>
                      <a:pt x="30" y="49"/>
                    </a:cubicBezTo>
                    <a:cubicBezTo>
                      <a:pt x="31" y="55"/>
                      <a:pt x="33" y="62"/>
                      <a:pt x="34" y="63"/>
                    </a:cubicBezTo>
                    <a:cubicBezTo>
                      <a:pt x="37" y="65"/>
                      <a:pt x="38" y="69"/>
                      <a:pt x="36" y="72"/>
                    </a:cubicBezTo>
                    <a:cubicBezTo>
                      <a:pt x="34" y="73"/>
                      <a:pt x="32" y="74"/>
                      <a:pt x="31" y="74"/>
                    </a:cubicBezTo>
                    <a:close/>
                    <a:moveTo>
                      <a:pt x="31" y="74"/>
                    </a:moveTo>
                    <a:cubicBezTo>
                      <a:pt x="31" y="74"/>
                      <a:pt x="31" y="74"/>
                      <a:pt x="31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9" name="Freeform 6"/>
              <p:cNvSpPr>
                <a:spLocks noEditPoints="1"/>
              </p:cNvSpPr>
              <p:nvPr/>
            </p:nvSpPr>
            <p:spPr bwMode="auto">
              <a:xfrm>
                <a:off x="3810" y="1900"/>
                <a:ext cx="143" cy="62"/>
              </a:xfrm>
              <a:custGeom>
                <a:avLst/>
                <a:gdLst>
                  <a:gd name="T0" fmla="*/ 74 w 80"/>
                  <a:gd name="T1" fmla="*/ 35 h 35"/>
                  <a:gd name="T2" fmla="*/ 69 w 80"/>
                  <a:gd name="T3" fmla="*/ 34 h 35"/>
                  <a:gd name="T4" fmla="*/ 25 w 80"/>
                  <a:gd name="T5" fmla="*/ 12 h 35"/>
                  <a:gd name="T6" fmla="*/ 8 w 80"/>
                  <a:gd name="T7" fmla="*/ 14 h 35"/>
                  <a:gd name="T8" fmla="*/ 1 w 80"/>
                  <a:gd name="T9" fmla="*/ 9 h 35"/>
                  <a:gd name="T10" fmla="*/ 6 w 80"/>
                  <a:gd name="T11" fmla="*/ 2 h 35"/>
                  <a:gd name="T12" fmla="*/ 26 w 80"/>
                  <a:gd name="T13" fmla="*/ 0 h 35"/>
                  <a:gd name="T14" fmla="*/ 26 w 80"/>
                  <a:gd name="T15" fmla="*/ 0 h 35"/>
                  <a:gd name="T16" fmla="*/ 78 w 80"/>
                  <a:gd name="T17" fmla="*/ 25 h 35"/>
                  <a:gd name="T18" fmla="*/ 78 w 80"/>
                  <a:gd name="T19" fmla="*/ 34 h 35"/>
                  <a:gd name="T20" fmla="*/ 74 w 80"/>
                  <a:gd name="T21" fmla="*/ 35 h 35"/>
                  <a:gd name="T22" fmla="*/ 74 w 80"/>
                  <a:gd name="T23" fmla="*/ 35 h 35"/>
                  <a:gd name="T24" fmla="*/ 74 w 80"/>
                  <a:gd name="T2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35">
                    <a:moveTo>
                      <a:pt x="74" y="35"/>
                    </a:moveTo>
                    <a:cubicBezTo>
                      <a:pt x="72" y="35"/>
                      <a:pt x="70" y="35"/>
                      <a:pt x="69" y="34"/>
                    </a:cubicBezTo>
                    <a:cubicBezTo>
                      <a:pt x="57" y="21"/>
                      <a:pt x="42" y="14"/>
                      <a:pt x="25" y="12"/>
                    </a:cubicBezTo>
                    <a:cubicBezTo>
                      <a:pt x="19" y="12"/>
                      <a:pt x="14" y="13"/>
                      <a:pt x="8" y="14"/>
                    </a:cubicBezTo>
                    <a:cubicBezTo>
                      <a:pt x="5" y="14"/>
                      <a:pt x="2" y="12"/>
                      <a:pt x="1" y="9"/>
                    </a:cubicBezTo>
                    <a:cubicBezTo>
                      <a:pt x="0" y="5"/>
                      <a:pt x="3" y="2"/>
                      <a:pt x="6" y="2"/>
                    </a:cubicBezTo>
                    <a:cubicBezTo>
                      <a:pt x="12" y="0"/>
                      <a:pt x="19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46" y="2"/>
                      <a:pt x="64" y="10"/>
                      <a:pt x="78" y="25"/>
                    </a:cubicBezTo>
                    <a:cubicBezTo>
                      <a:pt x="80" y="27"/>
                      <a:pt x="80" y="31"/>
                      <a:pt x="78" y="34"/>
                    </a:cubicBezTo>
                    <a:cubicBezTo>
                      <a:pt x="77" y="35"/>
                      <a:pt x="75" y="35"/>
                      <a:pt x="74" y="35"/>
                    </a:cubicBezTo>
                    <a:close/>
                    <a:moveTo>
                      <a:pt x="74" y="35"/>
                    </a:moveTo>
                    <a:cubicBezTo>
                      <a:pt x="74" y="35"/>
                      <a:pt x="74" y="35"/>
                      <a:pt x="74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0" name="Freeform 7"/>
              <p:cNvSpPr>
                <a:spLocks noEditPoints="1"/>
              </p:cNvSpPr>
              <p:nvPr/>
            </p:nvSpPr>
            <p:spPr bwMode="auto">
              <a:xfrm>
                <a:off x="3657" y="1927"/>
                <a:ext cx="120" cy="119"/>
              </a:xfrm>
              <a:custGeom>
                <a:avLst/>
                <a:gdLst>
                  <a:gd name="T0" fmla="*/ 6 w 67"/>
                  <a:gd name="T1" fmla="*/ 67 h 67"/>
                  <a:gd name="T2" fmla="*/ 5 w 67"/>
                  <a:gd name="T3" fmla="*/ 67 h 67"/>
                  <a:gd name="T4" fmla="*/ 0 w 67"/>
                  <a:gd name="T5" fmla="*/ 62 h 67"/>
                  <a:gd name="T6" fmla="*/ 3 w 67"/>
                  <a:gd name="T7" fmla="*/ 56 h 67"/>
                  <a:gd name="T8" fmla="*/ 4 w 67"/>
                  <a:gd name="T9" fmla="*/ 55 h 67"/>
                  <a:gd name="T10" fmla="*/ 14 w 67"/>
                  <a:gd name="T11" fmla="*/ 46 h 67"/>
                  <a:gd name="T12" fmla="*/ 15 w 67"/>
                  <a:gd name="T13" fmla="*/ 44 h 67"/>
                  <a:gd name="T14" fmla="*/ 24 w 67"/>
                  <a:gd name="T15" fmla="*/ 33 h 67"/>
                  <a:gd name="T16" fmla="*/ 56 w 67"/>
                  <a:gd name="T17" fmla="*/ 2 h 67"/>
                  <a:gd name="T18" fmla="*/ 65 w 67"/>
                  <a:gd name="T19" fmla="*/ 3 h 67"/>
                  <a:gd name="T20" fmla="*/ 63 w 67"/>
                  <a:gd name="T21" fmla="*/ 12 h 67"/>
                  <a:gd name="T22" fmla="*/ 33 w 67"/>
                  <a:gd name="T23" fmla="*/ 41 h 67"/>
                  <a:gd name="T24" fmla="*/ 25 w 67"/>
                  <a:gd name="T25" fmla="*/ 51 h 67"/>
                  <a:gd name="T26" fmla="*/ 24 w 67"/>
                  <a:gd name="T27" fmla="*/ 53 h 67"/>
                  <a:gd name="T28" fmla="*/ 14 w 67"/>
                  <a:gd name="T29" fmla="*/ 63 h 67"/>
                  <a:gd name="T30" fmla="*/ 6 w 67"/>
                  <a:gd name="T31" fmla="*/ 67 h 67"/>
                  <a:gd name="T32" fmla="*/ 6 w 67"/>
                  <a:gd name="T33" fmla="*/ 67 h 67"/>
                  <a:gd name="T34" fmla="*/ 6 w 67"/>
                  <a:gd name="T3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7" h="67">
                    <a:moveTo>
                      <a:pt x="6" y="67"/>
                    </a:moveTo>
                    <a:cubicBezTo>
                      <a:pt x="6" y="67"/>
                      <a:pt x="6" y="67"/>
                      <a:pt x="5" y="67"/>
                    </a:cubicBezTo>
                    <a:cubicBezTo>
                      <a:pt x="3" y="66"/>
                      <a:pt x="1" y="64"/>
                      <a:pt x="0" y="62"/>
                    </a:cubicBezTo>
                    <a:cubicBezTo>
                      <a:pt x="0" y="59"/>
                      <a:pt x="1" y="57"/>
                      <a:pt x="3" y="56"/>
                    </a:cubicBezTo>
                    <a:cubicBezTo>
                      <a:pt x="3" y="55"/>
                      <a:pt x="4" y="55"/>
                      <a:pt x="4" y="55"/>
                    </a:cubicBezTo>
                    <a:cubicBezTo>
                      <a:pt x="6" y="54"/>
                      <a:pt x="10" y="51"/>
                      <a:pt x="14" y="46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8" y="41"/>
                      <a:pt x="20" y="37"/>
                      <a:pt x="24" y="33"/>
                    </a:cubicBezTo>
                    <a:cubicBezTo>
                      <a:pt x="34" y="20"/>
                      <a:pt x="45" y="10"/>
                      <a:pt x="56" y="2"/>
                    </a:cubicBezTo>
                    <a:cubicBezTo>
                      <a:pt x="59" y="0"/>
                      <a:pt x="63" y="1"/>
                      <a:pt x="65" y="3"/>
                    </a:cubicBezTo>
                    <a:cubicBezTo>
                      <a:pt x="67" y="6"/>
                      <a:pt x="66" y="10"/>
                      <a:pt x="63" y="12"/>
                    </a:cubicBezTo>
                    <a:cubicBezTo>
                      <a:pt x="53" y="19"/>
                      <a:pt x="43" y="29"/>
                      <a:pt x="33" y="41"/>
                    </a:cubicBezTo>
                    <a:cubicBezTo>
                      <a:pt x="30" y="45"/>
                      <a:pt x="27" y="48"/>
                      <a:pt x="25" y="51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0" y="58"/>
                      <a:pt x="17" y="61"/>
                      <a:pt x="14" y="63"/>
                    </a:cubicBezTo>
                    <a:cubicBezTo>
                      <a:pt x="10" y="66"/>
                      <a:pt x="8" y="67"/>
                      <a:pt x="6" y="67"/>
                    </a:cubicBezTo>
                    <a:close/>
                    <a:moveTo>
                      <a:pt x="6" y="67"/>
                    </a:moveTo>
                    <a:cubicBezTo>
                      <a:pt x="6" y="67"/>
                      <a:pt x="6" y="67"/>
                      <a:pt x="6" y="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1" name="Freeform 8"/>
              <p:cNvSpPr>
                <a:spLocks noEditPoints="1"/>
              </p:cNvSpPr>
              <p:nvPr/>
            </p:nvSpPr>
            <p:spPr bwMode="auto">
              <a:xfrm>
                <a:off x="3655" y="2114"/>
                <a:ext cx="81" cy="44"/>
              </a:xfrm>
              <a:custGeom>
                <a:avLst/>
                <a:gdLst>
                  <a:gd name="T0" fmla="*/ 7 w 45"/>
                  <a:gd name="T1" fmla="*/ 25 h 25"/>
                  <a:gd name="T2" fmla="*/ 1 w 45"/>
                  <a:gd name="T3" fmla="*/ 21 h 25"/>
                  <a:gd name="T4" fmla="*/ 6 w 45"/>
                  <a:gd name="T5" fmla="*/ 13 h 25"/>
                  <a:gd name="T6" fmla="*/ 35 w 45"/>
                  <a:gd name="T7" fmla="*/ 1 h 25"/>
                  <a:gd name="T8" fmla="*/ 44 w 45"/>
                  <a:gd name="T9" fmla="*/ 4 h 25"/>
                  <a:gd name="T10" fmla="*/ 41 w 45"/>
                  <a:gd name="T11" fmla="*/ 12 h 25"/>
                  <a:gd name="T12" fmla="*/ 9 w 45"/>
                  <a:gd name="T13" fmla="*/ 25 h 25"/>
                  <a:gd name="T14" fmla="*/ 7 w 45"/>
                  <a:gd name="T15" fmla="*/ 25 h 25"/>
                  <a:gd name="T16" fmla="*/ 7 w 45"/>
                  <a:gd name="T17" fmla="*/ 25 h 25"/>
                  <a:gd name="T18" fmla="*/ 7 w 45"/>
                  <a:gd name="T1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5" h="25">
                    <a:moveTo>
                      <a:pt x="7" y="25"/>
                    </a:moveTo>
                    <a:cubicBezTo>
                      <a:pt x="4" y="25"/>
                      <a:pt x="2" y="24"/>
                      <a:pt x="1" y="21"/>
                    </a:cubicBezTo>
                    <a:cubicBezTo>
                      <a:pt x="0" y="17"/>
                      <a:pt x="2" y="14"/>
                      <a:pt x="6" y="13"/>
                    </a:cubicBezTo>
                    <a:cubicBezTo>
                      <a:pt x="17" y="10"/>
                      <a:pt x="28" y="5"/>
                      <a:pt x="35" y="1"/>
                    </a:cubicBezTo>
                    <a:cubicBezTo>
                      <a:pt x="38" y="0"/>
                      <a:pt x="42" y="1"/>
                      <a:pt x="44" y="4"/>
                    </a:cubicBezTo>
                    <a:cubicBezTo>
                      <a:pt x="45" y="7"/>
                      <a:pt x="44" y="11"/>
                      <a:pt x="41" y="12"/>
                    </a:cubicBezTo>
                    <a:cubicBezTo>
                      <a:pt x="33" y="16"/>
                      <a:pt x="21" y="22"/>
                      <a:pt x="9" y="25"/>
                    </a:cubicBezTo>
                    <a:cubicBezTo>
                      <a:pt x="8" y="25"/>
                      <a:pt x="8" y="25"/>
                      <a:pt x="7" y="25"/>
                    </a:cubicBezTo>
                    <a:close/>
                    <a:moveTo>
                      <a:pt x="7" y="25"/>
                    </a:moveTo>
                    <a:cubicBezTo>
                      <a:pt x="7" y="25"/>
                      <a:pt x="7" y="25"/>
                      <a:pt x="7" y="2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2" name="Freeform 9"/>
              <p:cNvSpPr>
                <a:spLocks noEditPoints="1"/>
              </p:cNvSpPr>
              <p:nvPr/>
            </p:nvSpPr>
            <p:spPr bwMode="auto">
              <a:xfrm>
                <a:off x="3738" y="1989"/>
                <a:ext cx="211" cy="132"/>
              </a:xfrm>
              <a:custGeom>
                <a:avLst/>
                <a:gdLst>
                  <a:gd name="T0" fmla="*/ 7 w 118"/>
                  <a:gd name="T1" fmla="*/ 74 h 74"/>
                  <a:gd name="T2" fmla="*/ 2 w 118"/>
                  <a:gd name="T3" fmla="*/ 71 h 74"/>
                  <a:gd name="T4" fmla="*/ 3 w 118"/>
                  <a:gd name="T5" fmla="*/ 63 h 74"/>
                  <a:gd name="T6" fmla="*/ 45 w 118"/>
                  <a:gd name="T7" fmla="*/ 27 h 74"/>
                  <a:gd name="T8" fmla="*/ 94 w 118"/>
                  <a:gd name="T9" fmla="*/ 5 h 74"/>
                  <a:gd name="T10" fmla="*/ 117 w 118"/>
                  <a:gd name="T11" fmla="*/ 27 h 74"/>
                  <a:gd name="T12" fmla="*/ 113 w 118"/>
                  <a:gd name="T13" fmla="*/ 34 h 74"/>
                  <a:gd name="T14" fmla="*/ 105 w 118"/>
                  <a:gd name="T15" fmla="*/ 30 h 74"/>
                  <a:gd name="T16" fmla="*/ 90 w 118"/>
                  <a:gd name="T17" fmla="*/ 17 h 74"/>
                  <a:gd name="T18" fmla="*/ 54 w 118"/>
                  <a:gd name="T19" fmla="*/ 35 h 74"/>
                  <a:gd name="T20" fmla="*/ 10 w 118"/>
                  <a:gd name="T21" fmla="*/ 73 h 74"/>
                  <a:gd name="T22" fmla="*/ 7 w 118"/>
                  <a:gd name="T23" fmla="*/ 74 h 74"/>
                  <a:gd name="T24" fmla="*/ 7 w 118"/>
                  <a:gd name="T25" fmla="*/ 74 h 74"/>
                  <a:gd name="T26" fmla="*/ 7 w 118"/>
                  <a:gd name="T27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8" h="74">
                    <a:moveTo>
                      <a:pt x="7" y="74"/>
                    </a:moveTo>
                    <a:cubicBezTo>
                      <a:pt x="5" y="74"/>
                      <a:pt x="3" y="73"/>
                      <a:pt x="2" y="71"/>
                    </a:cubicBezTo>
                    <a:cubicBezTo>
                      <a:pt x="0" y="69"/>
                      <a:pt x="0" y="65"/>
                      <a:pt x="3" y="63"/>
                    </a:cubicBezTo>
                    <a:cubicBezTo>
                      <a:pt x="25" y="48"/>
                      <a:pt x="45" y="27"/>
                      <a:pt x="45" y="27"/>
                    </a:cubicBezTo>
                    <a:cubicBezTo>
                      <a:pt x="61" y="8"/>
                      <a:pt x="79" y="0"/>
                      <a:pt x="94" y="5"/>
                    </a:cubicBezTo>
                    <a:cubicBezTo>
                      <a:pt x="109" y="9"/>
                      <a:pt x="115" y="19"/>
                      <a:pt x="117" y="27"/>
                    </a:cubicBezTo>
                    <a:cubicBezTo>
                      <a:pt x="118" y="30"/>
                      <a:pt x="116" y="33"/>
                      <a:pt x="113" y="34"/>
                    </a:cubicBezTo>
                    <a:cubicBezTo>
                      <a:pt x="110" y="35"/>
                      <a:pt x="106" y="34"/>
                      <a:pt x="105" y="30"/>
                    </a:cubicBezTo>
                    <a:cubicBezTo>
                      <a:pt x="103" y="24"/>
                      <a:pt x="98" y="19"/>
                      <a:pt x="90" y="17"/>
                    </a:cubicBezTo>
                    <a:cubicBezTo>
                      <a:pt x="79" y="13"/>
                      <a:pt x="64" y="24"/>
                      <a:pt x="54" y="35"/>
                    </a:cubicBezTo>
                    <a:cubicBezTo>
                      <a:pt x="52" y="38"/>
                      <a:pt x="32" y="58"/>
                      <a:pt x="10" y="73"/>
                    </a:cubicBezTo>
                    <a:cubicBezTo>
                      <a:pt x="9" y="74"/>
                      <a:pt x="8" y="74"/>
                      <a:pt x="7" y="74"/>
                    </a:cubicBezTo>
                    <a:close/>
                    <a:moveTo>
                      <a:pt x="7" y="74"/>
                    </a:moveTo>
                    <a:cubicBezTo>
                      <a:pt x="7" y="74"/>
                      <a:pt x="7" y="74"/>
                      <a:pt x="7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3" name="Freeform 10"/>
              <p:cNvSpPr>
                <a:spLocks noEditPoints="1"/>
              </p:cNvSpPr>
              <p:nvPr/>
            </p:nvSpPr>
            <p:spPr bwMode="auto">
              <a:xfrm>
                <a:off x="3677" y="2071"/>
                <a:ext cx="269" cy="203"/>
              </a:xfrm>
              <a:custGeom>
                <a:avLst/>
                <a:gdLst>
                  <a:gd name="T0" fmla="*/ 7 w 150"/>
                  <a:gd name="T1" fmla="*/ 114 h 114"/>
                  <a:gd name="T2" fmla="*/ 1 w 150"/>
                  <a:gd name="T3" fmla="*/ 110 h 114"/>
                  <a:gd name="T4" fmla="*/ 4 w 150"/>
                  <a:gd name="T5" fmla="*/ 102 h 114"/>
                  <a:gd name="T6" fmla="*/ 82 w 150"/>
                  <a:gd name="T7" fmla="*/ 58 h 114"/>
                  <a:gd name="T8" fmla="*/ 138 w 150"/>
                  <a:gd name="T9" fmla="*/ 5 h 114"/>
                  <a:gd name="T10" fmla="*/ 146 w 150"/>
                  <a:gd name="T11" fmla="*/ 1 h 114"/>
                  <a:gd name="T12" fmla="*/ 149 w 150"/>
                  <a:gd name="T13" fmla="*/ 9 h 114"/>
                  <a:gd name="T14" fmla="*/ 89 w 150"/>
                  <a:gd name="T15" fmla="*/ 69 h 114"/>
                  <a:gd name="T16" fmla="*/ 9 w 150"/>
                  <a:gd name="T17" fmla="*/ 113 h 114"/>
                  <a:gd name="T18" fmla="*/ 7 w 150"/>
                  <a:gd name="T19" fmla="*/ 114 h 114"/>
                  <a:gd name="T20" fmla="*/ 7 w 150"/>
                  <a:gd name="T21" fmla="*/ 114 h 114"/>
                  <a:gd name="T22" fmla="*/ 7 w 150"/>
                  <a:gd name="T23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0" h="114">
                    <a:moveTo>
                      <a:pt x="7" y="114"/>
                    </a:moveTo>
                    <a:cubicBezTo>
                      <a:pt x="4" y="114"/>
                      <a:pt x="2" y="113"/>
                      <a:pt x="1" y="110"/>
                    </a:cubicBezTo>
                    <a:cubicBezTo>
                      <a:pt x="0" y="107"/>
                      <a:pt x="1" y="103"/>
                      <a:pt x="4" y="102"/>
                    </a:cubicBezTo>
                    <a:cubicBezTo>
                      <a:pt x="31" y="91"/>
                      <a:pt x="68" y="68"/>
                      <a:pt x="82" y="58"/>
                    </a:cubicBezTo>
                    <a:cubicBezTo>
                      <a:pt x="112" y="39"/>
                      <a:pt x="131" y="20"/>
                      <a:pt x="138" y="5"/>
                    </a:cubicBezTo>
                    <a:cubicBezTo>
                      <a:pt x="139" y="2"/>
                      <a:pt x="143" y="0"/>
                      <a:pt x="146" y="1"/>
                    </a:cubicBezTo>
                    <a:cubicBezTo>
                      <a:pt x="149" y="3"/>
                      <a:pt x="150" y="6"/>
                      <a:pt x="149" y="9"/>
                    </a:cubicBezTo>
                    <a:cubicBezTo>
                      <a:pt x="140" y="33"/>
                      <a:pt x="111" y="54"/>
                      <a:pt x="89" y="69"/>
                    </a:cubicBezTo>
                    <a:cubicBezTo>
                      <a:pt x="74" y="78"/>
                      <a:pt x="36" y="102"/>
                      <a:pt x="9" y="113"/>
                    </a:cubicBezTo>
                    <a:cubicBezTo>
                      <a:pt x="8" y="114"/>
                      <a:pt x="8" y="114"/>
                      <a:pt x="7" y="114"/>
                    </a:cubicBezTo>
                    <a:close/>
                    <a:moveTo>
                      <a:pt x="7" y="114"/>
                    </a:moveTo>
                    <a:cubicBezTo>
                      <a:pt x="7" y="114"/>
                      <a:pt x="7" y="114"/>
                      <a:pt x="7" y="1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4" name="Freeform 11"/>
              <p:cNvSpPr>
                <a:spLocks noEditPoints="1"/>
              </p:cNvSpPr>
              <p:nvPr/>
            </p:nvSpPr>
            <p:spPr bwMode="auto">
              <a:xfrm>
                <a:off x="3766" y="1946"/>
                <a:ext cx="112" cy="73"/>
              </a:xfrm>
              <a:custGeom>
                <a:avLst/>
                <a:gdLst>
                  <a:gd name="T0" fmla="*/ 15 w 62"/>
                  <a:gd name="T1" fmla="*/ 35 h 41"/>
                  <a:gd name="T2" fmla="*/ 33 w 62"/>
                  <a:gd name="T3" fmla="*/ 21 h 41"/>
                  <a:gd name="T4" fmla="*/ 56 w 62"/>
                  <a:gd name="T5" fmla="*/ 13 h 41"/>
                  <a:gd name="T6" fmla="*/ 62 w 62"/>
                  <a:gd name="T7" fmla="*/ 7 h 41"/>
                  <a:gd name="T8" fmla="*/ 56 w 62"/>
                  <a:gd name="T9" fmla="*/ 0 h 41"/>
                  <a:gd name="T10" fmla="*/ 6 w 62"/>
                  <a:gd name="T11" fmla="*/ 26 h 41"/>
                  <a:gd name="T12" fmla="*/ 15 w 62"/>
                  <a:gd name="T13" fmla="*/ 35 h 41"/>
                  <a:gd name="T14" fmla="*/ 15 w 62"/>
                  <a:gd name="T15" fmla="*/ 35 h 41"/>
                  <a:gd name="T16" fmla="*/ 15 w 62"/>
                  <a:gd name="T17" fmla="*/ 3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41">
                    <a:moveTo>
                      <a:pt x="15" y="35"/>
                    </a:moveTo>
                    <a:cubicBezTo>
                      <a:pt x="20" y="30"/>
                      <a:pt x="26" y="25"/>
                      <a:pt x="33" y="21"/>
                    </a:cubicBezTo>
                    <a:cubicBezTo>
                      <a:pt x="40" y="17"/>
                      <a:pt x="48" y="14"/>
                      <a:pt x="56" y="13"/>
                    </a:cubicBezTo>
                    <a:cubicBezTo>
                      <a:pt x="59" y="13"/>
                      <a:pt x="62" y="10"/>
                      <a:pt x="62" y="7"/>
                    </a:cubicBezTo>
                    <a:cubicBezTo>
                      <a:pt x="62" y="4"/>
                      <a:pt x="59" y="0"/>
                      <a:pt x="56" y="0"/>
                    </a:cubicBezTo>
                    <a:cubicBezTo>
                      <a:pt x="36" y="3"/>
                      <a:pt x="20" y="13"/>
                      <a:pt x="6" y="26"/>
                    </a:cubicBezTo>
                    <a:cubicBezTo>
                      <a:pt x="0" y="32"/>
                      <a:pt x="9" y="41"/>
                      <a:pt x="15" y="35"/>
                    </a:cubicBezTo>
                    <a:close/>
                    <a:moveTo>
                      <a:pt x="15" y="35"/>
                    </a:moveTo>
                    <a:cubicBezTo>
                      <a:pt x="15" y="35"/>
                      <a:pt x="15" y="35"/>
                      <a:pt x="15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5" name="Freeform 12"/>
              <p:cNvSpPr>
                <a:spLocks noEditPoints="1"/>
              </p:cNvSpPr>
              <p:nvPr/>
            </p:nvSpPr>
            <p:spPr bwMode="auto">
              <a:xfrm>
                <a:off x="3661" y="2023"/>
                <a:ext cx="105" cy="78"/>
              </a:xfrm>
              <a:custGeom>
                <a:avLst/>
                <a:gdLst>
                  <a:gd name="T0" fmla="*/ 8 w 59"/>
                  <a:gd name="T1" fmla="*/ 43 h 44"/>
                  <a:gd name="T2" fmla="*/ 32 w 59"/>
                  <a:gd name="T3" fmla="*/ 32 h 44"/>
                  <a:gd name="T4" fmla="*/ 54 w 59"/>
                  <a:gd name="T5" fmla="*/ 14 h 44"/>
                  <a:gd name="T6" fmla="*/ 45 w 59"/>
                  <a:gd name="T7" fmla="*/ 6 h 44"/>
                  <a:gd name="T8" fmla="*/ 26 w 59"/>
                  <a:gd name="T9" fmla="*/ 21 h 44"/>
                  <a:gd name="T10" fmla="*/ 5 w 59"/>
                  <a:gd name="T11" fmla="*/ 31 h 44"/>
                  <a:gd name="T12" fmla="*/ 1 w 59"/>
                  <a:gd name="T13" fmla="*/ 39 h 44"/>
                  <a:gd name="T14" fmla="*/ 8 w 59"/>
                  <a:gd name="T15" fmla="*/ 43 h 44"/>
                  <a:gd name="T16" fmla="*/ 8 w 59"/>
                  <a:gd name="T17" fmla="*/ 43 h 44"/>
                  <a:gd name="T18" fmla="*/ 8 w 59"/>
                  <a:gd name="T1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44">
                    <a:moveTo>
                      <a:pt x="8" y="43"/>
                    </a:moveTo>
                    <a:cubicBezTo>
                      <a:pt x="17" y="41"/>
                      <a:pt x="24" y="36"/>
                      <a:pt x="32" y="32"/>
                    </a:cubicBezTo>
                    <a:cubicBezTo>
                      <a:pt x="40" y="28"/>
                      <a:pt x="47" y="21"/>
                      <a:pt x="54" y="14"/>
                    </a:cubicBezTo>
                    <a:cubicBezTo>
                      <a:pt x="59" y="9"/>
                      <a:pt x="50" y="0"/>
                      <a:pt x="45" y="6"/>
                    </a:cubicBezTo>
                    <a:cubicBezTo>
                      <a:pt x="39" y="12"/>
                      <a:pt x="33" y="17"/>
                      <a:pt x="26" y="21"/>
                    </a:cubicBezTo>
                    <a:cubicBezTo>
                      <a:pt x="19" y="25"/>
                      <a:pt x="12" y="29"/>
                      <a:pt x="5" y="31"/>
                    </a:cubicBezTo>
                    <a:cubicBezTo>
                      <a:pt x="2" y="32"/>
                      <a:pt x="0" y="36"/>
                      <a:pt x="1" y="39"/>
                    </a:cubicBezTo>
                    <a:cubicBezTo>
                      <a:pt x="1" y="42"/>
                      <a:pt x="5" y="44"/>
                      <a:pt x="8" y="43"/>
                    </a:cubicBezTo>
                    <a:close/>
                    <a:moveTo>
                      <a:pt x="8" y="43"/>
                    </a:moveTo>
                    <a:cubicBezTo>
                      <a:pt x="8" y="43"/>
                      <a:pt x="8" y="43"/>
                      <a:pt x="8" y="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6" name="Freeform 13"/>
              <p:cNvSpPr>
                <a:spLocks noEditPoints="1"/>
              </p:cNvSpPr>
              <p:nvPr/>
            </p:nvSpPr>
            <p:spPr bwMode="auto">
              <a:xfrm>
                <a:off x="3824" y="2046"/>
                <a:ext cx="75" cy="78"/>
              </a:xfrm>
              <a:custGeom>
                <a:avLst/>
                <a:gdLst>
                  <a:gd name="T0" fmla="*/ 7 w 42"/>
                  <a:gd name="T1" fmla="*/ 44 h 44"/>
                  <a:gd name="T2" fmla="*/ 3 w 42"/>
                  <a:gd name="T3" fmla="*/ 42 h 44"/>
                  <a:gd name="T4" fmla="*/ 3 w 42"/>
                  <a:gd name="T5" fmla="*/ 33 h 44"/>
                  <a:gd name="T6" fmla="*/ 30 w 42"/>
                  <a:gd name="T7" fmla="*/ 4 h 44"/>
                  <a:gd name="T8" fmla="*/ 39 w 42"/>
                  <a:gd name="T9" fmla="*/ 2 h 44"/>
                  <a:gd name="T10" fmla="*/ 40 w 42"/>
                  <a:gd name="T11" fmla="*/ 11 h 44"/>
                  <a:gd name="T12" fmla="*/ 11 w 42"/>
                  <a:gd name="T13" fmla="*/ 43 h 44"/>
                  <a:gd name="T14" fmla="*/ 7 w 42"/>
                  <a:gd name="T15" fmla="*/ 44 h 44"/>
                  <a:gd name="T16" fmla="*/ 7 w 42"/>
                  <a:gd name="T17" fmla="*/ 44 h 44"/>
                  <a:gd name="T18" fmla="*/ 7 w 42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" h="44">
                    <a:moveTo>
                      <a:pt x="7" y="44"/>
                    </a:moveTo>
                    <a:cubicBezTo>
                      <a:pt x="6" y="44"/>
                      <a:pt x="4" y="44"/>
                      <a:pt x="3" y="42"/>
                    </a:cubicBezTo>
                    <a:cubicBezTo>
                      <a:pt x="0" y="40"/>
                      <a:pt x="1" y="36"/>
                      <a:pt x="3" y="33"/>
                    </a:cubicBezTo>
                    <a:cubicBezTo>
                      <a:pt x="14" y="24"/>
                      <a:pt x="23" y="14"/>
                      <a:pt x="30" y="4"/>
                    </a:cubicBezTo>
                    <a:cubicBezTo>
                      <a:pt x="32" y="1"/>
                      <a:pt x="36" y="0"/>
                      <a:pt x="39" y="2"/>
                    </a:cubicBezTo>
                    <a:cubicBezTo>
                      <a:pt x="42" y="4"/>
                      <a:pt x="42" y="8"/>
                      <a:pt x="40" y="11"/>
                    </a:cubicBezTo>
                    <a:cubicBezTo>
                      <a:pt x="33" y="22"/>
                      <a:pt x="23" y="33"/>
                      <a:pt x="11" y="43"/>
                    </a:cubicBezTo>
                    <a:cubicBezTo>
                      <a:pt x="10" y="44"/>
                      <a:pt x="9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7" name="Freeform 14"/>
              <p:cNvSpPr>
                <a:spLocks noEditPoints="1"/>
              </p:cNvSpPr>
              <p:nvPr/>
            </p:nvSpPr>
            <p:spPr bwMode="auto">
              <a:xfrm>
                <a:off x="3662" y="2139"/>
                <a:ext cx="139" cy="78"/>
              </a:xfrm>
              <a:custGeom>
                <a:avLst/>
                <a:gdLst>
                  <a:gd name="T0" fmla="*/ 7 w 77"/>
                  <a:gd name="T1" fmla="*/ 44 h 44"/>
                  <a:gd name="T2" fmla="*/ 1 w 77"/>
                  <a:gd name="T3" fmla="*/ 40 h 44"/>
                  <a:gd name="T4" fmla="*/ 5 w 77"/>
                  <a:gd name="T5" fmla="*/ 32 h 44"/>
                  <a:gd name="T6" fmla="*/ 5 w 77"/>
                  <a:gd name="T7" fmla="*/ 32 h 44"/>
                  <a:gd name="T8" fmla="*/ 47 w 77"/>
                  <a:gd name="T9" fmla="*/ 13 h 44"/>
                  <a:gd name="T10" fmla="*/ 67 w 77"/>
                  <a:gd name="T11" fmla="*/ 1 h 44"/>
                  <a:gd name="T12" fmla="*/ 75 w 77"/>
                  <a:gd name="T13" fmla="*/ 3 h 44"/>
                  <a:gd name="T14" fmla="*/ 74 w 77"/>
                  <a:gd name="T15" fmla="*/ 12 h 44"/>
                  <a:gd name="T16" fmla="*/ 53 w 77"/>
                  <a:gd name="T17" fmla="*/ 24 h 44"/>
                  <a:gd name="T18" fmla="*/ 9 w 77"/>
                  <a:gd name="T19" fmla="*/ 44 h 44"/>
                  <a:gd name="T20" fmla="*/ 9 w 77"/>
                  <a:gd name="T21" fmla="*/ 44 h 44"/>
                  <a:gd name="T22" fmla="*/ 7 w 77"/>
                  <a:gd name="T23" fmla="*/ 44 h 44"/>
                  <a:gd name="T24" fmla="*/ 7 w 77"/>
                  <a:gd name="T25" fmla="*/ 44 h 44"/>
                  <a:gd name="T26" fmla="*/ 7 w 77"/>
                  <a:gd name="T2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7" h="44">
                    <a:moveTo>
                      <a:pt x="7" y="44"/>
                    </a:moveTo>
                    <a:cubicBezTo>
                      <a:pt x="4" y="44"/>
                      <a:pt x="2" y="43"/>
                      <a:pt x="1" y="40"/>
                    </a:cubicBezTo>
                    <a:cubicBezTo>
                      <a:pt x="0" y="37"/>
                      <a:pt x="2" y="33"/>
                      <a:pt x="5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11" y="30"/>
                      <a:pt x="28" y="24"/>
                      <a:pt x="47" y="13"/>
                    </a:cubicBezTo>
                    <a:cubicBezTo>
                      <a:pt x="54" y="9"/>
                      <a:pt x="61" y="5"/>
                      <a:pt x="67" y="1"/>
                    </a:cubicBezTo>
                    <a:cubicBezTo>
                      <a:pt x="70" y="0"/>
                      <a:pt x="73" y="0"/>
                      <a:pt x="75" y="3"/>
                    </a:cubicBezTo>
                    <a:cubicBezTo>
                      <a:pt x="77" y="6"/>
                      <a:pt x="76" y="10"/>
                      <a:pt x="74" y="12"/>
                    </a:cubicBezTo>
                    <a:cubicBezTo>
                      <a:pt x="67" y="16"/>
                      <a:pt x="60" y="20"/>
                      <a:pt x="53" y="24"/>
                    </a:cubicBezTo>
                    <a:cubicBezTo>
                      <a:pt x="33" y="35"/>
                      <a:pt x="16" y="41"/>
                      <a:pt x="9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8" y="44"/>
                      <a:pt x="8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8" name="Freeform 15"/>
              <p:cNvSpPr>
                <a:spLocks noEditPoints="1"/>
              </p:cNvSpPr>
              <p:nvPr/>
            </p:nvSpPr>
            <p:spPr bwMode="auto">
              <a:xfrm>
                <a:off x="3801" y="2215"/>
                <a:ext cx="190" cy="89"/>
              </a:xfrm>
              <a:custGeom>
                <a:avLst/>
                <a:gdLst>
                  <a:gd name="T0" fmla="*/ 99 w 106"/>
                  <a:gd name="T1" fmla="*/ 50 h 50"/>
                  <a:gd name="T2" fmla="*/ 97 w 106"/>
                  <a:gd name="T3" fmla="*/ 49 h 50"/>
                  <a:gd name="T4" fmla="*/ 64 w 106"/>
                  <a:gd name="T5" fmla="*/ 30 h 50"/>
                  <a:gd name="T6" fmla="*/ 36 w 106"/>
                  <a:gd name="T7" fmla="*/ 14 h 50"/>
                  <a:gd name="T8" fmla="*/ 10 w 106"/>
                  <a:gd name="T9" fmla="*/ 29 h 50"/>
                  <a:gd name="T10" fmla="*/ 1 w 106"/>
                  <a:gd name="T11" fmla="*/ 27 h 50"/>
                  <a:gd name="T12" fmla="*/ 3 w 106"/>
                  <a:gd name="T13" fmla="*/ 18 h 50"/>
                  <a:gd name="T14" fmla="*/ 34 w 106"/>
                  <a:gd name="T15" fmla="*/ 2 h 50"/>
                  <a:gd name="T16" fmla="*/ 71 w 106"/>
                  <a:gd name="T17" fmla="*/ 20 h 50"/>
                  <a:gd name="T18" fmla="*/ 101 w 106"/>
                  <a:gd name="T19" fmla="*/ 37 h 50"/>
                  <a:gd name="T20" fmla="*/ 105 w 106"/>
                  <a:gd name="T21" fmla="*/ 45 h 50"/>
                  <a:gd name="T22" fmla="*/ 99 w 106"/>
                  <a:gd name="T23" fmla="*/ 50 h 50"/>
                  <a:gd name="T24" fmla="*/ 99 w 106"/>
                  <a:gd name="T25" fmla="*/ 50 h 50"/>
                  <a:gd name="T26" fmla="*/ 99 w 106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6" h="50">
                    <a:moveTo>
                      <a:pt x="99" y="50"/>
                    </a:moveTo>
                    <a:cubicBezTo>
                      <a:pt x="98" y="50"/>
                      <a:pt x="97" y="49"/>
                      <a:pt x="97" y="49"/>
                    </a:cubicBezTo>
                    <a:cubicBezTo>
                      <a:pt x="86" y="46"/>
                      <a:pt x="75" y="38"/>
                      <a:pt x="64" y="30"/>
                    </a:cubicBezTo>
                    <a:cubicBezTo>
                      <a:pt x="54" y="23"/>
                      <a:pt x="41" y="13"/>
                      <a:pt x="36" y="14"/>
                    </a:cubicBezTo>
                    <a:cubicBezTo>
                      <a:pt x="31" y="15"/>
                      <a:pt x="15" y="25"/>
                      <a:pt x="10" y="29"/>
                    </a:cubicBezTo>
                    <a:cubicBezTo>
                      <a:pt x="7" y="30"/>
                      <a:pt x="3" y="30"/>
                      <a:pt x="1" y="27"/>
                    </a:cubicBezTo>
                    <a:cubicBezTo>
                      <a:pt x="0" y="24"/>
                      <a:pt x="0" y="20"/>
                      <a:pt x="3" y="18"/>
                    </a:cubicBezTo>
                    <a:cubicBezTo>
                      <a:pt x="20" y="8"/>
                      <a:pt x="28" y="3"/>
                      <a:pt x="34" y="2"/>
                    </a:cubicBezTo>
                    <a:cubicBezTo>
                      <a:pt x="44" y="0"/>
                      <a:pt x="57" y="9"/>
                      <a:pt x="71" y="20"/>
                    </a:cubicBezTo>
                    <a:cubicBezTo>
                      <a:pt x="82" y="27"/>
                      <a:pt x="92" y="35"/>
                      <a:pt x="101" y="37"/>
                    </a:cubicBezTo>
                    <a:cubicBezTo>
                      <a:pt x="104" y="39"/>
                      <a:pt x="106" y="42"/>
                      <a:pt x="105" y="45"/>
                    </a:cubicBezTo>
                    <a:cubicBezTo>
                      <a:pt x="104" y="48"/>
                      <a:pt x="101" y="50"/>
                      <a:pt x="99" y="50"/>
                    </a:cubicBezTo>
                    <a:close/>
                    <a:moveTo>
                      <a:pt x="99" y="50"/>
                    </a:moveTo>
                    <a:cubicBezTo>
                      <a:pt x="99" y="50"/>
                      <a:pt x="99" y="50"/>
                      <a:pt x="99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9" name="Freeform 16"/>
              <p:cNvSpPr>
                <a:spLocks noEditPoints="1"/>
              </p:cNvSpPr>
              <p:nvPr/>
            </p:nvSpPr>
            <p:spPr bwMode="auto">
              <a:xfrm>
                <a:off x="3702" y="2260"/>
                <a:ext cx="100" cy="66"/>
              </a:xfrm>
              <a:custGeom>
                <a:avLst/>
                <a:gdLst>
                  <a:gd name="T0" fmla="*/ 7 w 56"/>
                  <a:gd name="T1" fmla="*/ 37 h 37"/>
                  <a:gd name="T2" fmla="*/ 1 w 56"/>
                  <a:gd name="T3" fmla="*/ 33 h 37"/>
                  <a:gd name="T4" fmla="*/ 5 w 56"/>
                  <a:gd name="T5" fmla="*/ 25 h 37"/>
                  <a:gd name="T6" fmla="*/ 45 w 56"/>
                  <a:gd name="T7" fmla="*/ 2 h 37"/>
                  <a:gd name="T8" fmla="*/ 54 w 56"/>
                  <a:gd name="T9" fmla="*/ 4 h 37"/>
                  <a:gd name="T10" fmla="*/ 52 w 56"/>
                  <a:gd name="T11" fmla="*/ 12 h 37"/>
                  <a:gd name="T12" fmla="*/ 9 w 56"/>
                  <a:gd name="T13" fmla="*/ 37 h 37"/>
                  <a:gd name="T14" fmla="*/ 7 w 56"/>
                  <a:gd name="T15" fmla="*/ 37 h 37"/>
                  <a:gd name="T16" fmla="*/ 7 w 56"/>
                  <a:gd name="T17" fmla="*/ 37 h 37"/>
                  <a:gd name="T18" fmla="*/ 7 w 56"/>
                  <a:gd name="T1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37">
                    <a:moveTo>
                      <a:pt x="7" y="37"/>
                    </a:moveTo>
                    <a:cubicBezTo>
                      <a:pt x="4" y="37"/>
                      <a:pt x="2" y="35"/>
                      <a:pt x="1" y="33"/>
                    </a:cubicBezTo>
                    <a:cubicBezTo>
                      <a:pt x="0" y="29"/>
                      <a:pt x="2" y="26"/>
                      <a:pt x="5" y="25"/>
                    </a:cubicBezTo>
                    <a:cubicBezTo>
                      <a:pt x="13" y="23"/>
                      <a:pt x="31" y="11"/>
                      <a:pt x="45" y="2"/>
                    </a:cubicBezTo>
                    <a:cubicBezTo>
                      <a:pt x="48" y="0"/>
                      <a:pt x="52" y="1"/>
                      <a:pt x="54" y="4"/>
                    </a:cubicBezTo>
                    <a:cubicBezTo>
                      <a:pt x="56" y="6"/>
                      <a:pt x="55" y="10"/>
                      <a:pt x="52" y="12"/>
                    </a:cubicBezTo>
                    <a:cubicBezTo>
                      <a:pt x="32" y="25"/>
                      <a:pt x="17" y="35"/>
                      <a:pt x="9" y="37"/>
                    </a:cubicBezTo>
                    <a:cubicBezTo>
                      <a:pt x="8" y="37"/>
                      <a:pt x="7" y="37"/>
                      <a:pt x="7" y="37"/>
                    </a:cubicBezTo>
                    <a:close/>
                    <a:moveTo>
                      <a:pt x="7" y="37"/>
                    </a:moveTo>
                    <a:cubicBezTo>
                      <a:pt x="7" y="37"/>
                      <a:pt x="7" y="37"/>
                      <a:pt x="7" y="3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0" name="Freeform 17"/>
              <p:cNvSpPr>
                <a:spLocks noEditPoints="1"/>
              </p:cNvSpPr>
              <p:nvPr/>
            </p:nvSpPr>
            <p:spPr bwMode="auto">
              <a:xfrm>
                <a:off x="3906" y="2319"/>
                <a:ext cx="56" cy="39"/>
              </a:xfrm>
              <a:custGeom>
                <a:avLst/>
                <a:gdLst>
                  <a:gd name="T0" fmla="*/ 24 w 31"/>
                  <a:gd name="T1" fmla="*/ 22 h 22"/>
                  <a:gd name="T2" fmla="*/ 22 w 31"/>
                  <a:gd name="T3" fmla="*/ 21 h 22"/>
                  <a:gd name="T4" fmla="*/ 4 w 31"/>
                  <a:gd name="T5" fmla="*/ 12 h 22"/>
                  <a:gd name="T6" fmla="*/ 2 w 31"/>
                  <a:gd name="T7" fmla="*/ 4 h 22"/>
                  <a:gd name="T8" fmla="*/ 11 w 31"/>
                  <a:gd name="T9" fmla="*/ 1 h 22"/>
                  <a:gd name="T10" fmla="*/ 26 w 31"/>
                  <a:gd name="T11" fmla="*/ 10 h 22"/>
                  <a:gd name="T12" fmla="*/ 30 w 31"/>
                  <a:gd name="T13" fmla="*/ 18 h 22"/>
                  <a:gd name="T14" fmla="*/ 24 w 31"/>
                  <a:gd name="T15" fmla="*/ 22 h 22"/>
                  <a:gd name="T16" fmla="*/ 24 w 31"/>
                  <a:gd name="T17" fmla="*/ 22 h 22"/>
                  <a:gd name="T18" fmla="*/ 24 w 31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22">
                    <a:moveTo>
                      <a:pt x="24" y="22"/>
                    </a:moveTo>
                    <a:cubicBezTo>
                      <a:pt x="23" y="22"/>
                      <a:pt x="23" y="22"/>
                      <a:pt x="22" y="21"/>
                    </a:cubicBezTo>
                    <a:cubicBezTo>
                      <a:pt x="17" y="20"/>
                      <a:pt x="10" y="16"/>
                      <a:pt x="4" y="12"/>
                    </a:cubicBezTo>
                    <a:cubicBezTo>
                      <a:pt x="1" y="10"/>
                      <a:pt x="0" y="6"/>
                      <a:pt x="2" y="4"/>
                    </a:cubicBezTo>
                    <a:cubicBezTo>
                      <a:pt x="4" y="1"/>
                      <a:pt x="8" y="0"/>
                      <a:pt x="11" y="1"/>
                    </a:cubicBezTo>
                    <a:cubicBezTo>
                      <a:pt x="16" y="5"/>
                      <a:pt x="22" y="8"/>
                      <a:pt x="26" y="10"/>
                    </a:cubicBezTo>
                    <a:cubicBezTo>
                      <a:pt x="29" y="11"/>
                      <a:pt x="31" y="15"/>
                      <a:pt x="30" y="18"/>
                    </a:cubicBezTo>
                    <a:cubicBezTo>
                      <a:pt x="29" y="20"/>
                      <a:pt x="27" y="22"/>
                      <a:pt x="24" y="22"/>
                    </a:cubicBezTo>
                    <a:close/>
                    <a:moveTo>
                      <a:pt x="24" y="22"/>
                    </a:moveTo>
                    <a:cubicBezTo>
                      <a:pt x="24" y="22"/>
                      <a:pt x="24" y="22"/>
                      <a:pt x="24" y="2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1" name="Freeform 18"/>
              <p:cNvSpPr>
                <a:spLocks noEditPoints="1"/>
              </p:cNvSpPr>
              <p:nvPr/>
            </p:nvSpPr>
            <p:spPr bwMode="auto">
              <a:xfrm>
                <a:off x="3741" y="2287"/>
                <a:ext cx="165" cy="89"/>
              </a:xfrm>
              <a:custGeom>
                <a:avLst/>
                <a:gdLst>
                  <a:gd name="T0" fmla="*/ 7 w 92"/>
                  <a:gd name="T1" fmla="*/ 50 h 50"/>
                  <a:gd name="T2" fmla="*/ 2 w 92"/>
                  <a:gd name="T3" fmla="*/ 47 h 50"/>
                  <a:gd name="T4" fmla="*/ 4 w 92"/>
                  <a:gd name="T5" fmla="*/ 39 h 50"/>
                  <a:gd name="T6" fmla="*/ 12 w 92"/>
                  <a:gd name="T7" fmla="*/ 33 h 50"/>
                  <a:gd name="T8" fmla="*/ 63 w 92"/>
                  <a:gd name="T9" fmla="*/ 1 h 50"/>
                  <a:gd name="T10" fmla="*/ 88 w 92"/>
                  <a:gd name="T11" fmla="*/ 10 h 50"/>
                  <a:gd name="T12" fmla="*/ 90 w 92"/>
                  <a:gd name="T13" fmla="*/ 19 h 50"/>
                  <a:gd name="T14" fmla="*/ 81 w 92"/>
                  <a:gd name="T15" fmla="*/ 21 h 50"/>
                  <a:gd name="T16" fmla="*/ 65 w 92"/>
                  <a:gd name="T17" fmla="*/ 13 h 50"/>
                  <a:gd name="T18" fmla="*/ 19 w 92"/>
                  <a:gd name="T19" fmla="*/ 43 h 50"/>
                  <a:gd name="T20" fmla="*/ 11 w 92"/>
                  <a:gd name="T21" fmla="*/ 49 h 50"/>
                  <a:gd name="T22" fmla="*/ 7 w 92"/>
                  <a:gd name="T23" fmla="*/ 50 h 50"/>
                  <a:gd name="T24" fmla="*/ 7 w 92"/>
                  <a:gd name="T25" fmla="*/ 50 h 50"/>
                  <a:gd name="T26" fmla="*/ 7 w 92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50">
                    <a:moveTo>
                      <a:pt x="7" y="50"/>
                    </a:moveTo>
                    <a:cubicBezTo>
                      <a:pt x="5" y="50"/>
                      <a:pt x="3" y="49"/>
                      <a:pt x="2" y="47"/>
                    </a:cubicBezTo>
                    <a:cubicBezTo>
                      <a:pt x="0" y="45"/>
                      <a:pt x="1" y="41"/>
                      <a:pt x="4" y="39"/>
                    </a:cubicBezTo>
                    <a:cubicBezTo>
                      <a:pt x="6" y="37"/>
                      <a:pt x="9" y="35"/>
                      <a:pt x="12" y="33"/>
                    </a:cubicBezTo>
                    <a:cubicBezTo>
                      <a:pt x="39" y="13"/>
                      <a:pt x="55" y="2"/>
                      <a:pt x="63" y="1"/>
                    </a:cubicBezTo>
                    <a:cubicBezTo>
                      <a:pt x="68" y="0"/>
                      <a:pt x="75" y="3"/>
                      <a:pt x="88" y="10"/>
                    </a:cubicBezTo>
                    <a:cubicBezTo>
                      <a:pt x="91" y="12"/>
                      <a:pt x="92" y="16"/>
                      <a:pt x="90" y="19"/>
                    </a:cubicBezTo>
                    <a:cubicBezTo>
                      <a:pt x="88" y="22"/>
                      <a:pt x="84" y="23"/>
                      <a:pt x="81" y="21"/>
                    </a:cubicBezTo>
                    <a:cubicBezTo>
                      <a:pt x="69" y="14"/>
                      <a:pt x="66" y="13"/>
                      <a:pt x="65" y="13"/>
                    </a:cubicBezTo>
                    <a:cubicBezTo>
                      <a:pt x="58" y="14"/>
                      <a:pt x="30" y="35"/>
                      <a:pt x="19" y="43"/>
                    </a:cubicBezTo>
                    <a:cubicBezTo>
                      <a:pt x="16" y="45"/>
                      <a:pt x="13" y="48"/>
                      <a:pt x="11" y="49"/>
                    </a:cubicBezTo>
                    <a:cubicBezTo>
                      <a:pt x="10" y="50"/>
                      <a:pt x="9" y="50"/>
                      <a:pt x="7" y="50"/>
                    </a:cubicBezTo>
                    <a:close/>
                    <a:moveTo>
                      <a:pt x="7" y="50"/>
                    </a:moveTo>
                    <a:cubicBezTo>
                      <a:pt x="7" y="50"/>
                      <a:pt x="7" y="50"/>
                      <a:pt x="7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2" name="Freeform 20"/>
              <p:cNvSpPr>
                <a:spLocks noEditPoints="1"/>
              </p:cNvSpPr>
              <p:nvPr/>
            </p:nvSpPr>
            <p:spPr bwMode="auto">
              <a:xfrm>
                <a:off x="3949" y="2108"/>
                <a:ext cx="72" cy="77"/>
              </a:xfrm>
              <a:custGeom>
                <a:avLst/>
                <a:gdLst>
                  <a:gd name="T0" fmla="*/ 1 w 40"/>
                  <a:gd name="T1" fmla="*/ 11 h 43"/>
                  <a:gd name="T2" fmla="*/ 30 w 40"/>
                  <a:gd name="T3" fmla="*/ 41 h 43"/>
                  <a:gd name="T4" fmla="*/ 38 w 40"/>
                  <a:gd name="T5" fmla="*/ 39 h 43"/>
                  <a:gd name="T6" fmla="*/ 36 w 40"/>
                  <a:gd name="T7" fmla="*/ 31 h 43"/>
                  <a:gd name="T8" fmla="*/ 21 w 40"/>
                  <a:gd name="T9" fmla="*/ 23 h 43"/>
                  <a:gd name="T10" fmla="*/ 13 w 40"/>
                  <a:gd name="T11" fmla="*/ 7 h 43"/>
                  <a:gd name="T12" fmla="*/ 1 w 40"/>
                  <a:gd name="T13" fmla="*/ 11 h 43"/>
                  <a:gd name="T14" fmla="*/ 1 w 40"/>
                  <a:gd name="T15" fmla="*/ 11 h 43"/>
                  <a:gd name="T16" fmla="*/ 1 w 40"/>
                  <a:gd name="T17" fmla="*/ 1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43">
                    <a:moveTo>
                      <a:pt x="1" y="11"/>
                    </a:moveTo>
                    <a:cubicBezTo>
                      <a:pt x="4" y="27"/>
                      <a:pt x="15" y="36"/>
                      <a:pt x="30" y="41"/>
                    </a:cubicBezTo>
                    <a:cubicBezTo>
                      <a:pt x="33" y="43"/>
                      <a:pt x="36" y="42"/>
                      <a:pt x="38" y="39"/>
                    </a:cubicBezTo>
                    <a:cubicBezTo>
                      <a:pt x="40" y="37"/>
                      <a:pt x="39" y="32"/>
                      <a:pt x="36" y="31"/>
                    </a:cubicBezTo>
                    <a:cubicBezTo>
                      <a:pt x="31" y="29"/>
                      <a:pt x="25" y="26"/>
                      <a:pt x="21" y="23"/>
                    </a:cubicBezTo>
                    <a:cubicBezTo>
                      <a:pt x="16" y="19"/>
                      <a:pt x="14" y="13"/>
                      <a:pt x="13" y="7"/>
                    </a:cubicBezTo>
                    <a:cubicBezTo>
                      <a:pt x="12" y="0"/>
                      <a:pt x="0" y="3"/>
                      <a:pt x="1" y="11"/>
                    </a:cubicBezTo>
                    <a:close/>
                    <a:moveTo>
                      <a:pt x="1" y="11"/>
                    </a:moveTo>
                    <a:cubicBezTo>
                      <a:pt x="1" y="11"/>
                      <a:pt x="1" y="11"/>
                      <a:pt x="1" y="1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3" name="Freeform 21"/>
              <p:cNvSpPr>
                <a:spLocks noEditPoints="1"/>
              </p:cNvSpPr>
              <p:nvPr/>
            </p:nvSpPr>
            <p:spPr bwMode="auto">
              <a:xfrm>
                <a:off x="3906" y="2160"/>
                <a:ext cx="99" cy="86"/>
              </a:xfrm>
              <a:custGeom>
                <a:avLst/>
                <a:gdLst>
                  <a:gd name="T0" fmla="*/ 1 w 55"/>
                  <a:gd name="T1" fmla="*/ 8 h 48"/>
                  <a:gd name="T2" fmla="*/ 44 w 55"/>
                  <a:gd name="T3" fmla="*/ 46 h 48"/>
                  <a:gd name="T4" fmla="*/ 48 w 55"/>
                  <a:gd name="T5" fmla="*/ 34 h 48"/>
                  <a:gd name="T6" fmla="*/ 35 w 55"/>
                  <a:gd name="T7" fmla="*/ 28 h 48"/>
                  <a:gd name="T8" fmla="*/ 13 w 55"/>
                  <a:gd name="T9" fmla="*/ 5 h 48"/>
                  <a:gd name="T10" fmla="*/ 6 w 55"/>
                  <a:gd name="T11" fmla="*/ 1 h 48"/>
                  <a:gd name="T12" fmla="*/ 1 w 55"/>
                  <a:gd name="T13" fmla="*/ 8 h 48"/>
                  <a:gd name="T14" fmla="*/ 1 w 55"/>
                  <a:gd name="T15" fmla="*/ 8 h 48"/>
                  <a:gd name="T16" fmla="*/ 1 w 55"/>
                  <a:gd name="T17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48">
                    <a:moveTo>
                      <a:pt x="1" y="8"/>
                    </a:moveTo>
                    <a:cubicBezTo>
                      <a:pt x="9" y="27"/>
                      <a:pt x="26" y="40"/>
                      <a:pt x="44" y="46"/>
                    </a:cubicBezTo>
                    <a:cubicBezTo>
                      <a:pt x="52" y="48"/>
                      <a:pt x="55" y="36"/>
                      <a:pt x="48" y="34"/>
                    </a:cubicBezTo>
                    <a:cubicBezTo>
                      <a:pt x="43" y="33"/>
                      <a:pt x="40" y="31"/>
                      <a:pt x="35" y="28"/>
                    </a:cubicBezTo>
                    <a:cubicBezTo>
                      <a:pt x="26" y="23"/>
                      <a:pt x="17" y="15"/>
                      <a:pt x="13" y="5"/>
                    </a:cubicBezTo>
                    <a:cubicBezTo>
                      <a:pt x="12" y="2"/>
                      <a:pt x="9" y="0"/>
                      <a:pt x="6" y="1"/>
                    </a:cubicBezTo>
                    <a:cubicBezTo>
                      <a:pt x="3" y="2"/>
                      <a:pt x="0" y="5"/>
                      <a:pt x="1" y="8"/>
                    </a:cubicBezTo>
                    <a:close/>
                    <a:moveTo>
                      <a:pt x="1" y="8"/>
                    </a:moveTo>
                    <a:cubicBezTo>
                      <a:pt x="1" y="8"/>
                      <a:pt x="1" y="8"/>
                      <a:pt x="1" y="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</p:grpSp>
        <p:grpSp>
          <p:nvGrpSpPr>
            <p:cNvPr id="64" name="Group 15"/>
            <p:cNvGrpSpPr>
              <a:grpSpLocks noChangeAspect="1"/>
            </p:cNvGrpSpPr>
            <p:nvPr userDrawn="1"/>
          </p:nvGrpSpPr>
          <p:grpSpPr bwMode="auto">
            <a:xfrm>
              <a:off x="702225" y="267251"/>
              <a:ext cx="94846" cy="95277"/>
              <a:chOff x="4843" y="2141"/>
              <a:chExt cx="220" cy="221"/>
            </a:xfrm>
            <a:solidFill>
              <a:schemeClr val="bg1"/>
            </a:solidFill>
          </p:grpSpPr>
          <p:sp>
            <p:nvSpPr>
              <p:cNvPr id="65" name="Freeform 16"/>
              <p:cNvSpPr>
                <a:spLocks/>
              </p:cNvSpPr>
              <p:nvPr/>
            </p:nvSpPr>
            <p:spPr bwMode="auto">
              <a:xfrm>
                <a:off x="4843" y="2298"/>
                <a:ext cx="184" cy="64"/>
              </a:xfrm>
              <a:custGeom>
                <a:avLst/>
                <a:gdLst>
                  <a:gd name="T0" fmla="*/ 584 w 1371"/>
                  <a:gd name="T1" fmla="*/ 473 h 473"/>
                  <a:gd name="T2" fmla="*/ 489 w 1371"/>
                  <a:gd name="T3" fmla="*/ 464 h 473"/>
                  <a:gd name="T4" fmla="*/ 142 w 1371"/>
                  <a:gd name="T5" fmla="*/ 375 h 473"/>
                  <a:gd name="T6" fmla="*/ 18 w 1371"/>
                  <a:gd name="T7" fmla="*/ 273 h 473"/>
                  <a:gd name="T8" fmla="*/ 0 w 1371"/>
                  <a:gd name="T9" fmla="*/ 213 h 473"/>
                  <a:gd name="T10" fmla="*/ 0 w 1371"/>
                  <a:gd name="T11" fmla="*/ 17 h 473"/>
                  <a:gd name="T12" fmla="*/ 13 w 1371"/>
                  <a:gd name="T13" fmla="*/ 8 h 473"/>
                  <a:gd name="T14" fmla="*/ 285 w 1371"/>
                  <a:gd name="T15" fmla="*/ 107 h 473"/>
                  <a:gd name="T16" fmla="*/ 769 w 1371"/>
                  <a:gd name="T17" fmla="*/ 141 h 473"/>
                  <a:gd name="T18" fmla="*/ 1176 w 1371"/>
                  <a:gd name="T19" fmla="*/ 85 h 473"/>
                  <a:gd name="T20" fmla="*/ 1352 w 1371"/>
                  <a:gd name="T21" fmla="*/ 10 h 473"/>
                  <a:gd name="T22" fmla="*/ 1365 w 1371"/>
                  <a:gd name="T23" fmla="*/ 5 h 473"/>
                  <a:gd name="T24" fmla="*/ 1369 w 1371"/>
                  <a:gd name="T25" fmla="*/ 20 h 473"/>
                  <a:gd name="T26" fmla="*/ 1369 w 1371"/>
                  <a:gd name="T27" fmla="*/ 218 h 473"/>
                  <a:gd name="T28" fmla="*/ 1333 w 1371"/>
                  <a:gd name="T29" fmla="*/ 298 h 473"/>
                  <a:gd name="T30" fmla="*/ 1178 w 1371"/>
                  <a:gd name="T31" fmla="*/ 396 h 473"/>
                  <a:gd name="T32" fmla="*/ 876 w 1371"/>
                  <a:gd name="T33" fmla="*/ 464 h 473"/>
                  <a:gd name="T34" fmla="*/ 786 w 1371"/>
                  <a:gd name="T35" fmla="*/ 473 h 473"/>
                  <a:gd name="T36" fmla="*/ 584 w 1371"/>
                  <a:gd name="T37" fmla="*/ 473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71" h="473">
                    <a:moveTo>
                      <a:pt x="584" y="473"/>
                    </a:moveTo>
                    <a:cubicBezTo>
                      <a:pt x="552" y="470"/>
                      <a:pt x="520" y="467"/>
                      <a:pt x="489" y="464"/>
                    </a:cubicBezTo>
                    <a:cubicBezTo>
                      <a:pt x="369" y="450"/>
                      <a:pt x="252" y="427"/>
                      <a:pt x="142" y="375"/>
                    </a:cubicBezTo>
                    <a:cubicBezTo>
                      <a:pt x="93" y="351"/>
                      <a:pt x="47" y="322"/>
                      <a:pt x="18" y="273"/>
                    </a:cubicBezTo>
                    <a:cubicBezTo>
                      <a:pt x="7" y="255"/>
                      <a:pt x="0" y="235"/>
                      <a:pt x="0" y="213"/>
                    </a:cubicBezTo>
                    <a:cubicBezTo>
                      <a:pt x="1" y="148"/>
                      <a:pt x="1" y="82"/>
                      <a:pt x="0" y="17"/>
                    </a:cubicBezTo>
                    <a:cubicBezTo>
                      <a:pt x="0" y="8"/>
                      <a:pt x="1" y="0"/>
                      <a:pt x="13" y="8"/>
                    </a:cubicBezTo>
                    <a:cubicBezTo>
                      <a:pt x="97" y="61"/>
                      <a:pt x="190" y="87"/>
                      <a:pt x="285" y="107"/>
                    </a:cubicBezTo>
                    <a:cubicBezTo>
                      <a:pt x="445" y="140"/>
                      <a:pt x="607" y="146"/>
                      <a:pt x="769" y="141"/>
                    </a:cubicBezTo>
                    <a:cubicBezTo>
                      <a:pt x="906" y="137"/>
                      <a:pt x="1043" y="123"/>
                      <a:pt x="1176" y="85"/>
                    </a:cubicBezTo>
                    <a:cubicBezTo>
                      <a:pt x="1238" y="67"/>
                      <a:pt x="1298" y="45"/>
                      <a:pt x="1352" y="10"/>
                    </a:cubicBezTo>
                    <a:cubicBezTo>
                      <a:pt x="1356" y="8"/>
                      <a:pt x="1360" y="3"/>
                      <a:pt x="1365" y="5"/>
                    </a:cubicBezTo>
                    <a:cubicBezTo>
                      <a:pt x="1371" y="8"/>
                      <a:pt x="1369" y="15"/>
                      <a:pt x="1369" y="20"/>
                    </a:cubicBezTo>
                    <a:cubicBezTo>
                      <a:pt x="1369" y="86"/>
                      <a:pt x="1369" y="152"/>
                      <a:pt x="1369" y="218"/>
                    </a:cubicBezTo>
                    <a:cubicBezTo>
                      <a:pt x="1368" y="249"/>
                      <a:pt x="1353" y="275"/>
                      <a:pt x="1333" y="298"/>
                    </a:cubicBezTo>
                    <a:cubicBezTo>
                      <a:pt x="1291" y="346"/>
                      <a:pt x="1236" y="373"/>
                      <a:pt x="1178" y="396"/>
                    </a:cubicBezTo>
                    <a:cubicBezTo>
                      <a:pt x="1081" y="434"/>
                      <a:pt x="979" y="453"/>
                      <a:pt x="876" y="464"/>
                    </a:cubicBezTo>
                    <a:cubicBezTo>
                      <a:pt x="846" y="467"/>
                      <a:pt x="816" y="470"/>
                      <a:pt x="786" y="473"/>
                    </a:cubicBezTo>
                    <a:cubicBezTo>
                      <a:pt x="718" y="473"/>
                      <a:pt x="651" y="473"/>
                      <a:pt x="584" y="4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Freeform 17"/>
              <p:cNvSpPr>
                <a:spLocks/>
              </p:cNvSpPr>
              <p:nvPr/>
            </p:nvSpPr>
            <p:spPr bwMode="auto">
              <a:xfrm>
                <a:off x="4894" y="2141"/>
                <a:ext cx="169" cy="56"/>
              </a:xfrm>
              <a:custGeom>
                <a:avLst/>
                <a:gdLst>
                  <a:gd name="T0" fmla="*/ 1263 w 1263"/>
                  <a:gd name="T1" fmla="*/ 314 h 416"/>
                  <a:gd name="T2" fmla="*/ 1114 w 1263"/>
                  <a:gd name="T3" fmla="*/ 395 h 416"/>
                  <a:gd name="T4" fmla="*/ 1056 w 1263"/>
                  <a:gd name="T5" fmla="*/ 413 h 416"/>
                  <a:gd name="T6" fmla="*/ 1042 w 1263"/>
                  <a:gd name="T7" fmla="*/ 403 h 416"/>
                  <a:gd name="T8" fmla="*/ 943 w 1263"/>
                  <a:gd name="T9" fmla="*/ 233 h 416"/>
                  <a:gd name="T10" fmla="*/ 696 w 1263"/>
                  <a:gd name="T11" fmla="*/ 132 h 416"/>
                  <a:gd name="T12" fmla="*/ 462 w 1263"/>
                  <a:gd name="T13" fmla="*/ 99 h 416"/>
                  <a:gd name="T14" fmla="*/ 243 w 1263"/>
                  <a:gd name="T15" fmla="*/ 97 h 416"/>
                  <a:gd name="T16" fmla="*/ 15 w 1263"/>
                  <a:gd name="T17" fmla="*/ 124 h 416"/>
                  <a:gd name="T18" fmla="*/ 0 w 1263"/>
                  <a:gd name="T19" fmla="*/ 122 h 416"/>
                  <a:gd name="T20" fmla="*/ 47 w 1263"/>
                  <a:gd name="T21" fmla="*/ 96 h 416"/>
                  <a:gd name="T22" fmla="*/ 354 w 1263"/>
                  <a:gd name="T23" fmla="*/ 15 h 416"/>
                  <a:gd name="T24" fmla="*/ 648 w 1263"/>
                  <a:gd name="T25" fmla="*/ 3 h 416"/>
                  <a:gd name="T26" fmla="*/ 1057 w 1263"/>
                  <a:gd name="T27" fmla="*/ 72 h 416"/>
                  <a:gd name="T28" fmla="*/ 1213 w 1263"/>
                  <a:gd name="T29" fmla="*/ 162 h 416"/>
                  <a:gd name="T30" fmla="*/ 1263 w 1263"/>
                  <a:gd name="T31" fmla="*/ 237 h 416"/>
                  <a:gd name="T32" fmla="*/ 1263 w 1263"/>
                  <a:gd name="T33" fmla="*/ 314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63" h="416">
                    <a:moveTo>
                      <a:pt x="1263" y="314"/>
                    </a:moveTo>
                    <a:cubicBezTo>
                      <a:pt x="1221" y="355"/>
                      <a:pt x="1168" y="375"/>
                      <a:pt x="1114" y="395"/>
                    </a:cubicBezTo>
                    <a:cubicBezTo>
                      <a:pt x="1095" y="402"/>
                      <a:pt x="1075" y="407"/>
                      <a:pt x="1056" y="413"/>
                    </a:cubicBezTo>
                    <a:cubicBezTo>
                      <a:pt x="1046" y="416"/>
                      <a:pt x="1041" y="413"/>
                      <a:pt x="1042" y="403"/>
                    </a:cubicBezTo>
                    <a:cubicBezTo>
                      <a:pt x="1048" y="323"/>
                      <a:pt x="1001" y="274"/>
                      <a:pt x="943" y="233"/>
                    </a:cubicBezTo>
                    <a:cubicBezTo>
                      <a:pt x="868" y="181"/>
                      <a:pt x="783" y="153"/>
                      <a:pt x="696" y="132"/>
                    </a:cubicBezTo>
                    <a:cubicBezTo>
                      <a:pt x="619" y="114"/>
                      <a:pt x="541" y="105"/>
                      <a:pt x="462" y="99"/>
                    </a:cubicBezTo>
                    <a:cubicBezTo>
                      <a:pt x="389" y="94"/>
                      <a:pt x="316" y="95"/>
                      <a:pt x="243" y="97"/>
                    </a:cubicBezTo>
                    <a:cubicBezTo>
                      <a:pt x="166" y="100"/>
                      <a:pt x="90" y="109"/>
                      <a:pt x="15" y="124"/>
                    </a:cubicBezTo>
                    <a:cubicBezTo>
                      <a:pt x="11" y="124"/>
                      <a:pt x="7" y="126"/>
                      <a:pt x="0" y="122"/>
                    </a:cubicBezTo>
                    <a:cubicBezTo>
                      <a:pt x="17" y="113"/>
                      <a:pt x="31" y="104"/>
                      <a:pt x="47" y="96"/>
                    </a:cubicBezTo>
                    <a:cubicBezTo>
                      <a:pt x="144" y="51"/>
                      <a:pt x="248" y="29"/>
                      <a:pt x="354" y="15"/>
                    </a:cubicBezTo>
                    <a:cubicBezTo>
                      <a:pt x="452" y="2"/>
                      <a:pt x="550" y="0"/>
                      <a:pt x="648" y="3"/>
                    </a:cubicBezTo>
                    <a:cubicBezTo>
                      <a:pt x="787" y="7"/>
                      <a:pt x="925" y="23"/>
                      <a:pt x="1057" y="72"/>
                    </a:cubicBezTo>
                    <a:cubicBezTo>
                      <a:pt x="1114" y="93"/>
                      <a:pt x="1168" y="120"/>
                      <a:pt x="1213" y="162"/>
                    </a:cubicBezTo>
                    <a:cubicBezTo>
                      <a:pt x="1236" y="183"/>
                      <a:pt x="1251" y="209"/>
                      <a:pt x="1263" y="237"/>
                    </a:cubicBezTo>
                    <a:cubicBezTo>
                      <a:pt x="1263" y="262"/>
                      <a:pt x="1263" y="288"/>
                      <a:pt x="1263" y="3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Freeform 18"/>
              <p:cNvSpPr>
                <a:spLocks/>
              </p:cNvSpPr>
              <p:nvPr/>
            </p:nvSpPr>
            <p:spPr bwMode="auto">
              <a:xfrm>
                <a:off x="5034" y="2192"/>
                <a:ext cx="29" cy="48"/>
              </a:xfrm>
              <a:custGeom>
                <a:avLst/>
                <a:gdLst>
                  <a:gd name="T0" fmla="*/ 221 w 221"/>
                  <a:gd name="T1" fmla="*/ 259 h 360"/>
                  <a:gd name="T2" fmla="*/ 52 w 221"/>
                  <a:gd name="T3" fmla="*/ 345 h 360"/>
                  <a:gd name="T4" fmla="*/ 13 w 221"/>
                  <a:gd name="T5" fmla="*/ 357 h 360"/>
                  <a:gd name="T6" fmla="*/ 0 w 221"/>
                  <a:gd name="T7" fmla="*/ 347 h 360"/>
                  <a:gd name="T8" fmla="*/ 0 w 221"/>
                  <a:gd name="T9" fmla="*/ 338 h 360"/>
                  <a:gd name="T10" fmla="*/ 0 w 221"/>
                  <a:gd name="T11" fmla="*/ 106 h 360"/>
                  <a:gd name="T12" fmla="*/ 19 w 221"/>
                  <a:gd name="T13" fmla="*/ 80 h 360"/>
                  <a:gd name="T14" fmla="*/ 215 w 221"/>
                  <a:gd name="T15" fmla="*/ 1 h 360"/>
                  <a:gd name="T16" fmla="*/ 221 w 221"/>
                  <a:gd name="T17" fmla="*/ 0 h 360"/>
                  <a:gd name="T18" fmla="*/ 221 w 221"/>
                  <a:gd name="T19" fmla="*/ 259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1" h="360">
                    <a:moveTo>
                      <a:pt x="221" y="259"/>
                    </a:moveTo>
                    <a:cubicBezTo>
                      <a:pt x="172" y="302"/>
                      <a:pt x="113" y="326"/>
                      <a:pt x="52" y="345"/>
                    </a:cubicBezTo>
                    <a:cubicBezTo>
                      <a:pt x="39" y="349"/>
                      <a:pt x="26" y="353"/>
                      <a:pt x="13" y="357"/>
                    </a:cubicBezTo>
                    <a:cubicBezTo>
                      <a:pt x="4" y="360"/>
                      <a:pt x="0" y="356"/>
                      <a:pt x="0" y="347"/>
                    </a:cubicBezTo>
                    <a:cubicBezTo>
                      <a:pt x="0" y="344"/>
                      <a:pt x="0" y="341"/>
                      <a:pt x="0" y="338"/>
                    </a:cubicBezTo>
                    <a:cubicBezTo>
                      <a:pt x="0" y="260"/>
                      <a:pt x="0" y="183"/>
                      <a:pt x="0" y="106"/>
                    </a:cubicBezTo>
                    <a:cubicBezTo>
                      <a:pt x="0" y="91"/>
                      <a:pt x="4" y="84"/>
                      <a:pt x="19" y="80"/>
                    </a:cubicBezTo>
                    <a:cubicBezTo>
                      <a:pt x="87" y="62"/>
                      <a:pt x="154" y="39"/>
                      <a:pt x="215" y="1"/>
                    </a:cubicBezTo>
                    <a:cubicBezTo>
                      <a:pt x="217" y="0"/>
                      <a:pt x="219" y="0"/>
                      <a:pt x="221" y="0"/>
                    </a:cubicBezTo>
                    <a:cubicBezTo>
                      <a:pt x="221" y="86"/>
                      <a:pt x="221" y="172"/>
                      <a:pt x="221" y="2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Freeform 19"/>
              <p:cNvSpPr>
                <a:spLocks/>
              </p:cNvSpPr>
              <p:nvPr/>
            </p:nvSpPr>
            <p:spPr bwMode="auto">
              <a:xfrm>
                <a:off x="5034" y="2235"/>
                <a:ext cx="29" cy="49"/>
              </a:xfrm>
              <a:custGeom>
                <a:avLst/>
                <a:gdLst>
                  <a:gd name="T0" fmla="*/ 221 w 221"/>
                  <a:gd name="T1" fmla="*/ 262 h 362"/>
                  <a:gd name="T2" fmla="*/ 19 w 221"/>
                  <a:gd name="T3" fmla="*/ 357 h 362"/>
                  <a:gd name="T4" fmla="*/ 0 w 221"/>
                  <a:gd name="T5" fmla="*/ 344 h 362"/>
                  <a:gd name="T6" fmla="*/ 0 w 221"/>
                  <a:gd name="T7" fmla="*/ 111 h 362"/>
                  <a:gd name="T8" fmla="*/ 17 w 221"/>
                  <a:gd name="T9" fmla="*/ 87 h 362"/>
                  <a:gd name="T10" fmla="*/ 179 w 221"/>
                  <a:gd name="T11" fmla="*/ 23 h 362"/>
                  <a:gd name="T12" fmla="*/ 221 w 221"/>
                  <a:gd name="T13" fmla="*/ 0 h 362"/>
                  <a:gd name="T14" fmla="*/ 221 w 221"/>
                  <a:gd name="T15" fmla="*/ 2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1" h="362">
                    <a:moveTo>
                      <a:pt x="221" y="262"/>
                    </a:moveTo>
                    <a:cubicBezTo>
                      <a:pt x="162" y="311"/>
                      <a:pt x="91" y="336"/>
                      <a:pt x="19" y="357"/>
                    </a:cubicBezTo>
                    <a:cubicBezTo>
                      <a:pt x="2" y="362"/>
                      <a:pt x="0" y="361"/>
                      <a:pt x="0" y="344"/>
                    </a:cubicBezTo>
                    <a:cubicBezTo>
                      <a:pt x="0" y="266"/>
                      <a:pt x="0" y="188"/>
                      <a:pt x="0" y="111"/>
                    </a:cubicBezTo>
                    <a:cubicBezTo>
                      <a:pt x="0" y="97"/>
                      <a:pt x="5" y="91"/>
                      <a:pt x="17" y="87"/>
                    </a:cubicBezTo>
                    <a:cubicBezTo>
                      <a:pt x="72" y="68"/>
                      <a:pt x="128" y="51"/>
                      <a:pt x="179" y="23"/>
                    </a:cubicBezTo>
                    <a:cubicBezTo>
                      <a:pt x="193" y="16"/>
                      <a:pt x="207" y="8"/>
                      <a:pt x="221" y="0"/>
                    </a:cubicBezTo>
                    <a:cubicBezTo>
                      <a:pt x="221" y="87"/>
                      <a:pt x="221" y="175"/>
                      <a:pt x="221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Freeform 20"/>
              <p:cNvSpPr>
                <a:spLocks/>
              </p:cNvSpPr>
              <p:nvPr/>
            </p:nvSpPr>
            <p:spPr bwMode="auto">
              <a:xfrm>
                <a:off x="5034" y="2279"/>
                <a:ext cx="29" cy="54"/>
              </a:xfrm>
              <a:custGeom>
                <a:avLst/>
                <a:gdLst>
                  <a:gd name="T0" fmla="*/ 216 w 216"/>
                  <a:gd name="T1" fmla="*/ 237 h 402"/>
                  <a:gd name="T2" fmla="*/ 39 w 216"/>
                  <a:gd name="T3" fmla="*/ 388 h 402"/>
                  <a:gd name="T4" fmla="*/ 10 w 216"/>
                  <a:gd name="T5" fmla="*/ 400 h 402"/>
                  <a:gd name="T6" fmla="*/ 4 w 216"/>
                  <a:gd name="T7" fmla="*/ 393 h 402"/>
                  <a:gd name="T8" fmla="*/ 23 w 216"/>
                  <a:gd name="T9" fmla="*/ 269 h 402"/>
                  <a:gd name="T10" fmla="*/ 23 w 216"/>
                  <a:gd name="T11" fmla="*/ 106 h 402"/>
                  <a:gd name="T12" fmla="*/ 33 w 216"/>
                  <a:gd name="T13" fmla="*/ 84 h 402"/>
                  <a:gd name="T14" fmla="*/ 211 w 216"/>
                  <a:gd name="T15" fmla="*/ 1 h 402"/>
                  <a:gd name="T16" fmla="*/ 216 w 216"/>
                  <a:gd name="T17" fmla="*/ 0 h 402"/>
                  <a:gd name="T18" fmla="*/ 216 w 216"/>
                  <a:gd name="T19" fmla="*/ 237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6" h="402">
                    <a:moveTo>
                      <a:pt x="216" y="237"/>
                    </a:moveTo>
                    <a:cubicBezTo>
                      <a:pt x="185" y="320"/>
                      <a:pt x="113" y="355"/>
                      <a:pt x="39" y="388"/>
                    </a:cubicBezTo>
                    <a:cubicBezTo>
                      <a:pt x="30" y="393"/>
                      <a:pt x="20" y="396"/>
                      <a:pt x="10" y="400"/>
                    </a:cubicBezTo>
                    <a:cubicBezTo>
                      <a:pt x="3" y="402"/>
                      <a:pt x="0" y="399"/>
                      <a:pt x="4" y="393"/>
                    </a:cubicBezTo>
                    <a:cubicBezTo>
                      <a:pt x="28" y="354"/>
                      <a:pt x="23" y="311"/>
                      <a:pt x="23" y="269"/>
                    </a:cubicBezTo>
                    <a:cubicBezTo>
                      <a:pt x="23" y="214"/>
                      <a:pt x="23" y="160"/>
                      <a:pt x="23" y="106"/>
                    </a:cubicBezTo>
                    <a:cubicBezTo>
                      <a:pt x="23" y="97"/>
                      <a:pt x="23" y="89"/>
                      <a:pt x="33" y="84"/>
                    </a:cubicBezTo>
                    <a:cubicBezTo>
                      <a:pt x="93" y="57"/>
                      <a:pt x="152" y="29"/>
                      <a:pt x="211" y="1"/>
                    </a:cubicBezTo>
                    <a:cubicBezTo>
                      <a:pt x="213" y="0"/>
                      <a:pt x="214" y="0"/>
                      <a:pt x="216" y="0"/>
                    </a:cubicBezTo>
                    <a:cubicBezTo>
                      <a:pt x="216" y="79"/>
                      <a:pt x="216" y="158"/>
                      <a:pt x="216" y="2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Freeform 21"/>
              <p:cNvSpPr>
                <a:spLocks/>
              </p:cNvSpPr>
              <p:nvPr/>
            </p:nvSpPr>
            <p:spPr bwMode="auto">
              <a:xfrm>
                <a:off x="4843" y="2161"/>
                <a:ext cx="184" cy="63"/>
              </a:xfrm>
              <a:custGeom>
                <a:avLst/>
                <a:gdLst>
                  <a:gd name="T0" fmla="*/ 689 w 1377"/>
                  <a:gd name="T1" fmla="*/ 0 h 468"/>
                  <a:gd name="T2" fmla="*/ 1073 w 1377"/>
                  <a:gd name="T3" fmla="*/ 42 h 468"/>
                  <a:gd name="T4" fmla="*/ 1298 w 1377"/>
                  <a:gd name="T5" fmla="*/ 141 h 468"/>
                  <a:gd name="T6" fmla="*/ 1369 w 1377"/>
                  <a:gd name="T7" fmla="*/ 235 h 468"/>
                  <a:gd name="T8" fmla="*/ 1372 w 1377"/>
                  <a:gd name="T9" fmla="*/ 308 h 468"/>
                  <a:gd name="T10" fmla="*/ 1350 w 1377"/>
                  <a:gd name="T11" fmla="*/ 330 h 468"/>
                  <a:gd name="T12" fmla="*/ 1252 w 1377"/>
                  <a:gd name="T13" fmla="*/ 383 h 468"/>
                  <a:gd name="T14" fmla="*/ 965 w 1377"/>
                  <a:gd name="T15" fmla="*/ 450 h 468"/>
                  <a:gd name="T16" fmla="*/ 703 w 1377"/>
                  <a:gd name="T17" fmla="*/ 468 h 468"/>
                  <a:gd name="T18" fmla="*/ 472 w 1377"/>
                  <a:gd name="T19" fmla="*/ 457 h 468"/>
                  <a:gd name="T20" fmla="*/ 204 w 1377"/>
                  <a:gd name="T21" fmla="*/ 409 h 468"/>
                  <a:gd name="T22" fmla="*/ 30 w 1377"/>
                  <a:gd name="T23" fmla="*/ 333 h 468"/>
                  <a:gd name="T24" fmla="*/ 4 w 1377"/>
                  <a:gd name="T25" fmla="*/ 284 h 468"/>
                  <a:gd name="T26" fmla="*/ 75 w 1377"/>
                  <a:gd name="T27" fmla="*/ 143 h 468"/>
                  <a:gd name="T28" fmla="*/ 304 w 1377"/>
                  <a:gd name="T29" fmla="*/ 42 h 468"/>
                  <a:gd name="T30" fmla="*/ 584 w 1377"/>
                  <a:gd name="T31" fmla="*/ 3 h 468"/>
                  <a:gd name="T32" fmla="*/ 689 w 1377"/>
                  <a:gd name="T33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7" h="468">
                    <a:moveTo>
                      <a:pt x="689" y="0"/>
                    </a:moveTo>
                    <a:cubicBezTo>
                      <a:pt x="819" y="0"/>
                      <a:pt x="947" y="10"/>
                      <a:pt x="1073" y="42"/>
                    </a:cubicBezTo>
                    <a:cubicBezTo>
                      <a:pt x="1153" y="62"/>
                      <a:pt x="1231" y="90"/>
                      <a:pt x="1298" y="141"/>
                    </a:cubicBezTo>
                    <a:cubicBezTo>
                      <a:pt x="1331" y="165"/>
                      <a:pt x="1357" y="195"/>
                      <a:pt x="1369" y="235"/>
                    </a:cubicBezTo>
                    <a:cubicBezTo>
                      <a:pt x="1377" y="259"/>
                      <a:pt x="1373" y="283"/>
                      <a:pt x="1372" y="308"/>
                    </a:cubicBezTo>
                    <a:cubicBezTo>
                      <a:pt x="1371" y="318"/>
                      <a:pt x="1359" y="324"/>
                      <a:pt x="1350" y="330"/>
                    </a:cubicBezTo>
                    <a:cubicBezTo>
                      <a:pt x="1320" y="353"/>
                      <a:pt x="1287" y="369"/>
                      <a:pt x="1252" y="383"/>
                    </a:cubicBezTo>
                    <a:cubicBezTo>
                      <a:pt x="1159" y="418"/>
                      <a:pt x="1063" y="437"/>
                      <a:pt x="965" y="450"/>
                    </a:cubicBezTo>
                    <a:cubicBezTo>
                      <a:pt x="878" y="462"/>
                      <a:pt x="791" y="467"/>
                      <a:pt x="703" y="468"/>
                    </a:cubicBezTo>
                    <a:cubicBezTo>
                      <a:pt x="626" y="468"/>
                      <a:pt x="549" y="465"/>
                      <a:pt x="472" y="457"/>
                    </a:cubicBezTo>
                    <a:cubicBezTo>
                      <a:pt x="381" y="448"/>
                      <a:pt x="292" y="434"/>
                      <a:pt x="204" y="409"/>
                    </a:cubicBezTo>
                    <a:cubicBezTo>
                      <a:pt x="143" y="391"/>
                      <a:pt x="83" y="370"/>
                      <a:pt x="30" y="333"/>
                    </a:cubicBezTo>
                    <a:cubicBezTo>
                      <a:pt x="12" y="321"/>
                      <a:pt x="5" y="307"/>
                      <a:pt x="4" y="284"/>
                    </a:cubicBezTo>
                    <a:cubicBezTo>
                      <a:pt x="0" y="222"/>
                      <a:pt x="30" y="179"/>
                      <a:pt x="75" y="143"/>
                    </a:cubicBezTo>
                    <a:cubicBezTo>
                      <a:pt x="143" y="90"/>
                      <a:pt x="222" y="63"/>
                      <a:pt x="304" y="42"/>
                    </a:cubicBezTo>
                    <a:cubicBezTo>
                      <a:pt x="396" y="19"/>
                      <a:pt x="489" y="7"/>
                      <a:pt x="584" y="3"/>
                    </a:cubicBezTo>
                    <a:cubicBezTo>
                      <a:pt x="619" y="1"/>
                      <a:pt x="654" y="1"/>
                      <a:pt x="68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Freeform 22"/>
              <p:cNvSpPr>
                <a:spLocks/>
              </p:cNvSpPr>
              <p:nvPr/>
            </p:nvSpPr>
            <p:spPr bwMode="auto">
              <a:xfrm>
                <a:off x="4843" y="2211"/>
                <a:ext cx="184" cy="56"/>
              </a:xfrm>
              <a:custGeom>
                <a:avLst/>
                <a:gdLst>
                  <a:gd name="T0" fmla="*/ 1 w 1370"/>
                  <a:gd name="T1" fmla="*/ 131 h 418"/>
                  <a:gd name="T2" fmla="*/ 1 w 1370"/>
                  <a:gd name="T3" fmla="*/ 15 h 418"/>
                  <a:gd name="T4" fmla="*/ 14 w 1370"/>
                  <a:gd name="T5" fmla="*/ 7 h 418"/>
                  <a:gd name="T6" fmla="*/ 261 w 1370"/>
                  <a:gd name="T7" fmla="*/ 96 h 418"/>
                  <a:gd name="T8" fmla="*/ 523 w 1370"/>
                  <a:gd name="T9" fmla="*/ 133 h 418"/>
                  <a:gd name="T10" fmla="*/ 761 w 1370"/>
                  <a:gd name="T11" fmla="*/ 138 h 418"/>
                  <a:gd name="T12" fmla="*/ 1236 w 1370"/>
                  <a:gd name="T13" fmla="*/ 62 h 418"/>
                  <a:gd name="T14" fmla="*/ 1354 w 1370"/>
                  <a:gd name="T15" fmla="*/ 8 h 418"/>
                  <a:gd name="T16" fmla="*/ 1370 w 1370"/>
                  <a:gd name="T17" fmla="*/ 17 h 418"/>
                  <a:gd name="T18" fmla="*/ 1370 w 1370"/>
                  <a:gd name="T19" fmla="*/ 245 h 418"/>
                  <a:gd name="T20" fmla="*/ 1357 w 1370"/>
                  <a:gd name="T21" fmla="*/ 270 h 418"/>
                  <a:gd name="T22" fmla="*/ 1220 w 1370"/>
                  <a:gd name="T23" fmla="*/ 341 h 418"/>
                  <a:gd name="T24" fmla="*/ 890 w 1370"/>
                  <a:gd name="T25" fmla="*/ 406 h 418"/>
                  <a:gd name="T26" fmla="*/ 610 w 1370"/>
                  <a:gd name="T27" fmla="*/ 415 h 418"/>
                  <a:gd name="T28" fmla="*/ 160 w 1370"/>
                  <a:gd name="T29" fmla="*/ 344 h 418"/>
                  <a:gd name="T30" fmla="*/ 21 w 1370"/>
                  <a:gd name="T31" fmla="*/ 277 h 418"/>
                  <a:gd name="T32" fmla="*/ 1 w 1370"/>
                  <a:gd name="T33" fmla="*/ 237 h 418"/>
                  <a:gd name="T34" fmla="*/ 1 w 1370"/>
                  <a:gd name="T35" fmla="*/ 131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70" h="418">
                    <a:moveTo>
                      <a:pt x="1" y="131"/>
                    </a:moveTo>
                    <a:cubicBezTo>
                      <a:pt x="2" y="92"/>
                      <a:pt x="2" y="54"/>
                      <a:pt x="1" y="15"/>
                    </a:cubicBezTo>
                    <a:cubicBezTo>
                      <a:pt x="1" y="5"/>
                      <a:pt x="4" y="0"/>
                      <a:pt x="14" y="7"/>
                    </a:cubicBezTo>
                    <a:cubicBezTo>
                      <a:pt x="90" y="54"/>
                      <a:pt x="175" y="78"/>
                      <a:pt x="261" y="96"/>
                    </a:cubicBezTo>
                    <a:cubicBezTo>
                      <a:pt x="347" y="115"/>
                      <a:pt x="435" y="126"/>
                      <a:pt x="523" y="133"/>
                    </a:cubicBezTo>
                    <a:cubicBezTo>
                      <a:pt x="603" y="139"/>
                      <a:pt x="682" y="141"/>
                      <a:pt x="761" y="138"/>
                    </a:cubicBezTo>
                    <a:cubicBezTo>
                      <a:pt x="923" y="131"/>
                      <a:pt x="1082" y="113"/>
                      <a:pt x="1236" y="62"/>
                    </a:cubicBezTo>
                    <a:cubicBezTo>
                      <a:pt x="1277" y="48"/>
                      <a:pt x="1317" y="31"/>
                      <a:pt x="1354" y="8"/>
                    </a:cubicBezTo>
                    <a:cubicBezTo>
                      <a:pt x="1367" y="0"/>
                      <a:pt x="1370" y="1"/>
                      <a:pt x="1370" y="17"/>
                    </a:cubicBezTo>
                    <a:cubicBezTo>
                      <a:pt x="1370" y="93"/>
                      <a:pt x="1370" y="169"/>
                      <a:pt x="1370" y="245"/>
                    </a:cubicBezTo>
                    <a:cubicBezTo>
                      <a:pt x="1370" y="256"/>
                      <a:pt x="1366" y="264"/>
                      <a:pt x="1357" y="270"/>
                    </a:cubicBezTo>
                    <a:cubicBezTo>
                      <a:pt x="1316" y="304"/>
                      <a:pt x="1269" y="324"/>
                      <a:pt x="1220" y="341"/>
                    </a:cubicBezTo>
                    <a:cubicBezTo>
                      <a:pt x="1113" y="377"/>
                      <a:pt x="1002" y="396"/>
                      <a:pt x="890" y="406"/>
                    </a:cubicBezTo>
                    <a:cubicBezTo>
                      <a:pt x="797" y="415"/>
                      <a:pt x="704" y="418"/>
                      <a:pt x="610" y="415"/>
                    </a:cubicBezTo>
                    <a:cubicBezTo>
                      <a:pt x="458" y="409"/>
                      <a:pt x="307" y="392"/>
                      <a:pt x="160" y="344"/>
                    </a:cubicBezTo>
                    <a:cubicBezTo>
                      <a:pt x="111" y="328"/>
                      <a:pt x="64" y="308"/>
                      <a:pt x="21" y="277"/>
                    </a:cubicBezTo>
                    <a:cubicBezTo>
                      <a:pt x="7" y="267"/>
                      <a:pt x="0" y="255"/>
                      <a:pt x="1" y="237"/>
                    </a:cubicBezTo>
                    <a:cubicBezTo>
                      <a:pt x="3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Freeform 23"/>
              <p:cNvSpPr>
                <a:spLocks/>
              </p:cNvSpPr>
              <p:nvPr/>
            </p:nvSpPr>
            <p:spPr bwMode="auto">
              <a:xfrm>
                <a:off x="4843" y="2255"/>
                <a:ext cx="184" cy="56"/>
              </a:xfrm>
              <a:custGeom>
                <a:avLst/>
                <a:gdLst>
                  <a:gd name="T0" fmla="*/ 1 w 1370"/>
                  <a:gd name="T1" fmla="*/ 131 h 419"/>
                  <a:gd name="T2" fmla="*/ 1 w 1370"/>
                  <a:gd name="T3" fmla="*/ 14 h 419"/>
                  <a:gd name="T4" fmla="*/ 14 w 1370"/>
                  <a:gd name="T5" fmla="*/ 7 h 419"/>
                  <a:gd name="T6" fmla="*/ 307 w 1370"/>
                  <a:gd name="T7" fmla="*/ 107 h 419"/>
                  <a:gd name="T8" fmla="*/ 615 w 1370"/>
                  <a:gd name="T9" fmla="*/ 138 h 419"/>
                  <a:gd name="T10" fmla="*/ 1137 w 1370"/>
                  <a:gd name="T11" fmla="*/ 91 h 419"/>
                  <a:gd name="T12" fmla="*/ 1357 w 1370"/>
                  <a:gd name="T13" fmla="*/ 6 h 419"/>
                  <a:gd name="T14" fmla="*/ 1370 w 1370"/>
                  <a:gd name="T15" fmla="*/ 14 h 419"/>
                  <a:gd name="T16" fmla="*/ 1370 w 1370"/>
                  <a:gd name="T17" fmla="*/ 248 h 419"/>
                  <a:gd name="T18" fmla="*/ 1355 w 1370"/>
                  <a:gd name="T19" fmla="*/ 272 h 419"/>
                  <a:gd name="T20" fmla="*/ 1238 w 1370"/>
                  <a:gd name="T21" fmla="*/ 334 h 419"/>
                  <a:gd name="T22" fmla="*/ 943 w 1370"/>
                  <a:gd name="T23" fmla="*/ 401 h 419"/>
                  <a:gd name="T24" fmla="*/ 637 w 1370"/>
                  <a:gd name="T25" fmla="*/ 416 h 419"/>
                  <a:gd name="T26" fmla="*/ 167 w 1370"/>
                  <a:gd name="T27" fmla="*/ 347 h 419"/>
                  <a:gd name="T28" fmla="*/ 21 w 1370"/>
                  <a:gd name="T29" fmla="*/ 277 h 419"/>
                  <a:gd name="T30" fmla="*/ 1 w 1370"/>
                  <a:gd name="T31" fmla="*/ 238 h 419"/>
                  <a:gd name="T32" fmla="*/ 1 w 1370"/>
                  <a:gd name="T33" fmla="*/ 131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0" h="419">
                    <a:moveTo>
                      <a:pt x="1" y="131"/>
                    </a:moveTo>
                    <a:cubicBezTo>
                      <a:pt x="1" y="92"/>
                      <a:pt x="2" y="53"/>
                      <a:pt x="1" y="14"/>
                    </a:cubicBezTo>
                    <a:cubicBezTo>
                      <a:pt x="1" y="3"/>
                      <a:pt x="4" y="1"/>
                      <a:pt x="14" y="7"/>
                    </a:cubicBezTo>
                    <a:cubicBezTo>
                      <a:pt x="104" y="62"/>
                      <a:pt x="205" y="88"/>
                      <a:pt x="307" y="107"/>
                    </a:cubicBezTo>
                    <a:cubicBezTo>
                      <a:pt x="409" y="127"/>
                      <a:pt x="512" y="135"/>
                      <a:pt x="615" y="138"/>
                    </a:cubicBezTo>
                    <a:cubicBezTo>
                      <a:pt x="791" y="143"/>
                      <a:pt x="966" y="133"/>
                      <a:pt x="1137" y="91"/>
                    </a:cubicBezTo>
                    <a:cubicBezTo>
                      <a:pt x="1214" y="73"/>
                      <a:pt x="1289" y="49"/>
                      <a:pt x="1357" y="6"/>
                    </a:cubicBezTo>
                    <a:cubicBezTo>
                      <a:pt x="1367" y="0"/>
                      <a:pt x="1370" y="4"/>
                      <a:pt x="1370" y="14"/>
                    </a:cubicBezTo>
                    <a:cubicBezTo>
                      <a:pt x="1370" y="92"/>
                      <a:pt x="1370" y="170"/>
                      <a:pt x="1370" y="248"/>
                    </a:cubicBezTo>
                    <a:cubicBezTo>
                      <a:pt x="1370" y="260"/>
                      <a:pt x="1363" y="266"/>
                      <a:pt x="1355" y="272"/>
                    </a:cubicBezTo>
                    <a:cubicBezTo>
                      <a:pt x="1320" y="301"/>
                      <a:pt x="1280" y="319"/>
                      <a:pt x="1238" y="334"/>
                    </a:cubicBezTo>
                    <a:cubicBezTo>
                      <a:pt x="1143" y="370"/>
                      <a:pt x="1044" y="389"/>
                      <a:pt x="943" y="401"/>
                    </a:cubicBezTo>
                    <a:cubicBezTo>
                      <a:pt x="841" y="413"/>
                      <a:pt x="739" y="419"/>
                      <a:pt x="637" y="416"/>
                    </a:cubicBezTo>
                    <a:cubicBezTo>
                      <a:pt x="477" y="411"/>
                      <a:pt x="320" y="395"/>
                      <a:pt x="167" y="347"/>
                    </a:cubicBezTo>
                    <a:cubicBezTo>
                      <a:pt x="115" y="330"/>
                      <a:pt x="65" y="310"/>
                      <a:pt x="21" y="277"/>
                    </a:cubicBezTo>
                    <a:cubicBezTo>
                      <a:pt x="7" y="267"/>
                      <a:pt x="0" y="256"/>
                      <a:pt x="1" y="238"/>
                    </a:cubicBezTo>
                    <a:cubicBezTo>
                      <a:pt x="2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73" name="Рисунок 72"/>
            <p:cNvPicPr>
              <a:picLocks noChangeAspect="1"/>
            </p:cNvPicPr>
            <p:nvPr userDrawn="1"/>
          </p:nvPicPr>
          <p:blipFill>
            <a:blip r:embed="rId6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964" y="255927"/>
              <a:ext cx="132047" cy="120941"/>
            </a:xfrm>
            <a:prstGeom prst="rect">
              <a:avLst/>
            </a:prstGeom>
          </p:spPr>
        </p:pic>
        <p:sp>
          <p:nvSpPr>
            <p:cNvPr id="74" name="Freeform 413"/>
            <p:cNvSpPr>
              <a:spLocks noEditPoints="1"/>
            </p:cNvSpPr>
            <p:nvPr userDrawn="1"/>
          </p:nvSpPr>
          <p:spPr bwMode="auto">
            <a:xfrm>
              <a:off x="467432" y="411832"/>
              <a:ext cx="136834" cy="109909"/>
            </a:xfrm>
            <a:custGeom>
              <a:avLst/>
              <a:gdLst/>
              <a:ahLst/>
              <a:cxnLst>
                <a:cxn ang="0">
                  <a:pos x="235" y="365"/>
                </a:cxn>
                <a:cxn ang="0">
                  <a:pos x="246" y="344"/>
                </a:cxn>
                <a:cxn ang="0">
                  <a:pos x="226" y="329"/>
                </a:cxn>
                <a:cxn ang="0">
                  <a:pos x="217" y="320"/>
                </a:cxn>
                <a:cxn ang="0">
                  <a:pos x="206" y="328"/>
                </a:cxn>
                <a:cxn ang="0">
                  <a:pos x="142" y="348"/>
                </a:cxn>
                <a:cxn ang="0">
                  <a:pos x="31" y="237"/>
                </a:cxn>
                <a:cxn ang="0">
                  <a:pos x="106" y="133"/>
                </a:cxn>
                <a:cxn ang="0">
                  <a:pos x="106" y="132"/>
                </a:cxn>
                <a:cxn ang="0">
                  <a:pos x="144" y="127"/>
                </a:cxn>
                <a:cxn ang="0">
                  <a:pos x="201" y="141"/>
                </a:cxn>
                <a:cxn ang="0">
                  <a:pos x="132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6" y="104"/>
                </a:cxn>
                <a:cxn ang="0">
                  <a:pos x="49" y="130"/>
                </a:cxn>
                <a:cxn ang="0">
                  <a:pos x="49" y="129"/>
                </a:cxn>
                <a:cxn ang="0">
                  <a:pos x="0" y="237"/>
                </a:cxn>
                <a:cxn ang="0">
                  <a:pos x="142" y="380"/>
                </a:cxn>
                <a:cxn ang="0">
                  <a:pos x="214" y="360"/>
                </a:cxn>
                <a:cxn ang="0">
                  <a:pos x="231" y="371"/>
                </a:cxn>
                <a:cxn ang="0">
                  <a:pos x="235" y="365"/>
                </a:cxn>
                <a:cxn ang="0">
                  <a:pos x="453" y="183"/>
                </a:cxn>
                <a:cxn ang="0">
                  <a:pos x="454" y="175"/>
                </a:cxn>
                <a:cxn ang="0">
                  <a:pos x="348" y="70"/>
                </a:cxn>
                <a:cxn ang="0">
                  <a:pos x="327" y="72"/>
                </a:cxn>
                <a:cxn ang="0">
                  <a:pos x="212" y="0"/>
                </a:cxn>
                <a:cxn ang="0">
                  <a:pos x="90" y="89"/>
                </a:cxn>
                <a:cxn ang="0">
                  <a:pos x="125" y="86"/>
                </a:cxn>
                <a:cxn ang="0">
                  <a:pos x="212" y="32"/>
                </a:cxn>
                <a:cxn ang="0">
                  <a:pos x="302" y="96"/>
                </a:cxn>
                <a:cxn ang="0">
                  <a:pos x="308" y="112"/>
                </a:cxn>
                <a:cxn ang="0">
                  <a:pos x="323" y="106"/>
                </a:cxn>
                <a:cxn ang="0">
                  <a:pos x="348" y="101"/>
                </a:cxn>
                <a:cxn ang="0">
                  <a:pos x="422" y="175"/>
                </a:cxn>
                <a:cxn ang="0">
                  <a:pos x="420" y="192"/>
                </a:cxn>
                <a:cxn ang="0">
                  <a:pos x="416" y="209"/>
                </a:cxn>
                <a:cxn ang="0">
                  <a:pos x="434" y="211"/>
                </a:cxn>
                <a:cxn ang="0">
                  <a:pos x="492" y="275"/>
                </a:cxn>
                <a:cxn ang="0">
                  <a:pos x="428" y="338"/>
                </a:cxn>
                <a:cxn ang="0">
                  <a:pos x="394" y="329"/>
                </a:cxn>
                <a:cxn ang="0">
                  <a:pos x="384" y="322"/>
                </a:cxn>
                <a:cxn ang="0">
                  <a:pos x="375" y="330"/>
                </a:cxn>
                <a:cxn ang="0">
                  <a:pos x="358" y="343"/>
                </a:cxn>
                <a:cxn ang="0">
                  <a:pos x="352" y="359"/>
                </a:cxn>
                <a:cxn ang="0">
                  <a:pos x="342" y="384"/>
                </a:cxn>
                <a:cxn ang="0">
                  <a:pos x="387" y="361"/>
                </a:cxn>
                <a:cxn ang="0">
                  <a:pos x="428" y="370"/>
                </a:cxn>
                <a:cxn ang="0">
                  <a:pos x="523" y="275"/>
                </a:cxn>
                <a:cxn ang="0">
                  <a:pos x="453" y="183"/>
                </a:cxn>
                <a:cxn ang="0">
                  <a:pos x="383" y="292"/>
                </a:cxn>
                <a:cxn ang="0">
                  <a:pos x="313" y="171"/>
                </a:cxn>
                <a:cxn ang="0">
                  <a:pos x="244" y="292"/>
                </a:cxn>
                <a:cxn ang="0">
                  <a:pos x="282" y="292"/>
                </a:cxn>
                <a:cxn ang="0">
                  <a:pos x="220" y="420"/>
                </a:cxn>
                <a:cxn ang="0">
                  <a:pos x="297" y="420"/>
                </a:cxn>
                <a:cxn ang="0">
                  <a:pos x="343" y="292"/>
                </a:cxn>
                <a:cxn ang="0">
                  <a:pos x="383" y="292"/>
                </a:cxn>
              </a:cxnLst>
              <a:rect l="0" t="0" r="r" b="b"/>
              <a:pathLst>
                <a:path w="523" h="420">
                  <a:moveTo>
                    <a:pt x="235" y="365"/>
                  </a:moveTo>
                  <a:cubicBezTo>
                    <a:pt x="239" y="358"/>
                    <a:pt x="243" y="351"/>
                    <a:pt x="246" y="344"/>
                  </a:cubicBezTo>
                  <a:cubicBezTo>
                    <a:pt x="239" y="340"/>
                    <a:pt x="232" y="335"/>
                    <a:pt x="226" y="329"/>
                  </a:cubicBezTo>
                  <a:cubicBezTo>
                    <a:pt x="217" y="320"/>
                    <a:pt x="217" y="320"/>
                    <a:pt x="217" y="320"/>
                  </a:cubicBezTo>
                  <a:cubicBezTo>
                    <a:pt x="206" y="328"/>
                    <a:pt x="206" y="328"/>
                    <a:pt x="206" y="328"/>
                  </a:cubicBezTo>
                  <a:cubicBezTo>
                    <a:pt x="187" y="341"/>
                    <a:pt x="165" y="348"/>
                    <a:pt x="142" y="348"/>
                  </a:cubicBezTo>
                  <a:cubicBezTo>
                    <a:pt x="81" y="348"/>
                    <a:pt x="31" y="299"/>
                    <a:pt x="31" y="237"/>
                  </a:cubicBezTo>
                  <a:cubicBezTo>
                    <a:pt x="31" y="190"/>
                    <a:pt x="61" y="148"/>
                    <a:pt x="106" y="133"/>
                  </a:cubicBezTo>
                  <a:cubicBezTo>
                    <a:pt x="106" y="132"/>
                    <a:pt x="106" y="132"/>
                    <a:pt x="106" y="132"/>
                  </a:cubicBezTo>
                  <a:cubicBezTo>
                    <a:pt x="117" y="129"/>
                    <a:pt x="129" y="127"/>
                    <a:pt x="144" y="127"/>
                  </a:cubicBezTo>
                  <a:cubicBezTo>
                    <a:pt x="167" y="127"/>
                    <a:pt x="187" y="132"/>
                    <a:pt x="201" y="141"/>
                  </a:cubicBezTo>
                  <a:cubicBezTo>
                    <a:pt x="208" y="131"/>
                    <a:pt x="195" y="103"/>
                    <a:pt x="132" y="103"/>
                  </a:cubicBezTo>
                  <a:cubicBezTo>
                    <a:pt x="127" y="103"/>
                    <a:pt x="123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8" y="103"/>
                    <a:pt x="117" y="104"/>
                    <a:pt x="116" y="104"/>
                  </a:cubicBezTo>
                  <a:cubicBezTo>
                    <a:pt x="77" y="107"/>
                    <a:pt x="49" y="130"/>
                    <a:pt x="49" y="130"/>
                  </a:cubicBezTo>
                  <a:cubicBezTo>
                    <a:pt x="49" y="129"/>
                    <a:pt x="49" y="129"/>
                    <a:pt x="49" y="129"/>
                  </a:cubicBezTo>
                  <a:cubicBezTo>
                    <a:pt x="18" y="156"/>
                    <a:pt x="0" y="195"/>
                    <a:pt x="0" y="237"/>
                  </a:cubicBezTo>
                  <a:cubicBezTo>
                    <a:pt x="0" y="316"/>
                    <a:pt x="63" y="380"/>
                    <a:pt x="142" y="380"/>
                  </a:cubicBezTo>
                  <a:cubicBezTo>
                    <a:pt x="168" y="380"/>
                    <a:pt x="192" y="373"/>
                    <a:pt x="214" y="360"/>
                  </a:cubicBezTo>
                  <a:cubicBezTo>
                    <a:pt x="220" y="364"/>
                    <a:pt x="225" y="368"/>
                    <a:pt x="231" y="371"/>
                  </a:cubicBezTo>
                  <a:lnTo>
                    <a:pt x="235" y="365"/>
                  </a:lnTo>
                  <a:close/>
                  <a:moveTo>
                    <a:pt x="453" y="183"/>
                  </a:moveTo>
                  <a:cubicBezTo>
                    <a:pt x="454" y="180"/>
                    <a:pt x="454" y="178"/>
                    <a:pt x="454" y="175"/>
                  </a:cubicBezTo>
                  <a:cubicBezTo>
                    <a:pt x="454" y="117"/>
                    <a:pt x="407" y="70"/>
                    <a:pt x="348" y="70"/>
                  </a:cubicBezTo>
                  <a:cubicBezTo>
                    <a:pt x="341" y="70"/>
                    <a:pt x="334" y="71"/>
                    <a:pt x="327" y="72"/>
                  </a:cubicBezTo>
                  <a:cubicBezTo>
                    <a:pt x="305" y="29"/>
                    <a:pt x="261" y="0"/>
                    <a:pt x="212" y="0"/>
                  </a:cubicBezTo>
                  <a:cubicBezTo>
                    <a:pt x="155" y="0"/>
                    <a:pt x="106" y="37"/>
                    <a:pt x="90" y="89"/>
                  </a:cubicBezTo>
                  <a:cubicBezTo>
                    <a:pt x="103" y="86"/>
                    <a:pt x="116" y="85"/>
                    <a:pt x="125" y="86"/>
                  </a:cubicBezTo>
                  <a:cubicBezTo>
                    <a:pt x="141" y="53"/>
                    <a:pt x="174" y="32"/>
                    <a:pt x="212" y="32"/>
                  </a:cubicBezTo>
                  <a:cubicBezTo>
                    <a:pt x="253" y="32"/>
                    <a:pt x="289" y="58"/>
                    <a:pt x="302" y="96"/>
                  </a:cubicBezTo>
                  <a:cubicBezTo>
                    <a:pt x="308" y="112"/>
                    <a:pt x="308" y="112"/>
                    <a:pt x="308" y="112"/>
                  </a:cubicBezTo>
                  <a:cubicBezTo>
                    <a:pt x="323" y="106"/>
                    <a:pt x="323" y="106"/>
                    <a:pt x="323" y="106"/>
                  </a:cubicBezTo>
                  <a:cubicBezTo>
                    <a:pt x="331" y="103"/>
                    <a:pt x="340" y="101"/>
                    <a:pt x="348" y="101"/>
                  </a:cubicBezTo>
                  <a:cubicBezTo>
                    <a:pt x="389" y="101"/>
                    <a:pt x="422" y="135"/>
                    <a:pt x="422" y="175"/>
                  </a:cubicBezTo>
                  <a:cubicBezTo>
                    <a:pt x="422" y="181"/>
                    <a:pt x="421" y="186"/>
                    <a:pt x="420" y="192"/>
                  </a:cubicBezTo>
                  <a:cubicBezTo>
                    <a:pt x="416" y="209"/>
                    <a:pt x="416" y="209"/>
                    <a:pt x="416" y="209"/>
                  </a:cubicBezTo>
                  <a:cubicBezTo>
                    <a:pt x="434" y="211"/>
                    <a:pt x="434" y="211"/>
                    <a:pt x="434" y="211"/>
                  </a:cubicBezTo>
                  <a:cubicBezTo>
                    <a:pt x="467" y="214"/>
                    <a:pt x="492" y="242"/>
                    <a:pt x="492" y="275"/>
                  </a:cubicBezTo>
                  <a:cubicBezTo>
                    <a:pt x="492" y="310"/>
                    <a:pt x="463" y="338"/>
                    <a:pt x="428" y="338"/>
                  </a:cubicBezTo>
                  <a:cubicBezTo>
                    <a:pt x="416" y="338"/>
                    <a:pt x="404" y="335"/>
                    <a:pt x="394" y="329"/>
                  </a:cubicBezTo>
                  <a:cubicBezTo>
                    <a:pt x="384" y="322"/>
                    <a:pt x="384" y="322"/>
                    <a:pt x="384" y="322"/>
                  </a:cubicBezTo>
                  <a:cubicBezTo>
                    <a:pt x="375" y="330"/>
                    <a:pt x="375" y="330"/>
                    <a:pt x="375" y="330"/>
                  </a:cubicBezTo>
                  <a:cubicBezTo>
                    <a:pt x="370" y="335"/>
                    <a:pt x="364" y="339"/>
                    <a:pt x="358" y="343"/>
                  </a:cubicBezTo>
                  <a:cubicBezTo>
                    <a:pt x="356" y="348"/>
                    <a:pt x="354" y="354"/>
                    <a:pt x="352" y="359"/>
                  </a:cubicBezTo>
                  <a:cubicBezTo>
                    <a:pt x="349" y="367"/>
                    <a:pt x="346" y="376"/>
                    <a:pt x="342" y="384"/>
                  </a:cubicBezTo>
                  <a:cubicBezTo>
                    <a:pt x="358" y="379"/>
                    <a:pt x="374" y="371"/>
                    <a:pt x="387" y="361"/>
                  </a:cubicBezTo>
                  <a:cubicBezTo>
                    <a:pt x="400" y="367"/>
                    <a:pt x="414" y="370"/>
                    <a:pt x="428" y="370"/>
                  </a:cubicBezTo>
                  <a:cubicBezTo>
                    <a:pt x="481" y="370"/>
                    <a:pt x="523" y="327"/>
                    <a:pt x="523" y="275"/>
                  </a:cubicBezTo>
                  <a:cubicBezTo>
                    <a:pt x="523" y="231"/>
                    <a:pt x="494" y="194"/>
                    <a:pt x="453" y="183"/>
                  </a:cubicBezTo>
                  <a:close/>
                  <a:moveTo>
                    <a:pt x="383" y="292"/>
                  </a:moveTo>
                  <a:cubicBezTo>
                    <a:pt x="313" y="171"/>
                    <a:pt x="313" y="171"/>
                    <a:pt x="313" y="171"/>
                  </a:cubicBezTo>
                  <a:cubicBezTo>
                    <a:pt x="244" y="292"/>
                    <a:pt x="244" y="292"/>
                    <a:pt x="244" y="292"/>
                  </a:cubicBezTo>
                  <a:cubicBezTo>
                    <a:pt x="282" y="292"/>
                    <a:pt x="282" y="292"/>
                    <a:pt x="282" y="292"/>
                  </a:cubicBezTo>
                  <a:cubicBezTo>
                    <a:pt x="274" y="341"/>
                    <a:pt x="252" y="385"/>
                    <a:pt x="220" y="420"/>
                  </a:cubicBezTo>
                  <a:cubicBezTo>
                    <a:pt x="297" y="420"/>
                    <a:pt x="297" y="420"/>
                    <a:pt x="297" y="420"/>
                  </a:cubicBezTo>
                  <a:cubicBezTo>
                    <a:pt x="321" y="382"/>
                    <a:pt x="338" y="338"/>
                    <a:pt x="343" y="292"/>
                  </a:cubicBezTo>
                  <a:lnTo>
                    <a:pt x="383" y="29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</p:grpSp>
      <p:sp>
        <p:nvSpPr>
          <p:cNvPr id="75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11790055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4422208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Авата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066147C5-186D-4E4C-9242-8148410B3D18}"/>
              </a:ext>
            </a:extLst>
          </p:cNvPr>
          <p:cNvSpPr/>
          <p:nvPr userDrawn="1"/>
        </p:nvSpPr>
        <p:spPr>
          <a:xfrm>
            <a:off x="0" y="-18878"/>
            <a:ext cx="12192000" cy="6876879"/>
          </a:xfrm>
          <a:prstGeom prst="rect">
            <a:avLst/>
          </a:prstGeom>
          <a:gradFill flip="none" rotWithShape="1">
            <a:gsLst>
              <a:gs pos="18000">
                <a:schemeClr val="accent6">
                  <a:lumMod val="67000"/>
                </a:schemeClr>
              </a:gs>
              <a:gs pos="100000">
                <a:schemeClr val="accent6"/>
              </a:gs>
            </a:gsLst>
            <a:lin ang="162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5FCFC23A-FBBD-1442-BC6B-7AACBBDF17DB}"/>
              </a:ext>
            </a:extLst>
          </p:cNvPr>
          <p:cNvGrpSpPr/>
          <p:nvPr userDrawn="1"/>
        </p:nvGrpSpPr>
        <p:grpSpPr>
          <a:xfrm>
            <a:off x="0" y="-18879"/>
            <a:ext cx="12192000" cy="675904"/>
            <a:chOff x="0" y="4267200"/>
            <a:chExt cx="12192000" cy="675904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A96D3F2C-5F04-B84F-B9D5-D61433C77E05}"/>
                </a:ext>
              </a:extLst>
            </p:cNvPr>
            <p:cNvSpPr/>
            <p:nvPr userDrawn="1"/>
          </p:nvSpPr>
          <p:spPr>
            <a:xfrm>
              <a:off x="122213" y="4435305"/>
              <a:ext cx="11951853" cy="4294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dist="88900" dir="5400000" sx="97000" sy="97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xmlns="" id="{4BCEF6D8-1372-DA4D-AAD1-0712D4C4C8D4}"/>
                </a:ext>
              </a:extLst>
            </p:cNvPr>
            <p:cNvSpPr/>
            <p:nvPr userDrawn="1"/>
          </p:nvSpPr>
          <p:spPr>
            <a:xfrm>
              <a:off x="0" y="4267200"/>
              <a:ext cx="12192000" cy="675904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3E5CDD5-3156-47A9-A019-94E8642F4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7" y="162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33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F3E5CDD5-3156-47A9-A019-94E8642F4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62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"/>
          <p:cNvSpPr>
            <a:spLocks noGrp="1"/>
          </p:cNvSpPr>
          <p:nvPr>
            <p:ph type="title" hasCustomPrompt="1"/>
          </p:nvPr>
        </p:nvSpPr>
        <p:spPr>
          <a:xfrm>
            <a:off x="1602515" y="177110"/>
            <a:ext cx="9905376" cy="30780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000" kern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45780014-60AD-4D4C-B6BB-A0DF121B2FEB}"/>
              </a:ext>
            </a:extLst>
          </p:cNvPr>
          <p:cNvSpPr>
            <a:spLocks/>
          </p:cNvSpPr>
          <p:nvPr userDrawn="1"/>
        </p:nvSpPr>
        <p:spPr bwMode="auto">
          <a:xfrm>
            <a:off x="11662261" y="161564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102572" tIns="102572" rIns="102572" bIns="102572" rtlCol="0" anchor="ctr"/>
          <a:lstStyle/>
          <a:p>
            <a:pPr marL="0" marR="0" lvl="0" indent="0" algn="ctr" defTabSz="121866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>
              <a:ln>
                <a:noFill/>
              </a:ln>
              <a:solidFill>
                <a:srgbClr val="787E7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87759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30" name="Oval 100"/>
          <p:cNvSpPr/>
          <p:nvPr/>
        </p:nvSpPr>
        <p:spPr>
          <a:xfrm flipH="1">
            <a:off x="1033528" y="89951"/>
            <a:ext cx="463083" cy="453900"/>
          </a:xfrm>
          <a:prstGeom prst="ellipse">
            <a:avLst/>
          </a:prstGeom>
          <a:solidFill>
            <a:schemeClr val="accent6"/>
          </a:solidFill>
          <a:ln w="19050" cap="rnd" cmpd="sng" algn="ctr">
            <a:solidFill>
              <a:schemeClr val="accent2"/>
            </a:solidFill>
            <a:prstDash val="solid"/>
          </a:ln>
          <a:effectLst/>
        </p:spPr>
        <p:txBody>
          <a:bodyPr lIns="40500" tIns="40500" rIns="40500" bIns="40500" rtlCol="0" anchor="ctr"/>
          <a:lstStyle/>
          <a:p>
            <a:pPr algn="ctr" defTabSz="685783">
              <a:defRPr/>
            </a:pPr>
            <a:endParaRPr lang="en-US" sz="751" kern="0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31" name="Group 2"/>
          <p:cNvGrpSpPr/>
          <p:nvPr/>
        </p:nvGrpSpPr>
        <p:grpSpPr>
          <a:xfrm>
            <a:off x="1113220" y="121562"/>
            <a:ext cx="313768" cy="365831"/>
            <a:chOff x="6670675" y="3513137"/>
            <a:chExt cx="1071561" cy="1249363"/>
          </a:xfrm>
          <a:solidFill>
            <a:schemeClr val="accent2"/>
          </a:solidFill>
        </p:grpSpPr>
        <p:grpSp>
          <p:nvGrpSpPr>
            <p:cNvPr id="32" name="Group 115"/>
            <p:cNvGrpSpPr/>
            <p:nvPr/>
          </p:nvGrpSpPr>
          <p:grpSpPr>
            <a:xfrm>
              <a:off x="6670675" y="3513137"/>
              <a:ext cx="700087" cy="1249363"/>
              <a:chOff x="-2524125" y="-798513"/>
              <a:chExt cx="700087" cy="1249363"/>
            </a:xfrm>
            <a:grpFill/>
          </p:grpSpPr>
          <p:sp>
            <p:nvSpPr>
              <p:cNvPr id="34" name="Oval 273"/>
              <p:cNvSpPr>
                <a:spLocks noChangeArrowheads="1"/>
              </p:cNvSpPr>
              <p:nvPr/>
            </p:nvSpPr>
            <p:spPr bwMode="auto">
              <a:xfrm>
                <a:off x="-2268538" y="-798513"/>
                <a:ext cx="200025" cy="238125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  <p:sp>
            <p:nvSpPr>
              <p:cNvPr id="35" name="Freeform 274"/>
              <p:cNvSpPr>
                <a:spLocks noEditPoints="1"/>
              </p:cNvSpPr>
              <p:nvPr/>
            </p:nvSpPr>
            <p:spPr bwMode="auto">
              <a:xfrm>
                <a:off x="-2524125" y="-536575"/>
                <a:ext cx="700087" cy="987425"/>
              </a:xfrm>
              <a:custGeom>
                <a:avLst/>
                <a:gdLst/>
                <a:ahLst/>
                <a:cxnLst>
                  <a:cxn ang="0">
                    <a:pos x="123" y="27"/>
                  </a:cxn>
                  <a:cxn ang="0">
                    <a:pos x="122" y="26"/>
                  </a:cxn>
                  <a:cxn ang="0">
                    <a:pos x="116" y="22"/>
                  </a:cxn>
                  <a:cxn ang="0">
                    <a:pos x="91" y="3"/>
                  </a:cxn>
                  <a:cxn ang="0">
                    <a:pos x="85" y="1"/>
                  </a:cxn>
                  <a:cxn ang="0">
                    <a:pos x="77" y="1"/>
                  </a:cxn>
                  <a:cxn ang="0">
                    <a:pos x="75" y="11"/>
                  </a:cxn>
                  <a:cxn ang="0">
                    <a:pos x="68" y="43"/>
                  </a:cxn>
                  <a:cxn ang="0">
                    <a:pos x="68" y="7"/>
                  </a:cxn>
                  <a:cxn ang="0">
                    <a:pos x="59" y="0"/>
                  </a:cxn>
                  <a:cxn ang="0">
                    <a:pos x="59" y="9"/>
                  </a:cxn>
                  <a:cxn ang="0">
                    <a:pos x="46" y="18"/>
                  </a:cxn>
                  <a:cxn ang="0">
                    <a:pos x="41" y="7"/>
                  </a:cxn>
                  <a:cxn ang="0">
                    <a:pos x="48" y="0"/>
                  </a:cxn>
                  <a:cxn ang="0">
                    <a:pos x="39" y="1"/>
                  </a:cxn>
                  <a:cxn ang="0">
                    <a:pos x="3" y="36"/>
                  </a:cxn>
                  <a:cxn ang="0">
                    <a:pos x="3" y="36"/>
                  </a:cxn>
                  <a:cxn ang="0">
                    <a:pos x="1" y="49"/>
                  </a:cxn>
                  <a:cxn ang="0">
                    <a:pos x="1" y="49"/>
                  </a:cxn>
                  <a:cxn ang="0">
                    <a:pos x="2" y="51"/>
                  </a:cxn>
                  <a:cxn ang="0">
                    <a:pos x="6" y="58"/>
                  </a:cxn>
                  <a:cxn ang="0">
                    <a:pos x="20" y="86"/>
                  </a:cxn>
                  <a:cxn ang="0">
                    <a:pos x="33" y="91"/>
                  </a:cxn>
                  <a:cxn ang="0">
                    <a:pos x="35" y="92"/>
                  </a:cxn>
                  <a:cxn ang="0">
                    <a:pos x="61" y="174"/>
                  </a:cxn>
                  <a:cxn ang="0">
                    <a:pos x="57" y="112"/>
                  </a:cxn>
                  <a:cxn ang="0">
                    <a:pos x="91" y="34"/>
                  </a:cxn>
                  <a:cxn ang="0">
                    <a:pos x="95" y="32"/>
                  </a:cxn>
                  <a:cxn ang="0">
                    <a:pos x="77" y="46"/>
                  </a:cxn>
                  <a:cxn ang="0">
                    <a:pos x="91" y="34"/>
                  </a:cxn>
                  <a:cxn ang="0">
                    <a:pos x="31" y="56"/>
                  </a:cxn>
                  <a:cxn ang="0">
                    <a:pos x="24" y="44"/>
                  </a:cxn>
                  <a:cxn ang="0">
                    <a:pos x="34" y="61"/>
                  </a:cxn>
                </a:cxnLst>
                <a:rect l="0" t="0" r="r" b="b"/>
                <a:pathLst>
                  <a:path w="123" h="174">
                    <a:moveTo>
                      <a:pt x="122" y="42"/>
                    </a:moveTo>
                    <a:cubicBezTo>
                      <a:pt x="122" y="35"/>
                      <a:pt x="123" y="24"/>
                      <a:pt x="123" y="27"/>
                    </a:cubicBezTo>
                    <a:cubicBezTo>
                      <a:pt x="123" y="26"/>
                      <a:pt x="123" y="26"/>
                      <a:pt x="123" y="26"/>
                    </a:cubicBezTo>
                    <a:cubicBezTo>
                      <a:pt x="122" y="26"/>
                      <a:pt x="122" y="26"/>
                      <a:pt x="122" y="26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16" y="22"/>
                      <a:pt x="116" y="22"/>
                      <a:pt x="116" y="22"/>
                    </a:cubicBezTo>
                    <a:cubicBezTo>
                      <a:pt x="108" y="15"/>
                      <a:pt x="108" y="15"/>
                      <a:pt x="108" y="15"/>
                    </a:cubicBezTo>
                    <a:cubicBezTo>
                      <a:pt x="91" y="3"/>
                      <a:pt x="91" y="3"/>
                      <a:pt x="91" y="3"/>
                    </a:cubicBezTo>
                    <a:cubicBezTo>
                      <a:pt x="90" y="2"/>
                      <a:pt x="88" y="1"/>
                      <a:pt x="86" y="1"/>
                    </a:cubicBezTo>
                    <a:cubicBezTo>
                      <a:pt x="85" y="1"/>
                      <a:pt x="85" y="1"/>
                      <a:pt x="85" y="1"/>
                    </a:cubicBezTo>
                    <a:cubicBezTo>
                      <a:pt x="83" y="1"/>
                      <a:pt x="80" y="1"/>
                      <a:pt x="77" y="0"/>
                    </a:cubicBezTo>
                    <a:cubicBezTo>
                      <a:pt x="77" y="1"/>
                      <a:pt x="77" y="1"/>
                      <a:pt x="77" y="1"/>
                    </a:cubicBezTo>
                    <a:cubicBezTo>
                      <a:pt x="84" y="7"/>
                      <a:pt x="84" y="7"/>
                      <a:pt x="84" y="7"/>
                    </a:cubicBezTo>
                    <a:cubicBezTo>
                      <a:pt x="75" y="11"/>
                      <a:pt x="75" y="11"/>
                      <a:pt x="75" y="11"/>
                    </a:cubicBezTo>
                    <a:cubicBezTo>
                      <a:pt x="80" y="18"/>
                      <a:pt x="80" y="18"/>
                      <a:pt x="80" y="18"/>
                    </a:cubicBezTo>
                    <a:cubicBezTo>
                      <a:pt x="68" y="43"/>
                      <a:pt x="68" y="43"/>
                      <a:pt x="68" y="43"/>
                    </a:cubicBezTo>
                    <a:cubicBezTo>
                      <a:pt x="67" y="9"/>
                      <a:pt x="67" y="9"/>
                      <a:pt x="67" y="9"/>
                    </a:cubicBezTo>
                    <a:cubicBezTo>
                      <a:pt x="68" y="7"/>
                      <a:pt x="68" y="7"/>
                      <a:pt x="68" y="7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59" y="9"/>
                      <a:pt x="59" y="9"/>
                      <a:pt x="59" y="9"/>
                    </a:cubicBezTo>
                    <a:cubicBezTo>
                      <a:pt x="57" y="43"/>
                      <a:pt x="57" y="43"/>
                      <a:pt x="57" y="43"/>
                    </a:cubicBezTo>
                    <a:cubicBezTo>
                      <a:pt x="46" y="18"/>
                      <a:pt x="46" y="18"/>
                      <a:pt x="46" y="18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41" y="7"/>
                      <a:pt x="41" y="7"/>
                      <a:pt x="41" y="7"/>
                    </a:cubicBezTo>
                    <a:cubicBezTo>
                      <a:pt x="48" y="1"/>
                      <a:pt x="48" y="1"/>
                      <a:pt x="48" y="1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5" y="1"/>
                      <a:pt x="43" y="1"/>
                      <a:pt x="40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6" y="1"/>
                      <a:pt x="34" y="3"/>
                      <a:pt x="32" y="5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0" y="61"/>
                      <a:pt x="2" y="43"/>
                      <a:pt x="1" y="48"/>
                    </a:cubicBezTo>
                    <a:cubicBezTo>
                      <a:pt x="1" y="49"/>
                      <a:pt x="1" y="49"/>
                      <a:pt x="1" y="49"/>
                    </a:cubicBezTo>
                    <a:cubicBezTo>
                      <a:pt x="1" y="49"/>
                      <a:pt x="1" y="49"/>
                      <a:pt x="1" y="49"/>
                    </a:cubicBezTo>
                    <a:cubicBezTo>
                      <a:pt x="1" y="49"/>
                      <a:pt x="1" y="49"/>
                      <a:pt x="1" y="49"/>
                    </a:cubicBezTo>
                    <a:cubicBezTo>
                      <a:pt x="2" y="49"/>
                      <a:pt x="2" y="49"/>
                      <a:pt x="2" y="49"/>
                    </a:cubicBezTo>
                    <a:cubicBezTo>
                      <a:pt x="2" y="51"/>
                      <a:pt x="2" y="51"/>
                      <a:pt x="2" y="51"/>
                    </a:cubicBezTo>
                    <a:cubicBezTo>
                      <a:pt x="4" y="53"/>
                      <a:pt x="4" y="53"/>
                      <a:pt x="4" y="53"/>
                    </a:cubicBezTo>
                    <a:cubicBezTo>
                      <a:pt x="6" y="58"/>
                      <a:pt x="6" y="58"/>
                      <a:pt x="6" y="58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20" y="86"/>
                      <a:pt x="20" y="86"/>
                      <a:pt x="20" y="86"/>
                    </a:cubicBezTo>
                    <a:cubicBezTo>
                      <a:pt x="25" y="84"/>
                      <a:pt x="29" y="82"/>
                      <a:pt x="33" y="79"/>
                    </a:cubicBezTo>
                    <a:cubicBezTo>
                      <a:pt x="33" y="83"/>
                      <a:pt x="33" y="87"/>
                      <a:pt x="33" y="91"/>
                    </a:cubicBezTo>
                    <a:cubicBezTo>
                      <a:pt x="33" y="92"/>
                      <a:pt x="33" y="92"/>
                      <a:pt x="33" y="92"/>
                    </a:cubicBezTo>
                    <a:cubicBezTo>
                      <a:pt x="35" y="92"/>
                      <a:pt x="35" y="92"/>
                      <a:pt x="35" y="92"/>
                    </a:cubicBezTo>
                    <a:cubicBezTo>
                      <a:pt x="38" y="174"/>
                      <a:pt x="38" y="174"/>
                      <a:pt x="38" y="174"/>
                    </a:cubicBezTo>
                    <a:cubicBezTo>
                      <a:pt x="61" y="174"/>
                      <a:pt x="61" y="174"/>
                      <a:pt x="61" y="174"/>
                    </a:cubicBezTo>
                    <a:cubicBezTo>
                      <a:pt x="62" y="163"/>
                      <a:pt x="62" y="150"/>
                      <a:pt x="62" y="137"/>
                    </a:cubicBezTo>
                    <a:cubicBezTo>
                      <a:pt x="59" y="129"/>
                      <a:pt x="57" y="121"/>
                      <a:pt x="57" y="112"/>
                    </a:cubicBezTo>
                    <a:cubicBezTo>
                      <a:pt x="57" y="75"/>
                      <a:pt x="86" y="45"/>
                      <a:pt x="122" y="42"/>
                    </a:cubicBezTo>
                    <a:close/>
                    <a:moveTo>
                      <a:pt x="91" y="34"/>
                    </a:moveTo>
                    <a:cubicBezTo>
                      <a:pt x="91" y="32"/>
                      <a:pt x="91" y="30"/>
                      <a:pt x="90" y="28"/>
                    </a:cubicBezTo>
                    <a:cubicBezTo>
                      <a:pt x="95" y="32"/>
                      <a:pt x="95" y="32"/>
                      <a:pt x="95" y="32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77" y="46"/>
                      <a:pt x="77" y="46"/>
                      <a:pt x="77" y="46"/>
                    </a:cubicBezTo>
                    <a:cubicBezTo>
                      <a:pt x="75" y="43"/>
                      <a:pt x="75" y="43"/>
                      <a:pt x="75" y="43"/>
                    </a:cubicBezTo>
                    <a:lnTo>
                      <a:pt x="91" y="34"/>
                    </a:lnTo>
                    <a:close/>
                    <a:moveTo>
                      <a:pt x="34" y="61"/>
                    </a:moveTo>
                    <a:cubicBezTo>
                      <a:pt x="31" y="56"/>
                      <a:pt x="31" y="56"/>
                      <a:pt x="31" y="56"/>
                    </a:cubicBezTo>
                    <a:cubicBezTo>
                      <a:pt x="26" y="47"/>
                      <a:pt x="26" y="47"/>
                      <a:pt x="26" y="47"/>
                    </a:cubicBezTo>
                    <a:cubicBezTo>
                      <a:pt x="24" y="44"/>
                      <a:pt x="24" y="44"/>
                      <a:pt x="24" y="44"/>
                    </a:cubicBezTo>
                    <a:cubicBezTo>
                      <a:pt x="35" y="32"/>
                      <a:pt x="35" y="32"/>
                      <a:pt x="35" y="32"/>
                    </a:cubicBezTo>
                    <a:cubicBezTo>
                      <a:pt x="34" y="41"/>
                      <a:pt x="34" y="51"/>
                      <a:pt x="34" y="6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  <p:sp>
            <p:nvSpPr>
              <p:cNvPr id="36" name="Freeform 275"/>
              <p:cNvSpPr>
                <a:spLocks/>
              </p:cNvSpPr>
              <p:nvPr/>
            </p:nvSpPr>
            <p:spPr bwMode="auto">
              <a:xfrm>
                <a:off x="-2154238" y="287337"/>
                <a:ext cx="141287" cy="1635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29"/>
                  </a:cxn>
                  <a:cxn ang="0">
                    <a:pos x="25" y="29"/>
                  </a:cxn>
                  <a:cxn ang="0">
                    <a:pos x="25" y="26"/>
                  </a:cxn>
                  <a:cxn ang="0">
                    <a:pos x="0" y="0"/>
                  </a:cxn>
                </a:cxnLst>
                <a:rect l="0" t="0" r="r" b="b"/>
                <a:pathLst>
                  <a:path w="25" h="29">
                    <a:moveTo>
                      <a:pt x="0" y="0"/>
                    </a:moveTo>
                    <a:cubicBezTo>
                      <a:pt x="1" y="29"/>
                      <a:pt x="1" y="29"/>
                      <a:pt x="1" y="29"/>
                    </a:cubicBezTo>
                    <a:cubicBezTo>
                      <a:pt x="25" y="29"/>
                      <a:pt x="25" y="29"/>
                      <a:pt x="25" y="29"/>
                    </a:cubicBezTo>
                    <a:cubicBezTo>
                      <a:pt x="25" y="28"/>
                      <a:pt x="25" y="27"/>
                      <a:pt x="25" y="26"/>
                    </a:cubicBezTo>
                    <a:cubicBezTo>
                      <a:pt x="15" y="19"/>
                      <a:pt x="6" y="10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</p:grpSp>
        <p:sp>
          <p:nvSpPr>
            <p:cNvPr id="33" name="Freeform 209"/>
            <p:cNvSpPr>
              <a:spLocks noEditPoints="1"/>
            </p:cNvSpPr>
            <p:nvPr/>
          </p:nvSpPr>
          <p:spPr bwMode="auto">
            <a:xfrm>
              <a:off x="7032625" y="4046538"/>
              <a:ext cx="709611" cy="709611"/>
            </a:xfrm>
            <a:custGeom>
              <a:avLst/>
              <a:gdLst/>
              <a:ahLst/>
              <a:cxnLst>
                <a:cxn ang="0">
                  <a:pos x="114" y="40"/>
                </a:cxn>
                <a:cxn ang="0">
                  <a:pos x="109" y="41"/>
                </a:cxn>
                <a:cxn ang="0">
                  <a:pos x="103" y="34"/>
                </a:cxn>
                <a:cxn ang="0">
                  <a:pos x="109" y="25"/>
                </a:cxn>
                <a:cxn ang="0">
                  <a:pos x="96" y="16"/>
                </a:cxn>
                <a:cxn ang="0">
                  <a:pos x="88" y="19"/>
                </a:cxn>
                <a:cxn ang="0">
                  <a:pos x="87" y="10"/>
                </a:cxn>
                <a:cxn ang="0">
                  <a:pos x="74" y="2"/>
                </a:cxn>
                <a:cxn ang="0">
                  <a:pos x="70" y="3"/>
                </a:cxn>
                <a:cxn ang="0">
                  <a:pos x="59" y="10"/>
                </a:cxn>
                <a:cxn ang="0">
                  <a:pos x="55" y="0"/>
                </a:cxn>
                <a:cxn ang="0">
                  <a:pos x="47" y="2"/>
                </a:cxn>
                <a:cxn ang="0">
                  <a:pos x="45" y="2"/>
                </a:cxn>
                <a:cxn ang="0">
                  <a:pos x="40" y="6"/>
                </a:cxn>
                <a:cxn ang="0">
                  <a:pos x="34" y="16"/>
                </a:cxn>
                <a:cxn ang="0">
                  <a:pos x="26" y="11"/>
                </a:cxn>
                <a:cxn ang="0">
                  <a:pos x="16" y="19"/>
                </a:cxn>
                <a:cxn ang="0">
                  <a:pos x="21" y="29"/>
                </a:cxn>
                <a:cxn ang="0">
                  <a:pos x="14" y="34"/>
                </a:cxn>
                <a:cxn ang="0">
                  <a:pos x="6" y="34"/>
                </a:cxn>
                <a:cxn ang="0">
                  <a:pos x="2" y="46"/>
                </a:cxn>
                <a:cxn ang="0">
                  <a:pos x="10" y="52"/>
                </a:cxn>
                <a:cxn ang="0">
                  <a:pos x="3" y="61"/>
                </a:cxn>
                <a:cxn ang="0">
                  <a:pos x="2" y="77"/>
                </a:cxn>
                <a:cxn ang="0">
                  <a:pos x="13" y="78"/>
                </a:cxn>
                <a:cxn ang="0">
                  <a:pos x="11" y="89"/>
                </a:cxn>
                <a:cxn ang="0">
                  <a:pos x="19" y="103"/>
                </a:cxn>
                <a:cxn ang="0">
                  <a:pos x="29" y="99"/>
                </a:cxn>
                <a:cxn ang="0">
                  <a:pos x="33" y="110"/>
                </a:cxn>
                <a:cxn ang="0">
                  <a:pos x="46" y="118"/>
                </a:cxn>
                <a:cxn ang="0">
                  <a:pos x="52" y="109"/>
                </a:cxn>
                <a:cxn ang="0">
                  <a:pos x="61" y="117"/>
                </a:cxn>
                <a:cxn ang="0">
                  <a:pos x="77" y="117"/>
                </a:cxn>
                <a:cxn ang="0">
                  <a:pos x="78" y="106"/>
                </a:cxn>
                <a:cxn ang="0">
                  <a:pos x="90" y="108"/>
                </a:cxn>
                <a:cxn ang="0">
                  <a:pos x="103" y="101"/>
                </a:cxn>
                <a:cxn ang="0">
                  <a:pos x="99" y="91"/>
                </a:cxn>
                <a:cxn ang="0">
                  <a:pos x="110" y="87"/>
                </a:cxn>
                <a:cxn ang="0">
                  <a:pos x="118" y="73"/>
                </a:cxn>
                <a:cxn ang="0">
                  <a:pos x="109" y="67"/>
                </a:cxn>
                <a:cxn ang="0">
                  <a:pos x="117" y="58"/>
                </a:cxn>
                <a:cxn ang="0">
                  <a:pos x="117" y="44"/>
                </a:cxn>
                <a:cxn ang="0">
                  <a:pos x="23" y="67"/>
                </a:cxn>
                <a:cxn ang="0">
                  <a:pos x="24" y="47"/>
                </a:cxn>
                <a:cxn ang="0">
                  <a:pos x="50" y="23"/>
                </a:cxn>
                <a:cxn ang="0">
                  <a:pos x="51" y="39"/>
                </a:cxn>
                <a:cxn ang="0">
                  <a:pos x="47" y="41"/>
                </a:cxn>
                <a:cxn ang="0">
                  <a:pos x="37" y="60"/>
                </a:cxn>
                <a:cxn ang="0">
                  <a:pos x="66" y="97"/>
                </a:cxn>
                <a:cxn ang="0">
                  <a:pos x="48" y="79"/>
                </a:cxn>
                <a:cxn ang="0">
                  <a:pos x="68" y="81"/>
                </a:cxn>
                <a:cxn ang="0">
                  <a:pos x="66" y="97"/>
                </a:cxn>
                <a:cxn ang="0">
                  <a:pos x="82" y="64"/>
                </a:cxn>
                <a:cxn ang="0">
                  <a:pos x="74" y="42"/>
                </a:cxn>
                <a:cxn ang="0">
                  <a:pos x="74" y="25"/>
                </a:cxn>
                <a:cxn ang="0">
                  <a:pos x="89" y="36"/>
                </a:cxn>
                <a:cxn ang="0">
                  <a:pos x="97" y="53"/>
                </a:cxn>
              </a:cxnLst>
              <a:rect l="0" t="0" r="r" b="b"/>
              <a:pathLst>
                <a:path w="119" h="119">
                  <a:moveTo>
                    <a:pt x="117" y="42"/>
                  </a:moveTo>
                  <a:cubicBezTo>
                    <a:pt x="117" y="41"/>
                    <a:pt x="115" y="40"/>
                    <a:pt x="114" y="40"/>
                  </a:cubicBezTo>
                  <a:cubicBezTo>
                    <a:pt x="114" y="40"/>
                    <a:pt x="113" y="40"/>
                    <a:pt x="113" y="40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5" y="39"/>
                    <a:pt x="104" y="37"/>
                    <a:pt x="103" y="34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0" y="29"/>
                    <a:pt x="110" y="27"/>
                    <a:pt x="109" y="25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0" y="15"/>
                    <a:pt x="98" y="15"/>
                    <a:pt x="96" y="16"/>
                  </a:cubicBezTo>
                  <a:cubicBezTo>
                    <a:pt x="91" y="21"/>
                    <a:pt x="91" y="21"/>
                    <a:pt x="91" y="21"/>
                  </a:cubicBezTo>
                  <a:cubicBezTo>
                    <a:pt x="90" y="20"/>
                    <a:pt x="89" y="19"/>
                    <a:pt x="88" y="19"/>
                  </a:cubicBezTo>
                  <a:cubicBezTo>
                    <a:pt x="87" y="18"/>
                    <a:pt x="86" y="17"/>
                    <a:pt x="84" y="16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87" y="8"/>
                    <a:pt x="87" y="6"/>
                    <a:pt x="85" y="6"/>
                  </a:cubicBezTo>
                  <a:cubicBezTo>
                    <a:pt x="74" y="2"/>
                    <a:pt x="74" y="2"/>
                    <a:pt x="74" y="2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2" y="1"/>
                    <a:pt x="70" y="2"/>
                    <a:pt x="70" y="3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5" y="10"/>
                    <a:pt x="62" y="10"/>
                    <a:pt x="59" y="10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8" y="1"/>
                    <a:pt x="56" y="0"/>
                    <a:pt x="55" y="0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1" y="3"/>
                    <a:pt x="40" y="4"/>
                    <a:pt x="40" y="6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9" y="14"/>
                    <a:pt x="37" y="15"/>
                    <a:pt x="34" y="16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29" y="10"/>
                    <a:pt x="27" y="10"/>
                    <a:pt x="26" y="11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20"/>
                    <a:pt x="15" y="22"/>
                    <a:pt x="16" y="23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19" y="31"/>
                    <a:pt x="18" y="33"/>
                    <a:pt x="16" y="35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8" y="32"/>
                    <a:pt x="6" y="33"/>
                    <a:pt x="6" y="3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1" y="47"/>
                    <a:pt x="2" y="49"/>
                    <a:pt x="3" y="50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5"/>
                    <a:pt x="10" y="57"/>
                    <a:pt x="10" y="60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1" y="61"/>
                    <a:pt x="0" y="63"/>
                    <a:pt x="0" y="65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3" y="78"/>
                    <a:pt x="4" y="80"/>
                    <a:pt x="6" y="79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4" y="80"/>
                    <a:pt x="15" y="83"/>
                    <a:pt x="17" y="85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0" y="91"/>
                    <a:pt x="10" y="92"/>
                    <a:pt x="11" y="94"/>
                  </a:cubicBezTo>
                  <a:cubicBezTo>
                    <a:pt x="19" y="103"/>
                    <a:pt x="19" y="103"/>
                    <a:pt x="19" y="103"/>
                  </a:cubicBezTo>
                  <a:cubicBezTo>
                    <a:pt x="20" y="104"/>
                    <a:pt x="22" y="105"/>
                    <a:pt x="23" y="103"/>
                  </a:cubicBezTo>
                  <a:cubicBezTo>
                    <a:pt x="29" y="99"/>
                    <a:pt x="29" y="99"/>
                    <a:pt x="29" y="99"/>
                  </a:cubicBezTo>
                  <a:cubicBezTo>
                    <a:pt x="31" y="100"/>
                    <a:pt x="33" y="102"/>
                    <a:pt x="35" y="103"/>
                  </a:cubicBezTo>
                  <a:cubicBezTo>
                    <a:pt x="33" y="110"/>
                    <a:pt x="33" y="110"/>
                    <a:pt x="33" y="110"/>
                  </a:cubicBezTo>
                  <a:cubicBezTo>
                    <a:pt x="32" y="111"/>
                    <a:pt x="33" y="113"/>
                    <a:pt x="34" y="114"/>
                  </a:cubicBezTo>
                  <a:cubicBezTo>
                    <a:pt x="46" y="118"/>
                    <a:pt x="46" y="118"/>
                    <a:pt x="46" y="118"/>
                  </a:cubicBezTo>
                  <a:cubicBezTo>
                    <a:pt x="48" y="118"/>
                    <a:pt x="49" y="118"/>
                    <a:pt x="50" y="116"/>
                  </a:cubicBezTo>
                  <a:cubicBezTo>
                    <a:pt x="52" y="109"/>
                    <a:pt x="52" y="109"/>
                    <a:pt x="52" y="109"/>
                  </a:cubicBezTo>
                  <a:cubicBezTo>
                    <a:pt x="55" y="109"/>
                    <a:pt x="57" y="110"/>
                    <a:pt x="60" y="110"/>
                  </a:cubicBezTo>
                  <a:cubicBezTo>
                    <a:pt x="61" y="117"/>
                    <a:pt x="61" y="117"/>
                    <a:pt x="61" y="117"/>
                  </a:cubicBezTo>
                  <a:cubicBezTo>
                    <a:pt x="62" y="118"/>
                    <a:pt x="63" y="119"/>
                    <a:pt x="65" y="119"/>
                  </a:cubicBezTo>
                  <a:cubicBezTo>
                    <a:pt x="77" y="117"/>
                    <a:pt x="77" y="117"/>
                    <a:pt x="77" y="117"/>
                  </a:cubicBezTo>
                  <a:cubicBezTo>
                    <a:pt x="79" y="117"/>
                    <a:pt x="80" y="115"/>
                    <a:pt x="79" y="113"/>
                  </a:cubicBezTo>
                  <a:cubicBezTo>
                    <a:pt x="78" y="106"/>
                    <a:pt x="78" y="106"/>
                    <a:pt x="78" y="106"/>
                  </a:cubicBezTo>
                  <a:cubicBezTo>
                    <a:pt x="80" y="105"/>
                    <a:pt x="83" y="104"/>
                    <a:pt x="85" y="103"/>
                  </a:cubicBezTo>
                  <a:cubicBezTo>
                    <a:pt x="90" y="108"/>
                    <a:pt x="90" y="108"/>
                    <a:pt x="90" y="108"/>
                  </a:cubicBezTo>
                  <a:cubicBezTo>
                    <a:pt x="91" y="109"/>
                    <a:pt x="93" y="110"/>
                    <a:pt x="94" y="108"/>
                  </a:cubicBezTo>
                  <a:cubicBezTo>
                    <a:pt x="103" y="101"/>
                    <a:pt x="103" y="101"/>
                    <a:pt x="103" y="101"/>
                  </a:cubicBezTo>
                  <a:cubicBezTo>
                    <a:pt x="104" y="100"/>
                    <a:pt x="105" y="98"/>
                    <a:pt x="104" y="96"/>
                  </a:cubicBezTo>
                  <a:cubicBezTo>
                    <a:pt x="99" y="91"/>
                    <a:pt x="99" y="91"/>
                    <a:pt x="99" y="91"/>
                  </a:cubicBezTo>
                  <a:cubicBezTo>
                    <a:pt x="100" y="89"/>
                    <a:pt x="102" y="87"/>
                    <a:pt x="103" y="84"/>
                  </a:cubicBezTo>
                  <a:cubicBezTo>
                    <a:pt x="110" y="87"/>
                    <a:pt x="110" y="87"/>
                    <a:pt x="110" y="87"/>
                  </a:cubicBezTo>
                  <a:cubicBezTo>
                    <a:pt x="111" y="87"/>
                    <a:pt x="113" y="86"/>
                    <a:pt x="114" y="85"/>
                  </a:cubicBezTo>
                  <a:cubicBezTo>
                    <a:pt x="118" y="73"/>
                    <a:pt x="118" y="73"/>
                    <a:pt x="118" y="73"/>
                  </a:cubicBezTo>
                  <a:cubicBezTo>
                    <a:pt x="118" y="72"/>
                    <a:pt x="118" y="70"/>
                    <a:pt x="116" y="69"/>
                  </a:cubicBezTo>
                  <a:cubicBezTo>
                    <a:pt x="109" y="67"/>
                    <a:pt x="109" y="67"/>
                    <a:pt x="109" y="67"/>
                  </a:cubicBezTo>
                  <a:cubicBezTo>
                    <a:pt x="110" y="64"/>
                    <a:pt x="110" y="62"/>
                    <a:pt x="110" y="59"/>
                  </a:cubicBezTo>
                  <a:cubicBezTo>
                    <a:pt x="117" y="58"/>
                    <a:pt x="117" y="58"/>
                    <a:pt x="117" y="58"/>
                  </a:cubicBezTo>
                  <a:cubicBezTo>
                    <a:pt x="118" y="58"/>
                    <a:pt x="119" y="56"/>
                    <a:pt x="119" y="54"/>
                  </a:cubicBezTo>
                  <a:cubicBezTo>
                    <a:pt x="117" y="44"/>
                    <a:pt x="117" y="44"/>
                    <a:pt x="117" y="44"/>
                  </a:cubicBezTo>
                  <a:lnTo>
                    <a:pt x="117" y="42"/>
                  </a:lnTo>
                  <a:close/>
                  <a:moveTo>
                    <a:pt x="23" y="67"/>
                  </a:moveTo>
                  <a:cubicBezTo>
                    <a:pt x="23" y="66"/>
                    <a:pt x="23" y="66"/>
                    <a:pt x="23" y="66"/>
                  </a:cubicBezTo>
                  <a:cubicBezTo>
                    <a:pt x="22" y="60"/>
                    <a:pt x="22" y="53"/>
                    <a:pt x="24" y="47"/>
                  </a:cubicBezTo>
                  <a:cubicBezTo>
                    <a:pt x="28" y="37"/>
                    <a:pt x="36" y="28"/>
                    <a:pt x="47" y="24"/>
                  </a:cubicBezTo>
                  <a:cubicBezTo>
                    <a:pt x="48" y="24"/>
                    <a:pt x="49" y="24"/>
                    <a:pt x="50" y="23"/>
                  </a:cubicBezTo>
                  <a:cubicBezTo>
                    <a:pt x="51" y="23"/>
                    <a:pt x="52" y="23"/>
                    <a:pt x="52" y="23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9" y="39"/>
                    <a:pt x="48" y="40"/>
                    <a:pt x="47" y="41"/>
                  </a:cubicBezTo>
                  <a:cubicBezTo>
                    <a:pt x="42" y="44"/>
                    <a:pt x="39" y="50"/>
                    <a:pt x="38" y="56"/>
                  </a:cubicBezTo>
                  <a:cubicBezTo>
                    <a:pt x="37" y="57"/>
                    <a:pt x="37" y="59"/>
                    <a:pt x="37" y="60"/>
                  </a:cubicBezTo>
                  <a:lnTo>
                    <a:pt x="23" y="67"/>
                  </a:lnTo>
                  <a:close/>
                  <a:moveTo>
                    <a:pt x="66" y="97"/>
                  </a:moveTo>
                  <a:cubicBezTo>
                    <a:pt x="54" y="99"/>
                    <a:pt x="41" y="95"/>
                    <a:pt x="33" y="86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52" y="82"/>
                    <a:pt x="58" y="83"/>
                    <a:pt x="64" y="82"/>
                  </a:cubicBezTo>
                  <a:cubicBezTo>
                    <a:pt x="65" y="82"/>
                    <a:pt x="67" y="81"/>
                    <a:pt x="68" y="81"/>
                  </a:cubicBezTo>
                  <a:cubicBezTo>
                    <a:pt x="82" y="90"/>
                    <a:pt x="82" y="90"/>
                    <a:pt x="82" y="90"/>
                  </a:cubicBezTo>
                  <a:cubicBezTo>
                    <a:pt x="77" y="93"/>
                    <a:pt x="72" y="96"/>
                    <a:pt x="66" y="97"/>
                  </a:cubicBezTo>
                  <a:close/>
                  <a:moveTo>
                    <a:pt x="95" y="73"/>
                  </a:moveTo>
                  <a:cubicBezTo>
                    <a:pt x="82" y="64"/>
                    <a:pt x="82" y="64"/>
                    <a:pt x="82" y="64"/>
                  </a:cubicBezTo>
                  <a:cubicBezTo>
                    <a:pt x="82" y="62"/>
                    <a:pt x="83" y="59"/>
                    <a:pt x="82" y="56"/>
                  </a:cubicBezTo>
                  <a:cubicBezTo>
                    <a:pt x="81" y="50"/>
                    <a:pt x="78" y="45"/>
                    <a:pt x="74" y="42"/>
                  </a:cubicBezTo>
                  <a:cubicBezTo>
                    <a:pt x="73" y="42"/>
                    <a:pt x="73" y="41"/>
                    <a:pt x="72" y="41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80" y="27"/>
                    <a:pt x="85" y="31"/>
                    <a:pt x="89" y="36"/>
                  </a:cubicBezTo>
                  <a:cubicBezTo>
                    <a:pt x="91" y="38"/>
                    <a:pt x="93" y="41"/>
                    <a:pt x="94" y="44"/>
                  </a:cubicBezTo>
                  <a:cubicBezTo>
                    <a:pt x="95" y="47"/>
                    <a:pt x="96" y="50"/>
                    <a:pt x="97" y="53"/>
                  </a:cubicBezTo>
                  <a:cubicBezTo>
                    <a:pt x="98" y="60"/>
                    <a:pt x="97" y="67"/>
                    <a:pt x="95" y="7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A0C4E7F1-7346-4A46-A777-55C481F872B9}"/>
              </a:ext>
            </a:extLst>
          </p:cNvPr>
          <p:cNvSpPr/>
          <p:nvPr userDrawn="1"/>
        </p:nvSpPr>
        <p:spPr>
          <a:xfrm>
            <a:off x="0" y="657026"/>
            <a:ext cx="12192000" cy="6200975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27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4" name="Группа 3"/>
          <p:cNvGrpSpPr/>
          <p:nvPr userDrawn="1"/>
        </p:nvGrpSpPr>
        <p:grpSpPr>
          <a:xfrm>
            <a:off x="146651" y="90377"/>
            <a:ext cx="802256" cy="446347"/>
            <a:chOff x="146650" y="90376"/>
            <a:chExt cx="802256" cy="446347"/>
          </a:xfrm>
        </p:grpSpPr>
        <p:grpSp>
          <p:nvGrpSpPr>
            <p:cNvPr id="22" name="Группа 21"/>
            <p:cNvGrpSpPr/>
            <p:nvPr userDrawn="1"/>
          </p:nvGrpSpPr>
          <p:grpSpPr>
            <a:xfrm>
              <a:off x="146650" y="90376"/>
              <a:ext cx="802256" cy="446347"/>
              <a:chOff x="3215754" y="3239215"/>
              <a:chExt cx="5277696" cy="2936328"/>
            </a:xfrm>
            <a:solidFill>
              <a:schemeClr val="accent6"/>
            </a:solidFill>
          </p:grpSpPr>
          <p:sp>
            <p:nvSpPr>
              <p:cNvPr id="23" name="Round Diagonal Corner Rectangle 73"/>
              <p:cNvSpPr/>
              <p:nvPr/>
            </p:nvSpPr>
            <p:spPr>
              <a:xfrm rot="16200000" flipV="1">
                <a:off x="4045695" y="2409275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2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24" name="Round Diagonal Corner Rectangle 73"/>
              <p:cNvSpPr/>
              <p:nvPr/>
            </p:nvSpPr>
            <p:spPr>
              <a:xfrm rot="16200000" flipV="1">
                <a:off x="6763017" y="2409276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25" name="Round Diagonal Corner Rectangle 73"/>
              <p:cNvSpPr/>
              <p:nvPr/>
            </p:nvSpPr>
            <p:spPr>
              <a:xfrm rot="16200000" flipV="1">
                <a:off x="4045695" y="3427192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26" name="Round Diagonal Corner Rectangle 73"/>
              <p:cNvSpPr/>
              <p:nvPr/>
            </p:nvSpPr>
            <p:spPr>
              <a:xfrm rot="16200000" flipV="1">
                <a:off x="6763017" y="3427193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28" name="Round Diagonal Corner Rectangle 73"/>
              <p:cNvSpPr/>
              <p:nvPr/>
            </p:nvSpPr>
            <p:spPr>
              <a:xfrm rot="16200000" flipV="1">
                <a:off x="5404355" y="3086448"/>
                <a:ext cx="900494" cy="527769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6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</p:grpSp>
        <p:grpSp>
          <p:nvGrpSpPr>
            <p:cNvPr id="38" name="Group 2"/>
            <p:cNvGrpSpPr/>
            <p:nvPr userDrawn="1"/>
          </p:nvGrpSpPr>
          <p:grpSpPr>
            <a:xfrm>
              <a:off x="298733" y="103728"/>
              <a:ext cx="90401" cy="105401"/>
              <a:chOff x="6670675" y="3513137"/>
              <a:chExt cx="1071561" cy="1249363"/>
            </a:xfrm>
            <a:solidFill>
              <a:schemeClr val="bg1"/>
            </a:solidFill>
          </p:grpSpPr>
          <p:grpSp>
            <p:nvGrpSpPr>
              <p:cNvPr id="39" name="Group 115"/>
              <p:cNvGrpSpPr/>
              <p:nvPr/>
            </p:nvGrpSpPr>
            <p:grpSpPr>
              <a:xfrm>
                <a:off x="6670675" y="3513137"/>
                <a:ext cx="700087" cy="1249363"/>
                <a:chOff x="-2524125" y="-798513"/>
                <a:chExt cx="700087" cy="1249363"/>
              </a:xfrm>
              <a:grpFill/>
            </p:grpSpPr>
            <p:sp>
              <p:nvSpPr>
                <p:cNvPr id="41" name="Oval 273"/>
                <p:cNvSpPr>
                  <a:spLocks noChangeArrowheads="1"/>
                </p:cNvSpPr>
                <p:nvPr/>
              </p:nvSpPr>
              <p:spPr bwMode="auto">
                <a:xfrm>
                  <a:off x="-2268538" y="-798513"/>
                  <a:ext cx="200025" cy="23812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42" name="Freeform 274"/>
                <p:cNvSpPr>
                  <a:spLocks noEditPoints="1"/>
                </p:cNvSpPr>
                <p:nvPr/>
              </p:nvSpPr>
              <p:spPr bwMode="auto">
                <a:xfrm>
                  <a:off x="-2524125" y="-536575"/>
                  <a:ext cx="700087" cy="987425"/>
                </a:xfrm>
                <a:custGeom>
                  <a:avLst/>
                  <a:gdLst/>
                  <a:ahLst/>
                  <a:cxnLst>
                    <a:cxn ang="0">
                      <a:pos x="123" y="27"/>
                    </a:cxn>
                    <a:cxn ang="0">
                      <a:pos x="122" y="26"/>
                    </a:cxn>
                    <a:cxn ang="0">
                      <a:pos x="116" y="22"/>
                    </a:cxn>
                    <a:cxn ang="0">
                      <a:pos x="91" y="3"/>
                    </a:cxn>
                    <a:cxn ang="0">
                      <a:pos x="85" y="1"/>
                    </a:cxn>
                    <a:cxn ang="0">
                      <a:pos x="77" y="1"/>
                    </a:cxn>
                    <a:cxn ang="0">
                      <a:pos x="75" y="11"/>
                    </a:cxn>
                    <a:cxn ang="0">
                      <a:pos x="68" y="43"/>
                    </a:cxn>
                    <a:cxn ang="0">
                      <a:pos x="68" y="7"/>
                    </a:cxn>
                    <a:cxn ang="0">
                      <a:pos x="59" y="0"/>
                    </a:cxn>
                    <a:cxn ang="0">
                      <a:pos x="59" y="9"/>
                    </a:cxn>
                    <a:cxn ang="0">
                      <a:pos x="46" y="18"/>
                    </a:cxn>
                    <a:cxn ang="0">
                      <a:pos x="41" y="7"/>
                    </a:cxn>
                    <a:cxn ang="0">
                      <a:pos x="48" y="0"/>
                    </a:cxn>
                    <a:cxn ang="0">
                      <a:pos x="39" y="1"/>
                    </a:cxn>
                    <a:cxn ang="0">
                      <a:pos x="3" y="36"/>
                    </a:cxn>
                    <a:cxn ang="0">
                      <a:pos x="3" y="36"/>
                    </a:cxn>
                    <a:cxn ang="0">
                      <a:pos x="1" y="49"/>
                    </a:cxn>
                    <a:cxn ang="0">
                      <a:pos x="1" y="49"/>
                    </a:cxn>
                    <a:cxn ang="0">
                      <a:pos x="2" y="51"/>
                    </a:cxn>
                    <a:cxn ang="0">
                      <a:pos x="6" y="58"/>
                    </a:cxn>
                    <a:cxn ang="0">
                      <a:pos x="20" y="86"/>
                    </a:cxn>
                    <a:cxn ang="0">
                      <a:pos x="33" y="91"/>
                    </a:cxn>
                    <a:cxn ang="0">
                      <a:pos x="35" y="92"/>
                    </a:cxn>
                    <a:cxn ang="0">
                      <a:pos x="61" y="174"/>
                    </a:cxn>
                    <a:cxn ang="0">
                      <a:pos x="57" y="112"/>
                    </a:cxn>
                    <a:cxn ang="0">
                      <a:pos x="91" y="34"/>
                    </a:cxn>
                    <a:cxn ang="0">
                      <a:pos x="95" y="32"/>
                    </a:cxn>
                    <a:cxn ang="0">
                      <a:pos x="77" y="46"/>
                    </a:cxn>
                    <a:cxn ang="0">
                      <a:pos x="91" y="34"/>
                    </a:cxn>
                    <a:cxn ang="0">
                      <a:pos x="31" y="56"/>
                    </a:cxn>
                    <a:cxn ang="0">
                      <a:pos x="24" y="44"/>
                    </a:cxn>
                    <a:cxn ang="0">
                      <a:pos x="34" y="61"/>
                    </a:cxn>
                  </a:cxnLst>
                  <a:rect l="0" t="0" r="r" b="b"/>
                  <a:pathLst>
                    <a:path w="123" h="174">
                      <a:moveTo>
                        <a:pt x="122" y="42"/>
                      </a:moveTo>
                      <a:cubicBezTo>
                        <a:pt x="122" y="35"/>
                        <a:pt x="123" y="24"/>
                        <a:pt x="123" y="27"/>
                      </a:cubicBezTo>
                      <a:cubicBezTo>
                        <a:pt x="123" y="26"/>
                        <a:pt x="123" y="26"/>
                        <a:pt x="123" y="26"/>
                      </a:cubicBezTo>
                      <a:cubicBezTo>
                        <a:pt x="122" y="26"/>
                        <a:pt x="122" y="26"/>
                        <a:pt x="122" y="26"/>
                      </a:cubicBezTo>
                      <a:cubicBezTo>
                        <a:pt x="120" y="25"/>
                        <a:pt x="120" y="25"/>
                        <a:pt x="120" y="25"/>
                      </a:cubicBezTo>
                      <a:cubicBezTo>
                        <a:pt x="116" y="22"/>
                        <a:pt x="116" y="22"/>
                        <a:pt x="116" y="22"/>
                      </a:cubicBezTo>
                      <a:cubicBezTo>
                        <a:pt x="108" y="15"/>
                        <a:pt x="108" y="15"/>
                        <a:pt x="108" y="15"/>
                      </a:cubicBezTo>
                      <a:cubicBezTo>
                        <a:pt x="91" y="3"/>
                        <a:pt x="91" y="3"/>
                        <a:pt x="91" y="3"/>
                      </a:cubicBezTo>
                      <a:cubicBezTo>
                        <a:pt x="90" y="2"/>
                        <a:pt x="88" y="1"/>
                        <a:pt x="86" y="1"/>
                      </a:cubicBezTo>
                      <a:cubicBezTo>
                        <a:pt x="85" y="1"/>
                        <a:pt x="85" y="1"/>
                        <a:pt x="85" y="1"/>
                      </a:cubicBezTo>
                      <a:cubicBezTo>
                        <a:pt x="83" y="1"/>
                        <a:pt x="80" y="1"/>
                        <a:pt x="77" y="0"/>
                      </a:cubicBez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84" y="7"/>
                        <a:pt x="84" y="7"/>
                        <a:pt x="84" y="7"/>
                      </a:cubicBezTo>
                      <a:cubicBezTo>
                        <a:pt x="75" y="11"/>
                        <a:pt x="75" y="11"/>
                        <a:pt x="75" y="11"/>
                      </a:cubicBezTo>
                      <a:cubicBezTo>
                        <a:pt x="80" y="18"/>
                        <a:pt x="80" y="18"/>
                        <a:pt x="80" y="18"/>
                      </a:cubicBezTo>
                      <a:cubicBezTo>
                        <a:pt x="68" y="43"/>
                        <a:pt x="68" y="43"/>
                        <a:pt x="68" y="43"/>
                      </a:cubicBezTo>
                      <a:cubicBezTo>
                        <a:pt x="67" y="9"/>
                        <a:pt x="67" y="9"/>
                        <a:pt x="67" y="9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7" y="7"/>
                        <a:pt x="57" y="7"/>
                        <a:pt x="57" y="7"/>
                      </a:cubicBezTo>
                      <a:cubicBezTo>
                        <a:pt x="59" y="9"/>
                        <a:pt x="59" y="9"/>
                        <a:pt x="59" y="9"/>
                      </a:cubicBezTo>
                      <a:cubicBezTo>
                        <a:pt x="57" y="43"/>
                        <a:pt x="57" y="43"/>
                        <a:pt x="57" y="43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50" y="11"/>
                        <a:pt x="50" y="11"/>
                        <a:pt x="50" y="11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8" y="1"/>
                        <a:pt x="48" y="1"/>
                        <a:pt x="48" y="1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5" y="1"/>
                        <a:pt x="43" y="1"/>
                        <a:pt x="40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6" y="1"/>
                        <a:pt x="34" y="3"/>
                        <a:pt x="32" y="5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0" y="61"/>
                        <a:pt x="2" y="43"/>
                        <a:pt x="1" y="48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2" y="49"/>
                        <a:pt x="2" y="49"/>
                        <a:pt x="2" y="49"/>
                      </a:cubicBezTo>
                      <a:cubicBezTo>
                        <a:pt x="2" y="51"/>
                        <a:pt x="2" y="51"/>
                        <a:pt x="2" y="51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6" y="58"/>
                        <a:pt x="6" y="58"/>
                        <a:pt x="6" y="58"/>
                      </a:cubicBezTo>
                      <a:cubicBezTo>
                        <a:pt x="11" y="67"/>
                        <a:pt x="11" y="67"/>
                        <a:pt x="11" y="67"/>
                      </a:cubicBezTo>
                      <a:cubicBezTo>
                        <a:pt x="20" y="86"/>
                        <a:pt x="20" y="86"/>
                        <a:pt x="20" y="86"/>
                      </a:cubicBezTo>
                      <a:cubicBezTo>
                        <a:pt x="25" y="84"/>
                        <a:pt x="29" y="82"/>
                        <a:pt x="33" y="79"/>
                      </a:cubicBezTo>
                      <a:cubicBezTo>
                        <a:pt x="33" y="83"/>
                        <a:pt x="33" y="87"/>
                        <a:pt x="33" y="91"/>
                      </a:cubicBezTo>
                      <a:cubicBezTo>
                        <a:pt x="33" y="92"/>
                        <a:pt x="33" y="92"/>
                        <a:pt x="33" y="92"/>
                      </a:cubicBezTo>
                      <a:cubicBezTo>
                        <a:pt x="35" y="92"/>
                        <a:pt x="35" y="92"/>
                        <a:pt x="35" y="92"/>
                      </a:cubicBezTo>
                      <a:cubicBezTo>
                        <a:pt x="38" y="174"/>
                        <a:pt x="38" y="174"/>
                        <a:pt x="38" y="174"/>
                      </a:cubicBezTo>
                      <a:cubicBezTo>
                        <a:pt x="61" y="174"/>
                        <a:pt x="61" y="174"/>
                        <a:pt x="61" y="174"/>
                      </a:cubicBezTo>
                      <a:cubicBezTo>
                        <a:pt x="62" y="163"/>
                        <a:pt x="62" y="150"/>
                        <a:pt x="62" y="137"/>
                      </a:cubicBezTo>
                      <a:cubicBezTo>
                        <a:pt x="59" y="129"/>
                        <a:pt x="57" y="121"/>
                        <a:pt x="57" y="112"/>
                      </a:cubicBezTo>
                      <a:cubicBezTo>
                        <a:pt x="57" y="75"/>
                        <a:pt x="86" y="45"/>
                        <a:pt x="122" y="42"/>
                      </a:cubicBezTo>
                      <a:close/>
                      <a:moveTo>
                        <a:pt x="91" y="34"/>
                      </a:moveTo>
                      <a:cubicBezTo>
                        <a:pt x="91" y="32"/>
                        <a:pt x="91" y="30"/>
                        <a:pt x="90" y="28"/>
                      </a:cubicBezTo>
                      <a:cubicBezTo>
                        <a:pt x="95" y="32"/>
                        <a:pt x="95" y="32"/>
                        <a:pt x="95" y="32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ubicBezTo>
                        <a:pt x="77" y="46"/>
                        <a:pt x="77" y="46"/>
                        <a:pt x="77" y="46"/>
                      </a:cubicBezTo>
                      <a:cubicBezTo>
                        <a:pt x="75" y="43"/>
                        <a:pt x="75" y="43"/>
                        <a:pt x="75" y="43"/>
                      </a:cubicBezTo>
                      <a:lnTo>
                        <a:pt x="91" y="34"/>
                      </a:lnTo>
                      <a:close/>
                      <a:moveTo>
                        <a:pt x="34" y="61"/>
                      </a:moveTo>
                      <a:cubicBezTo>
                        <a:pt x="31" y="56"/>
                        <a:pt x="31" y="56"/>
                        <a:pt x="31" y="56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4" y="44"/>
                        <a:pt x="24" y="44"/>
                        <a:pt x="24" y="44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cubicBezTo>
                        <a:pt x="34" y="41"/>
                        <a:pt x="34" y="51"/>
                        <a:pt x="34" y="6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43" name="Freeform 275"/>
                <p:cNvSpPr>
                  <a:spLocks/>
                </p:cNvSpPr>
                <p:nvPr/>
              </p:nvSpPr>
              <p:spPr bwMode="auto">
                <a:xfrm>
                  <a:off x="-2154238" y="287337"/>
                  <a:ext cx="141287" cy="1635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" y="29"/>
                    </a:cxn>
                    <a:cxn ang="0">
                      <a:pos x="25" y="29"/>
                    </a:cxn>
                    <a:cxn ang="0">
                      <a:pos x="25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5" h="29">
                      <a:moveTo>
                        <a:pt x="0" y="0"/>
                      </a:move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25" y="29"/>
                        <a:pt x="25" y="29"/>
                        <a:pt x="25" y="29"/>
                      </a:cubicBezTo>
                      <a:cubicBezTo>
                        <a:pt x="25" y="28"/>
                        <a:pt x="25" y="27"/>
                        <a:pt x="25" y="26"/>
                      </a:cubicBezTo>
                      <a:cubicBezTo>
                        <a:pt x="15" y="19"/>
                        <a:pt x="6" y="10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</p:grpSp>
          <p:sp>
            <p:nvSpPr>
              <p:cNvPr id="40" name="Freeform 209"/>
              <p:cNvSpPr>
                <a:spLocks noEditPoints="1"/>
              </p:cNvSpPr>
              <p:nvPr/>
            </p:nvSpPr>
            <p:spPr bwMode="auto">
              <a:xfrm>
                <a:off x="7032625" y="4046538"/>
                <a:ext cx="709611" cy="709611"/>
              </a:xfrm>
              <a:custGeom>
                <a:avLst/>
                <a:gdLst/>
                <a:ahLst/>
                <a:cxnLst>
                  <a:cxn ang="0">
                    <a:pos x="114" y="40"/>
                  </a:cxn>
                  <a:cxn ang="0">
                    <a:pos x="109" y="41"/>
                  </a:cxn>
                  <a:cxn ang="0">
                    <a:pos x="103" y="34"/>
                  </a:cxn>
                  <a:cxn ang="0">
                    <a:pos x="109" y="25"/>
                  </a:cxn>
                  <a:cxn ang="0">
                    <a:pos x="96" y="16"/>
                  </a:cxn>
                  <a:cxn ang="0">
                    <a:pos x="88" y="19"/>
                  </a:cxn>
                  <a:cxn ang="0">
                    <a:pos x="87" y="10"/>
                  </a:cxn>
                  <a:cxn ang="0">
                    <a:pos x="74" y="2"/>
                  </a:cxn>
                  <a:cxn ang="0">
                    <a:pos x="70" y="3"/>
                  </a:cxn>
                  <a:cxn ang="0">
                    <a:pos x="59" y="10"/>
                  </a:cxn>
                  <a:cxn ang="0">
                    <a:pos x="55" y="0"/>
                  </a:cxn>
                  <a:cxn ang="0">
                    <a:pos x="47" y="2"/>
                  </a:cxn>
                  <a:cxn ang="0">
                    <a:pos x="45" y="2"/>
                  </a:cxn>
                  <a:cxn ang="0">
                    <a:pos x="40" y="6"/>
                  </a:cxn>
                  <a:cxn ang="0">
                    <a:pos x="34" y="16"/>
                  </a:cxn>
                  <a:cxn ang="0">
                    <a:pos x="26" y="11"/>
                  </a:cxn>
                  <a:cxn ang="0">
                    <a:pos x="16" y="19"/>
                  </a:cxn>
                  <a:cxn ang="0">
                    <a:pos x="21" y="29"/>
                  </a:cxn>
                  <a:cxn ang="0">
                    <a:pos x="14" y="34"/>
                  </a:cxn>
                  <a:cxn ang="0">
                    <a:pos x="6" y="34"/>
                  </a:cxn>
                  <a:cxn ang="0">
                    <a:pos x="2" y="46"/>
                  </a:cxn>
                  <a:cxn ang="0">
                    <a:pos x="10" y="52"/>
                  </a:cxn>
                  <a:cxn ang="0">
                    <a:pos x="3" y="61"/>
                  </a:cxn>
                  <a:cxn ang="0">
                    <a:pos x="2" y="77"/>
                  </a:cxn>
                  <a:cxn ang="0">
                    <a:pos x="13" y="78"/>
                  </a:cxn>
                  <a:cxn ang="0">
                    <a:pos x="11" y="89"/>
                  </a:cxn>
                  <a:cxn ang="0">
                    <a:pos x="19" y="103"/>
                  </a:cxn>
                  <a:cxn ang="0">
                    <a:pos x="29" y="99"/>
                  </a:cxn>
                  <a:cxn ang="0">
                    <a:pos x="33" y="110"/>
                  </a:cxn>
                  <a:cxn ang="0">
                    <a:pos x="46" y="118"/>
                  </a:cxn>
                  <a:cxn ang="0">
                    <a:pos x="52" y="109"/>
                  </a:cxn>
                  <a:cxn ang="0">
                    <a:pos x="61" y="117"/>
                  </a:cxn>
                  <a:cxn ang="0">
                    <a:pos x="77" y="117"/>
                  </a:cxn>
                  <a:cxn ang="0">
                    <a:pos x="78" y="106"/>
                  </a:cxn>
                  <a:cxn ang="0">
                    <a:pos x="90" y="108"/>
                  </a:cxn>
                  <a:cxn ang="0">
                    <a:pos x="103" y="101"/>
                  </a:cxn>
                  <a:cxn ang="0">
                    <a:pos x="99" y="91"/>
                  </a:cxn>
                  <a:cxn ang="0">
                    <a:pos x="110" y="87"/>
                  </a:cxn>
                  <a:cxn ang="0">
                    <a:pos x="118" y="73"/>
                  </a:cxn>
                  <a:cxn ang="0">
                    <a:pos x="109" y="67"/>
                  </a:cxn>
                  <a:cxn ang="0">
                    <a:pos x="117" y="58"/>
                  </a:cxn>
                  <a:cxn ang="0">
                    <a:pos x="117" y="44"/>
                  </a:cxn>
                  <a:cxn ang="0">
                    <a:pos x="23" y="67"/>
                  </a:cxn>
                  <a:cxn ang="0">
                    <a:pos x="24" y="47"/>
                  </a:cxn>
                  <a:cxn ang="0">
                    <a:pos x="50" y="23"/>
                  </a:cxn>
                  <a:cxn ang="0">
                    <a:pos x="51" y="39"/>
                  </a:cxn>
                  <a:cxn ang="0">
                    <a:pos x="47" y="41"/>
                  </a:cxn>
                  <a:cxn ang="0">
                    <a:pos x="37" y="60"/>
                  </a:cxn>
                  <a:cxn ang="0">
                    <a:pos x="66" y="97"/>
                  </a:cxn>
                  <a:cxn ang="0">
                    <a:pos x="48" y="79"/>
                  </a:cxn>
                  <a:cxn ang="0">
                    <a:pos x="68" y="81"/>
                  </a:cxn>
                  <a:cxn ang="0">
                    <a:pos x="66" y="97"/>
                  </a:cxn>
                  <a:cxn ang="0">
                    <a:pos x="82" y="64"/>
                  </a:cxn>
                  <a:cxn ang="0">
                    <a:pos x="74" y="42"/>
                  </a:cxn>
                  <a:cxn ang="0">
                    <a:pos x="74" y="25"/>
                  </a:cxn>
                  <a:cxn ang="0">
                    <a:pos x="89" y="36"/>
                  </a:cxn>
                  <a:cxn ang="0">
                    <a:pos x="97" y="53"/>
                  </a:cxn>
                </a:cxnLst>
                <a:rect l="0" t="0" r="r" b="b"/>
                <a:pathLst>
                  <a:path w="119" h="119">
                    <a:moveTo>
                      <a:pt x="117" y="42"/>
                    </a:moveTo>
                    <a:cubicBezTo>
                      <a:pt x="117" y="41"/>
                      <a:pt x="115" y="40"/>
                      <a:pt x="114" y="40"/>
                    </a:cubicBezTo>
                    <a:cubicBezTo>
                      <a:pt x="114" y="40"/>
                      <a:pt x="113" y="40"/>
                      <a:pt x="113" y="40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6" y="41"/>
                      <a:pt x="106" y="41"/>
                      <a:pt x="106" y="41"/>
                    </a:cubicBezTo>
                    <a:cubicBezTo>
                      <a:pt x="105" y="39"/>
                      <a:pt x="104" y="37"/>
                      <a:pt x="103" y="34"/>
                    </a:cubicBezTo>
                    <a:cubicBezTo>
                      <a:pt x="108" y="30"/>
                      <a:pt x="108" y="30"/>
                      <a:pt x="108" y="30"/>
                    </a:cubicBezTo>
                    <a:cubicBezTo>
                      <a:pt x="110" y="29"/>
                      <a:pt x="110" y="27"/>
                      <a:pt x="109" y="25"/>
                    </a:cubicBezTo>
                    <a:cubicBezTo>
                      <a:pt x="101" y="16"/>
                      <a:pt x="101" y="16"/>
                      <a:pt x="101" y="16"/>
                    </a:cubicBezTo>
                    <a:cubicBezTo>
                      <a:pt x="100" y="15"/>
                      <a:pt x="98" y="15"/>
                      <a:pt x="96" y="16"/>
                    </a:cubicBezTo>
                    <a:cubicBezTo>
                      <a:pt x="91" y="21"/>
                      <a:pt x="91" y="21"/>
                      <a:pt x="91" y="21"/>
                    </a:cubicBezTo>
                    <a:cubicBezTo>
                      <a:pt x="90" y="20"/>
                      <a:pt x="89" y="19"/>
                      <a:pt x="88" y="19"/>
                    </a:cubicBezTo>
                    <a:cubicBezTo>
                      <a:pt x="87" y="18"/>
                      <a:pt x="86" y="17"/>
                      <a:pt x="84" y="16"/>
                    </a:cubicBezTo>
                    <a:cubicBezTo>
                      <a:pt x="87" y="10"/>
                      <a:pt x="87" y="10"/>
                      <a:pt x="87" y="10"/>
                    </a:cubicBezTo>
                    <a:cubicBezTo>
                      <a:pt x="87" y="8"/>
                      <a:pt x="87" y="6"/>
                      <a:pt x="85" y="6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2" y="1"/>
                      <a:pt x="70" y="2"/>
                      <a:pt x="70" y="3"/>
                    </a:cubicBezTo>
                    <a:cubicBezTo>
                      <a:pt x="67" y="10"/>
                      <a:pt x="67" y="10"/>
                      <a:pt x="67" y="10"/>
                    </a:cubicBezTo>
                    <a:cubicBezTo>
                      <a:pt x="65" y="10"/>
                      <a:pt x="62" y="10"/>
                      <a:pt x="59" y="10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58" y="1"/>
                      <a:pt x="56" y="0"/>
                      <a:pt x="55" y="0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1" y="3"/>
                      <a:pt x="40" y="4"/>
                      <a:pt x="40" y="6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9" y="14"/>
                      <a:pt x="37" y="15"/>
                      <a:pt x="34" y="16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10"/>
                      <a:pt x="27" y="10"/>
                      <a:pt x="26" y="11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5" y="20"/>
                      <a:pt x="15" y="22"/>
                      <a:pt x="16" y="23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19" y="31"/>
                      <a:pt x="18" y="33"/>
                      <a:pt x="16" y="35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8" y="32"/>
                      <a:pt x="6" y="33"/>
                      <a:pt x="6" y="3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1" y="47"/>
                      <a:pt x="2" y="49"/>
                      <a:pt x="3" y="50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0" y="55"/>
                      <a:pt x="10" y="57"/>
                      <a:pt x="10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0" y="63"/>
                      <a:pt x="0" y="65"/>
                    </a:cubicBezTo>
                    <a:cubicBezTo>
                      <a:pt x="2" y="77"/>
                      <a:pt x="2" y="77"/>
                      <a:pt x="2" y="77"/>
                    </a:cubicBezTo>
                    <a:cubicBezTo>
                      <a:pt x="3" y="78"/>
                      <a:pt x="4" y="80"/>
                      <a:pt x="6" y="79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4" y="80"/>
                      <a:pt x="15" y="83"/>
                      <a:pt x="17" y="85"/>
                    </a:cubicBezTo>
                    <a:cubicBezTo>
                      <a:pt x="11" y="89"/>
                      <a:pt x="11" y="89"/>
                      <a:pt x="11" y="89"/>
                    </a:cubicBezTo>
                    <a:cubicBezTo>
                      <a:pt x="10" y="91"/>
                      <a:pt x="10" y="92"/>
                      <a:pt x="11" y="94"/>
                    </a:cubicBezTo>
                    <a:cubicBezTo>
                      <a:pt x="19" y="103"/>
                      <a:pt x="19" y="103"/>
                      <a:pt x="19" y="103"/>
                    </a:cubicBezTo>
                    <a:cubicBezTo>
                      <a:pt x="20" y="104"/>
                      <a:pt x="22" y="105"/>
                      <a:pt x="23" y="103"/>
                    </a:cubicBezTo>
                    <a:cubicBezTo>
                      <a:pt x="29" y="99"/>
                      <a:pt x="29" y="99"/>
                      <a:pt x="29" y="99"/>
                    </a:cubicBezTo>
                    <a:cubicBezTo>
                      <a:pt x="31" y="100"/>
                      <a:pt x="33" y="102"/>
                      <a:pt x="35" y="103"/>
                    </a:cubicBezTo>
                    <a:cubicBezTo>
                      <a:pt x="33" y="110"/>
                      <a:pt x="33" y="110"/>
                      <a:pt x="33" y="110"/>
                    </a:cubicBezTo>
                    <a:cubicBezTo>
                      <a:pt x="32" y="111"/>
                      <a:pt x="33" y="113"/>
                      <a:pt x="34" y="114"/>
                    </a:cubicBezTo>
                    <a:cubicBezTo>
                      <a:pt x="46" y="118"/>
                      <a:pt x="46" y="118"/>
                      <a:pt x="46" y="118"/>
                    </a:cubicBezTo>
                    <a:cubicBezTo>
                      <a:pt x="48" y="118"/>
                      <a:pt x="49" y="118"/>
                      <a:pt x="50" y="116"/>
                    </a:cubicBezTo>
                    <a:cubicBezTo>
                      <a:pt x="52" y="109"/>
                      <a:pt x="52" y="109"/>
                      <a:pt x="52" y="109"/>
                    </a:cubicBezTo>
                    <a:cubicBezTo>
                      <a:pt x="55" y="109"/>
                      <a:pt x="57" y="110"/>
                      <a:pt x="60" y="110"/>
                    </a:cubicBezTo>
                    <a:cubicBezTo>
                      <a:pt x="61" y="117"/>
                      <a:pt x="61" y="117"/>
                      <a:pt x="61" y="117"/>
                    </a:cubicBezTo>
                    <a:cubicBezTo>
                      <a:pt x="62" y="118"/>
                      <a:pt x="63" y="119"/>
                      <a:pt x="65" y="119"/>
                    </a:cubicBezTo>
                    <a:cubicBezTo>
                      <a:pt x="77" y="117"/>
                      <a:pt x="77" y="117"/>
                      <a:pt x="77" y="117"/>
                    </a:cubicBezTo>
                    <a:cubicBezTo>
                      <a:pt x="79" y="117"/>
                      <a:pt x="80" y="115"/>
                      <a:pt x="79" y="113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80" y="105"/>
                      <a:pt x="83" y="104"/>
                      <a:pt x="85" y="103"/>
                    </a:cubicBezTo>
                    <a:cubicBezTo>
                      <a:pt x="90" y="108"/>
                      <a:pt x="90" y="108"/>
                      <a:pt x="90" y="108"/>
                    </a:cubicBezTo>
                    <a:cubicBezTo>
                      <a:pt x="91" y="109"/>
                      <a:pt x="93" y="110"/>
                      <a:pt x="94" y="108"/>
                    </a:cubicBezTo>
                    <a:cubicBezTo>
                      <a:pt x="103" y="101"/>
                      <a:pt x="103" y="101"/>
                      <a:pt x="103" y="101"/>
                    </a:cubicBezTo>
                    <a:cubicBezTo>
                      <a:pt x="104" y="100"/>
                      <a:pt x="105" y="98"/>
                      <a:pt x="104" y="96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0" y="89"/>
                      <a:pt x="102" y="87"/>
                      <a:pt x="103" y="84"/>
                    </a:cubicBezTo>
                    <a:cubicBezTo>
                      <a:pt x="110" y="87"/>
                      <a:pt x="110" y="87"/>
                      <a:pt x="110" y="87"/>
                    </a:cubicBezTo>
                    <a:cubicBezTo>
                      <a:pt x="111" y="87"/>
                      <a:pt x="113" y="86"/>
                      <a:pt x="114" y="85"/>
                    </a:cubicBezTo>
                    <a:cubicBezTo>
                      <a:pt x="118" y="73"/>
                      <a:pt x="118" y="73"/>
                      <a:pt x="118" y="73"/>
                    </a:cubicBezTo>
                    <a:cubicBezTo>
                      <a:pt x="118" y="72"/>
                      <a:pt x="118" y="70"/>
                      <a:pt x="116" y="69"/>
                    </a:cubicBezTo>
                    <a:cubicBezTo>
                      <a:pt x="109" y="67"/>
                      <a:pt x="109" y="67"/>
                      <a:pt x="109" y="67"/>
                    </a:cubicBezTo>
                    <a:cubicBezTo>
                      <a:pt x="110" y="64"/>
                      <a:pt x="110" y="62"/>
                      <a:pt x="110" y="59"/>
                    </a:cubicBezTo>
                    <a:cubicBezTo>
                      <a:pt x="117" y="58"/>
                      <a:pt x="117" y="58"/>
                      <a:pt x="117" y="58"/>
                    </a:cubicBezTo>
                    <a:cubicBezTo>
                      <a:pt x="118" y="58"/>
                      <a:pt x="119" y="56"/>
                      <a:pt x="119" y="54"/>
                    </a:cubicBezTo>
                    <a:cubicBezTo>
                      <a:pt x="117" y="44"/>
                      <a:pt x="117" y="44"/>
                      <a:pt x="117" y="44"/>
                    </a:cubicBezTo>
                    <a:lnTo>
                      <a:pt x="117" y="42"/>
                    </a:lnTo>
                    <a:close/>
                    <a:moveTo>
                      <a:pt x="23" y="67"/>
                    </a:moveTo>
                    <a:cubicBezTo>
                      <a:pt x="23" y="66"/>
                      <a:pt x="23" y="66"/>
                      <a:pt x="23" y="66"/>
                    </a:cubicBezTo>
                    <a:cubicBezTo>
                      <a:pt x="22" y="60"/>
                      <a:pt x="22" y="53"/>
                      <a:pt x="24" y="47"/>
                    </a:cubicBezTo>
                    <a:cubicBezTo>
                      <a:pt x="28" y="37"/>
                      <a:pt x="36" y="28"/>
                      <a:pt x="47" y="24"/>
                    </a:cubicBezTo>
                    <a:cubicBezTo>
                      <a:pt x="48" y="24"/>
                      <a:pt x="49" y="24"/>
                      <a:pt x="50" y="23"/>
                    </a:cubicBezTo>
                    <a:cubicBezTo>
                      <a:pt x="51" y="23"/>
                      <a:pt x="52" y="23"/>
                      <a:pt x="52" y="23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49" y="39"/>
                      <a:pt x="48" y="40"/>
                      <a:pt x="47" y="41"/>
                    </a:cubicBezTo>
                    <a:cubicBezTo>
                      <a:pt x="42" y="44"/>
                      <a:pt x="39" y="50"/>
                      <a:pt x="38" y="56"/>
                    </a:cubicBezTo>
                    <a:cubicBezTo>
                      <a:pt x="37" y="57"/>
                      <a:pt x="37" y="59"/>
                      <a:pt x="37" y="60"/>
                    </a:cubicBezTo>
                    <a:lnTo>
                      <a:pt x="23" y="67"/>
                    </a:lnTo>
                    <a:close/>
                    <a:moveTo>
                      <a:pt x="66" y="97"/>
                    </a:moveTo>
                    <a:cubicBezTo>
                      <a:pt x="54" y="99"/>
                      <a:pt x="41" y="95"/>
                      <a:pt x="33" y="86"/>
                    </a:cubicBezTo>
                    <a:cubicBezTo>
                      <a:pt x="48" y="79"/>
                      <a:pt x="48" y="79"/>
                      <a:pt x="48" y="79"/>
                    </a:cubicBezTo>
                    <a:cubicBezTo>
                      <a:pt x="52" y="82"/>
                      <a:pt x="58" y="83"/>
                      <a:pt x="64" y="82"/>
                    </a:cubicBezTo>
                    <a:cubicBezTo>
                      <a:pt x="65" y="82"/>
                      <a:pt x="67" y="81"/>
                      <a:pt x="68" y="81"/>
                    </a:cubicBezTo>
                    <a:cubicBezTo>
                      <a:pt x="82" y="90"/>
                      <a:pt x="82" y="90"/>
                      <a:pt x="82" y="90"/>
                    </a:cubicBezTo>
                    <a:cubicBezTo>
                      <a:pt x="77" y="93"/>
                      <a:pt x="72" y="96"/>
                      <a:pt x="66" y="97"/>
                    </a:cubicBezTo>
                    <a:close/>
                    <a:moveTo>
                      <a:pt x="95" y="73"/>
                    </a:moveTo>
                    <a:cubicBezTo>
                      <a:pt x="82" y="64"/>
                      <a:pt x="82" y="64"/>
                      <a:pt x="82" y="64"/>
                    </a:cubicBezTo>
                    <a:cubicBezTo>
                      <a:pt x="82" y="62"/>
                      <a:pt x="83" y="59"/>
                      <a:pt x="82" y="56"/>
                    </a:cubicBezTo>
                    <a:cubicBezTo>
                      <a:pt x="81" y="50"/>
                      <a:pt x="78" y="45"/>
                      <a:pt x="74" y="42"/>
                    </a:cubicBezTo>
                    <a:cubicBezTo>
                      <a:pt x="73" y="42"/>
                      <a:pt x="73" y="41"/>
                      <a:pt x="72" y="41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80" y="27"/>
                      <a:pt x="85" y="31"/>
                      <a:pt x="89" y="36"/>
                    </a:cubicBezTo>
                    <a:cubicBezTo>
                      <a:pt x="91" y="38"/>
                      <a:pt x="93" y="41"/>
                      <a:pt x="94" y="44"/>
                    </a:cubicBezTo>
                    <a:cubicBezTo>
                      <a:pt x="95" y="47"/>
                      <a:pt x="96" y="50"/>
                      <a:pt x="97" y="53"/>
                    </a:cubicBezTo>
                    <a:cubicBezTo>
                      <a:pt x="98" y="60"/>
                      <a:pt x="97" y="67"/>
                      <a:pt x="95" y="7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</p:grpSp>
        <p:grpSp>
          <p:nvGrpSpPr>
            <p:cNvPr id="44" name="Group 4"/>
            <p:cNvGrpSpPr>
              <a:grpSpLocks noChangeAspect="1"/>
            </p:cNvGrpSpPr>
            <p:nvPr userDrawn="1"/>
          </p:nvGrpSpPr>
          <p:grpSpPr bwMode="auto">
            <a:xfrm>
              <a:off x="713661" y="113741"/>
              <a:ext cx="69318" cy="90152"/>
              <a:chOff x="3655" y="1900"/>
              <a:chExt cx="366" cy="476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45" name="Freeform 5"/>
              <p:cNvSpPr>
                <a:spLocks noEditPoints="1"/>
              </p:cNvSpPr>
              <p:nvPr/>
            </p:nvSpPr>
            <p:spPr bwMode="auto">
              <a:xfrm>
                <a:off x="3953" y="1971"/>
                <a:ext cx="68" cy="132"/>
              </a:xfrm>
              <a:custGeom>
                <a:avLst/>
                <a:gdLst>
                  <a:gd name="T0" fmla="*/ 31 w 38"/>
                  <a:gd name="T1" fmla="*/ 74 h 74"/>
                  <a:gd name="T2" fmla="*/ 27 w 38"/>
                  <a:gd name="T3" fmla="*/ 73 h 74"/>
                  <a:gd name="T4" fmla="*/ 18 w 38"/>
                  <a:gd name="T5" fmla="*/ 52 h 74"/>
                  <a:gd name="T6" fmla="*/ 17 w 38"/>
                  <a:gd name="T7" fmla="*/ 49 h 74"/>
                  <a:gd name="T8" fmla="*/ 2 w 38"/>
                  <a:gd name="T9" fmla="*/ 10 h 74"/>
                  <a:gd name="T10" fmla="*/ 4 w 38"/>
                  <a:gd name="T11" fmla="*/ 2 h 74"/>
                  <a:gd name="T12" fmla="*/ 12 w 38"/>
                  <a:gd name="T13" fmla="*/ 4 h 74"/>
                  <a:gd name="T14" fmla="*/ 29 w 38"/>
                  <a:gd name="T15" fmla="*/ 46 h 74"/>
                  <a:gd name="T16" fmla="*/ 29 w 38"/>
                  <a:gd name="T17" fmla="*/ 48 h 74"/>
                  <a:gd name="T18" fmla="*/ 30 w 38"/>
                  <a:gd name="T19" fmla="*/ 49 h 74"/>
                  <a:gd name="T20" fmla="*/ 34 w 38"/>
                  <a:gd name="T21" fmla="*/ 63 h 74"/>
                  <a:gd name="T22" fmla="*/ 36 w 38"/>
                  <a:gd name="T23" fmla="*/ 72 h 74"/>
                  <a:gd name="T24" fmla="*/ 31 w 38"/>
                  <a:gd name="T25" fmla="*/ 74 h 74"/>
                  <a:gd name="T26" fmla="*/ 31 w 38"/>
                  <a:gd name="T27" fmla="*/ 74 h 74"/>
                  <a:gd name="T28" fmla="*/ 31 w 38"/>
                  <a:gd name="T2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74">
                    <a:moveTo>
                      <a:pt x="31" y="74"/>
                    </a:moveTo>
                    <a:cubicBezTo>
                      <a:pt x="29" y="74"/>
                      <a:pt x="28" y="74"/>
                      <a:pt x="27" y="73"/>
                    </a:cubicBezTo>
                    <a:cubicBezTo>
                      <a:pt x="23" y="70"/>
                      <a:pt x="19" y="60"/>
                      <a:pt x="18" y="52"/>
                    </a:cubicBezTo>
                    <a:cubicBezTo>
                      <a:pt x="17" y="52"/>
                      <a:pt x="17" y="51"/>
                      <a:pt x="17" y="49"/>
                    </a:cubicBezTo>
                    <a:cubicBezTo>
                      <a:pt x="15" y="43"/>
                      <a:pt x="11" y="26"/>
                      <a:pt x="2" y="10"/>
                    </a:cubicBezTo>
                    <a:cubicBezTo>
                      <a:pt x="0" y="7"/>
                      <a:pt x="1" y="3"/>
                      <a:pt x="4" y="2"/>
                    </a:cubicBezTo>
                    <a:cubicBezTo>
                      <a:pt x="7" y="0"/>
                      <a:pt x="11" y="1"/>
                      <a:pt x="12" y="4"/>
                    </a:cubicBezTo>
                    <a:cubicBezTo>
                      <a:pt x="23" y="21"/>
                      <a:pt x="27" y="39"/>
                      <a:pt x="29" y="46"/>
                    </a:cubicBezTo>
                    <a:cubicBezTo>
                      <a:pt x="29" y="47"/>
                      <a:pt x="29" y="48"/>
                      <a:pt x="29" y="48"/>
                    </a:cubicBezTo>
                    <a:cubicBezTo>
                      <a:pt x="29" y="48"/>
                      <a:pt x="30" y="49"/>
                      <a:pt x="30" y="49"/>
                    </a:cubicBezTo>
                    <a:cubicBezTo>
                      <a:pt x="31" y="55"/>
                      <a:pt x="33" y="62"/>
                      <a:pt x="34" y="63"/>
                    </a:cubicBezTo>
                    <a:cubicBezTo>
                      <a:pt x="37" y="65"/>
                      <a:pt x="38" y="69"/>
                      <a:pt x="36" y="72"/>
                    </a:cubicBezTo>
                    <a:cubicBezTo>
                      <a:pt x="34" y="73"/>
                      <a:pt x="32" y="74"/>
                      <a:pt x="31" y="74"/>
                    </a:cubicBezTo>
                    <a:close/>
                    <a:moveTo>
                      <a:pt x="31" y="74"/>
                    </a:moveTo>
                    <a:cubicBezTo>
                      <a:pt x="31" y="74"/>
                      <a:pt x="31" y="74"/>
                      <a:pt x="31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6" name="Freeform 6"/>
              <p:cNvSpPr>
                <a:spLocks noEditPoints="1"/>
              </p:cNvSpPr>
              <p:nvPr/>
            </p:nvSpPr>
            <p:spPr bwMode="auto">
              <a:xfrm>
                <a:off x="3810" y="1900"/>
                <a:ext cx="143" cy="62"/>
              </a:xfrm>
              <a:custGeom>
                <a:avLst/>
                <a:gdLst>
                  <a:gd name="T0" fmla="*/ 74 w 80"/>
                  <a:gd name="T1" fmla="*/ 35 h 35"/>
                  <a:gd name="T2" fmla="*/ 69 w 80"/>
                  <a:gd name="T3" fmla="*/ 34 h 35"/>
                  <a:gd name="T4" fmla="*/ 25 w 80"/>
                  <a:gd name="T5" fmla="*/ 12 h 35"/>
                  <a:gd name="T6" fmla="*/ 8 w 80"/>
                  <a:gd name="T7" fmla="*/ 14 h 35"/>
                  <a:gd name="T8" fmla="*/ 1 w 80"/>
                  <a:gd name="T9" fmla="*/ 9 h 35"/>
                  <a:gd name="T10" fmla="*/ 6 w 80"/>
                  <a:gd name="T11" fmla="*/ 2 h 35"/>
                  <a:gd name="T12" fmla="*/ 26 w 80"/>
                  <a:gd name="T13" fmla="*/ 0 h 35"/>
                  <a:gd name="T14" fmla="*/ 26 w 80"/>
                  <a:gd name="T15" fmla="*/ 0 h 35"/>
                  <a:gd name="T16" fmla="*/ 78 w 80"/>
                  <a:gd name="T17" fmla="*/ 25 h 35"/>
                  <a:gd name="T18" fmla="*/ 78 w 80"/>
                  <a:gd name="T19" fmla="*/ 34 h 35"/>
                  <a:gd name="T20" fmla="*/ 74 w 80"/>
                  <a:gd name="T21" fmla="*/ 35 h 35"/>
                  <a:gd name="T22" fmla="*/ 74 w 80"/>
                  <a:gd name="T23" fmla="*/ 35 h 35"/>
                  <a:gd name="T24" fmla="*/ 74 w 80"/>
                  <a:gd name="T2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35">
                    <a:moveTo>
                      <a:pt x="74" y="35"/>
                    </a:moveTo>
                    <a:cubicBezTo>
                      <a:pt x="72" y="35"/>
                      <a:pt x="70" y="35"/>
                      <a:pt x="69" y="34"/>
                    </a:cubicBezTo>
                    <a:cubicBezTo>
                      <a:pt x="57" y="21"/>
                      <a:pt x="42" y="14"/>
                      <a:pt x="25" y="12"/>
                    </a:cubicBezTo>
                    <a:cubicBezTo>
                      <a:pt x="19" y="12"/>
                      <a:pt x="14" y="13"/>
                      <a:pt x="8" y="14"/>
                    </a:cubicBezTo>
                    <a:cubicBezTo>
                      <a:pt x="5" y="14"/>
                      <a:pt x="2" y="12"/>
                      <a:pt x="1" y="9"/>
                    </a:cubicBezTo>
                    <a:cubicBezTo>
                      <a:pt x="0" y="5"/>
                      <a:pt x="3" y="2"/>
                      <a:pt x="6" y="2"/>
                    </a:cubicBezTo>
                    <a:cubicBezTo>
                      <a:pt x="12" y="0"/>
                      <a:pt x="19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46" y="2"/>
                      <a:pt x="64" y="10"/>
                      <a:pt x="78" y="25"/>
                    </a:cubicBezTo>
                    <a:cubicBezTo>
                      <a:pt x="80" y="27"/>
                      <a:pt x="80" y="31"/>
                      <a:pt x="78" y="34"/>
                    </a:cubicBezTo>
                    <a:cubicBezTo>
                      <a:pt x="77" y="35"/>
                      <a:pt x="75" y="35"/>
                      <a:pt x="74" y="35"/>
                    </a:cubicBezTo>
                    <a:close/>
                    <a:moveTo>
                      <a:pt x="74" y="35"/>
                    </a:moveTo>
                    <a:cubicBezTo>
                      <a:pt x="74" y="35"/>
                      <a:pt x="74" y="35"/>
                      <a:pt x="74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7" name="Freeform 7"/>
              <p:cNvSpPr>
                <a:spLocks noEditPoints="1"/>
              </p:cNvSpPr>
              <p:nvPr/>
            </p:nvSpPr>
            <p:spPr bwMode="auto">
              <a:xfrm>
                <a:off x="3657" y="1927"/>
                <a:ext cx="120" cy="119"/>
              </a:xfrm>
              <a:custGeom>
                <a:avLst/>
                <a:gdLst>
                  <a:gd name="T0" fmla="*/ 6 w 67"/>
                  <a:gd name="T1" fmla="*/ 67 h 67"/>
                  <a:gd name="T2" fmla="*/ 5 w 67"/>
                  <a:gd name="T3" fmla="*/ 67 h 67"/>
                  <a:gd name="T4" fmla="*/ 0 w 67"/>
                  <a:gd name="T5" fmla="*/ 62 h 67"/>
                  <a:gd name="T6" fmla="*/ 3 w 67"/>
                  <a:gd name="T7" fmla="*/ 56 h 67"/>
                  <a:gd name="T8" fmla="*/ 4 w 67"/>
                  <a:gd name="T9" fmla="*/ 55 h 67"/>
                  <a:gd name="T10" fmla="*/ 14 w 67"/>
                  <a:gd name="T11" fmla="*/ 46 h 67"/>
                  <a:gd name="T12" fmla="*/ 15 w 67"/>
                  <a:gd name="T13" fmla="*/ 44 h 67"/>
                  <a:gd name="T14" fmla="*/ 24 w 67"/>
                  <a:gd name="T15" fmla="*/ 33 h 67"/>
                  <a:gd name="T16" fmla="*/ 56 w 67"/>
                  <a:gd name="T17" fmla="*/ 2 h 67"/>
                  <a:gd name="T18" fmla="*/ 65 w 67"/>
                  <a:gd name="T19" fmla="*/ 3 h 67"/>
                  <a:gd name="T20" fmla="*/ 63 w 67"/>
                  <a:gd name="T21" fmla="*/ 12 h 67"/>
                  <a:gd name="T22" fmla="*/ 33 w 67"/>
                  <a:gd name="T23" fmla="*/ 41 h 67"/>
                  <a:gd name="T24" fmla="*/ 25 w 67"/>
                  <a:gd name="T25" fmla="*/ 51 h 67"/>
                  <a:gd name="T26" fmla="*/ 24 w 67"/>
                  <a:gd name="T27" fmla="*/ 53 h 67"/>
                  <a:gd name="T28" fmla="*/ 14 w 67"/>
                  <a:gd name="T29" fmla="*/ 63 h 67"/>
                  <a:gd name="T30" fmla="*/ 6 w 67"/>
                  <a:gd name="T31" fmla="*/ 67 h 67"/>
                  <a:gd name="T32" fmla="*/ 6 w 67"/>
                  <a:gd name="T33" fmla="*/ 67 h 67"/>
                  <a:gd name="T34" fmla="*/ 6 w 67"/>
                  <a:gd name="T3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7" h="67">
                    <a:moveTo>
                      <a:pt x="6" y="67"/>
                    </a:moveTo>
                    <a:cubicBezTo>
                      <a:pt x="6" y="67"/>
                      <a:pt x="6" y="67"/>
                      <a:pt x="5" y="67"/>
                    </a:cubicBezTo>
                    <a:cubicBezTo>
                      <a:pt x="3" y="66"/>
                      <a:pt x="1" y="64"/>
                      <a:pt x="0" y="62"/>
                    </a:cubicBezTo>
                    <a:cubicBezTo>
                      <a:pt x="0" y="59"/>
                      <a:pt x="1" y="57"/>
                      <a:pt x="3" y="56"/>
                    </a:cubicBezTo>
                    <a:cubicBezTo>
                      <a:pt x="3" y="55"/>
                      <a:pt x="4" y="55"/>
                      <a:pt x="4" y="55"/>
                    </a:cubicBezTo>
                    <a:cubicBezTo>
                      <a:pt x="6" y="54"/>
                      <a:pt x="10" y="51"/>
                      <a:pt x="14" y="46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8" y="41"/>
                      <a:pt x="20" y="37"/>
                      <a:pt x="24" y="33"/>
                    </a:cubicBezTo>
                    <a:cubicBezTo>
                      <a:pt x="34" y="20"/>
                      <a:pt x="45" y="10"/>
                      <a:pt x="56" y="2"/>
                    </a:cubicBezTo>
                    <a:cubicBezTo>
                      <a:pt x="59" y="0"/>
                      <a:pt x="63" y="1"/>
                      <a:pt x="65" y="3"/>
                    </a:cubicBezTo>
                    <a:cubicBezTo>
                      <a:pt x="67" y="6"/>
                      <a:pt x="66" y="10"/>
                      <a:pt x="63" y="12"/>
                    </a:cubicBezTo>
                    <a:cubicBezTo>
                      <a:pt x="53" y="19"/>
                      <a:pt x="43" y="29"/>
                      <a:pt x="33" y="41"/>
                    </a:cubicBezTo>
                    <a:cubicBezTo>
                      <a:pt x="30" y="45"/>
                      <a:pt x="27" y="48"/>
                      <a:pt x="25" y="51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0" y="58"/>
                      <a:pt x="17" y="61"/>
                      <a:pt x="14" y="63"/>
                    </a:cubicBezTo>
                    <a:cubicBezTo>
                      <a:pt x="10" y="66"/>
                      <a:pt x="8" y="67"/>
                      <a:pt x="6" y="67"/>
                    </a:cubicBezTo>
                    <a:close/>
                    <a:moveTo>
                      <a:pt x="6" y="67"/>
                    </a:moveTo>
                    <a:cubicBezTo>
                      <a:pt x="6" y="67"/>
                      <a:pt x="6" y="67"/>
                      <a:pt x="6" y="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8" name="Freeform 8"/>
              <p:cNvSpPr>
                <a:spLocks noEditPoints="1"/>
              </p:cNvSpPr>
              <p:nvPr/>
            </p:nvSpPr>
            <p:spPr bwMode="auto">
              <a:xfrm>
                <a:off x="3655" y="2114"/>
                <a:ext cx="81" cy="44"/>
              </a:xfrm>
              <a:custGeom>
                <a:avLst/>
                <a:gdLst>
                  <a:gd name="T0" fmla="*/ 7 w 45"/>
                  <a:gd name="T1" fmla="*/ 25 h 25"/>
                  <a:gd name="T2" fmla="*/ 1 w 45"/>
                  <a:gd name="T3" fmla="*/ 21 h 25"/>
                  <a:gd name="T4" fmla="*/ 6 w 45"/>
                  <a:gd name="T5" fmla="*/ 13 h 25"/>
                  <a:gd name="T6" fmla="*/ 35 w 45"/>
                  <a:gd name="T7" fmla="*/ 1 h 25"/>
                  <a:gd name="T8" fmla="*/ 44 w 45"/>
                  <a:gd name="T9" fmla="*/ 4 h 25"/>
                  <a:gd name="T10" fmla="*/ 41 w 45"/>
                  <a:gd name="T11" fmla="*/ 12 h 25"/>
                  <a:gd name="T12" fmla="*/ 9 w 45"/>
                  <a:gd name="T13" fmla="*/ 25 h 25"/>
                  <a:gd name="T14" fmla="*/ 7 w 45"/>
                  <a:gd name="T15" fmla="*/ 25 h 25"/>
                  <a:gd name="T16" fmla="*/ 7 w 45"/>
                  <a:gd name="T17" fmla="*/ 25 h 25"/>
                  <a:gd name="T18" fmla="*/ 7 w 45"/>
                  <a:gd name="T1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5" h="25">
                    <a:moveTo>
                      <a:pt x="7" y="25"/>
                    </a:moveTo>
                    <a:cubicBezTo>
                      <a:pt x="4" y="25"/>
                      <a:pt x="2" y="24"/>
                      <a:pt x="1" y="21"/>
                    </a:cubicBezTo>
                    <a:cubicBezTo>
                      <a:pt x="0" y="17"/>
                      <a:pt x="2" y="14"/>
                      <a:pt x="6" y="13"/>
                    </a:cubicBezTo>
                    <a:cubicBezTo>
                      <a:pt x="17" y="10"/>
                      <a:pt x="28" y="5"/>
                      <a:pt x="35" y="1"/>
                    </a:cubicBezTo>
                    <a:cubicBezTo>
                      <a:pt x="38" y="0"/>
                      <a:pt x="42" y="1"/>
                      <a:pt x="44" y="4"/>
                    </a:cubicBezTo>
                    <a:cubicBezTo>
                      <a:pt x="45" y="7"/>
                      <a:pt x="44" y="11"/>
                      <a:pt x="41" y="12"/>
                    </a:cubicBezTo>
                    <a:cubicBezTo>
                      <a:pt x="33" y="16"/>
                      <a:pt x="21" y="22"/>
                      <a:pt x="9" y="25"/>
                    </a:cubicBezTo>
                    <a:cubicBezTo>
                      <a:pt x="8" y="25"/>
                      <a:pt x="8" y="25"/>
                      <a:pt x="7" y="25"/>
                    </a:cubicBezTo>
                    <a:close/>
                    <a:moveTo>
                      <a:pt x="7" y="25"/>
                    </a:moveTo>
                    <a:cubicBezTo>
                      <a:pt x="7" y="25"/>
                      <a:pt x="7" y="25"/>
                      <a:pt x="7" y="2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49" name="Freeform 9"/>
              <p:cNvSpPr>
                <a:spLocks noEditPoints="1"/>
              </p:cNvSpPr>
              <p:nvPr/>
            </p:nvSpPr>
            <p:spPr bwMode="auto">
              <a:xfrm>
                <a:off x="3738" y="1989"/>
                <a:ext cx="211" cy="132"/>
              </a:xfrm>
              <a:custGeom>
                <a:avLst/>
                <a:gdLst>
                  <a:gd name="T0" fmla="*/ 7 w 118"/>
                  <a:gd name="T1" fmla="*/ 74 h 74"/>
                  <a:gd name="T2" fmla="*/ 2 w 118"/>
                  <a:gd name="T3" fmla="*/ 71 h 74"/>
                  <a:gd name="T4" fmla="*/ 3 w 118"/>
                  <a:gd name="T5" fmla="*/ 63 h 74"/>
                  <a:gd name="T6" fmla="*/ 45 w 118"/>
                  <a:gd name="T7" fmla="*/ 27 h 74"/>
                  <a:gd name="T8" fmla="*/ 94 w 118"/>
                  <a:gd name="T9" fmla="*/ 5 h 74"/>
                  <a:gd name="T10" fmla="*/ 117 w 118"/>
                  <a:gd name="T11" fmla="*/ 27 h 74"/>
                  <a:gd name="T12" fmla="*/ 113 w 118"/>
                  <a:gd name="T13" fmla="*/ 34 h 74"/>
                  <a:gd name="T14" fmla="*/ 105 w 118"/>
                  <a:gd name="T15" fmla="*/ 30 h 74"/>
                  <a:gd name="T16" fmla="*/ 90 w 118"/>
                  <a:gd name="T17" fmla="*/ 17 h 74"/>
                  <a:gd name="T18" fmla="*/ 54 w 118"/>
                  <a:gd name="T19" fmla="*/ 35 h 74"/>
                  <a:gd name="T20" fmla="*/ 10 w 118"/>
                  <a:gd name="T21" fmla="*/ 73 h 74"/>
                  <a:gd name="T22" fmla="*/ 7 w 118"/>
                  <a:gd name="T23" fmla="*/ 74 h 74"/>
                  <a:gd name="T24" fmla="*/ 7 w 118"/>
                  <a:gd name="T25" fmla="*/ 74 h 74"/>
                  <a:gd name="T26" fmla="*/ 7 w 118"/>
                  <a:gd name="T27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8" h="74">
                    <a:moveTo>
                      <a:pt x="7" y="74"/>
                    </a:moveTo>
                    <a:cubicBezTo>
                      <a:pt x="5" y="74"/>
                      <a:pt x="3" y="73"/>
                      <a:pt x="2" y="71"/>
                    </a:cubicBezTo>
                    <a:cubicBezTo>
                      <a:pt x="0" y="69"/>
                      <a:pt x="0" y="65"/>
                      <a:pt x="3" y="63"/>
                    </a:cubicBezTo>
                    <a:cubicBezTo>
                      <a:pt x="25" y="48"/>
                      <a:pt x="45" y="27"/>
                      <a:pt x="45" y="27"/>
                    </a:cubicBezTo>
                    <a:cubicBezTo>
                      <a:pt x="61" y="8"/>
                      <a:pt x="79" y="0"/>
                      <a:pt x="94" y="5"/>
                    </a:cubicBezTo>
                    <a:cubicBezTo>
                      <a:pt x="109" y="9"/>
                      <a:pt x="115" y="19"/>
                      <a:pt x="117" y="27"/>
                    </a:cubicBezTo>
                    <a:cubicBezTo>
                      <a:pt x="118" y="30"/>
                      <a:pt x="116" y="33"/>
                      <a:pt x="113" y="34"/>
                    </a:cubicBezTo>
                    <a:cubicBezTo>
                      <a:pt x="110" y="35"/>
                      <a:pt x="106" y="34"/>
                      <a:pt x="105" y="30"/>
                    </a:cubicBezTo>
                    <a:cubicBezTo>
                      <a:pt x="103" y="24"/>
                      <a:pt x="98" y="19"/>
                      <a:pt x="90" y="17"/>
                    </a:cubicBezTo>
                    <a:cubicBezTo>
                      <a:pt x="79" y="13"/>
                      <a:pt x="64" y="24"/>
                      <a:pt x="54" y="35"/>
                    </a:cubicBezTo>
                    <a:cubicBezTo>
                      <a:pt x="52" y="38"/>
                      <a:pt x="32" y="58"/>
                      <a:pt x="10" y="73"/>
                    </a:cubicBezTo>
                    <a:cubicBezTo>
                      <a:pt x="9" y="74"/>
                      <a:pt x="8" y="74"/>
                      <a:pt x="7" y="74"/>
                    </a:cubicBezTo>
                    <a:close/>
                    <a:moveTo>
                      <a:pt x="7" y="74"/>
                    </a:moveTo>
                    <a:cubicBezTo>
                      <a:pt x="7" y="74"/>
                      <a:pt x="7" y="74"/>
                      <a:pt x="7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0" name="Freeform 10"/>
              <p:cNvSpPr>
                <a:spLocks noEditPoints="1"/>
              </p:cNvSpPr>
              <p:nvPr/>
            </p:nvSpPr>
            <p:spPr bwMode="auto">
              <a:xfrm>
                <a:off x="3677" y="2071"/>
                <a:ext cx="269" cy="203"/>
              </a:xfrm>
              <a:custGeom>
                <a:avLst/>
                <a:gdLst>
                  <a:gd name="T0" fmla="*/ 7 w 150"/>
                  <a:gd name="T1" fmla="*/ 114 h 114"/>
                  <a:gd name="T2" fmla="*/ 1 w 150"/>
                  <a:gd name="T3" fmla="*/ 110 h 114"/>
                  <a:gd name="T4" fmla="*/ 4 w 150"/>
                  <a:gd name="T5" fmla="*/ 102 h 114"/>
                  <a:gd name="T6" fmla="*/ 82 w 150"/>
                  <a:gd name="T7" fmla="*/ 58 h 114"/>
                  <a:gd name="T8" fmla="*/ 138 w 150"/>
                  <a:gd name="T9" fmla="*/ 5 h 114"/>
                  <a:gd name="T10" fmla="*/ 146 w 150"/>
                  <a:gd name="T11" fmla="*/ 1 h 114"/>
                  <a:gd name="T12" fmla="*/ 149 w 150"/>
                  <a:gd name="T13" fmla="*/ 9 h 114"/>
                  <a:gd name="T14" fmla="*/ 89 w 150"/>
                  <a:gd name="T15" fmla="*/ 69 h 114"/>
                  <a:gd name="T16" fmla="*/ 9 w 150"/>
                  <a:gd name="T17" fmla="*/ 113 h 114"/>
                  <a:gd name="T18" fmla="*/ 7 w 150"/>
                  <a:gd name="T19" fmla="*/ 114 h 114"/>
                  <a:gd name="T20" fmla="*/ 7 w 150"/>
                  <a:gd name="T21" fmla="*/ 114 h 114"/>
                  <a:gd name="T22" fmla="*/ 7 w 150"/>
                  <a:gd name="T23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0" h="114">
                    <a:moveTo>
                      <a:pt x="7" y="114"/>
                    </a:moveTo>
                    <a:cubicBezTo>
                      <a:pt x="4" y="114"/>
                      <a:pt x="2" y="113"/>
                      <a:pt x="1" y="110"/>
                    </a:cubicBezTo>
                    <a:cubicBezTo>
                      <a:pt x="0" y="107"/>
                      <a:pt x="1" y="103"/>
                      <a:pt x="4" y="102"/>
                    </a:cubicBezTo>
                    <a:cubicBezTo>
                      <a:pt x="31" y="91"/>
                      <a:pt x="68" y="68"/>
                      <a:pt x="82" y="58"/>
                    </a:cubicBezTo>
                    <a:cubicBezTo>
                      <a:pt x="112" y="39"/>
                      <a:pt x="131" y="20"/>
                      <a:pt x="138" y="5"/>
                    </a:cubicBezTo>
                    <a:cubicBezTo>
                      <a:pt x="139" y="2"/>
                      <a:pt x="143" y="0"/>
                      <a:pt x="146" y="1"/>
                    </a:cubicBezTo>
                    <a:cubicBezTo>
                      <a:pt x="149" y="3"/>
                      <a:pt x="150" y="6"/>
                      <a:pt x="149" y="9"/>
                    </a:cubicBezTo>
                    <a:cubicBezTo>
                      <a:pt x="140" y="33"/>
                      <a:pt x="111" y="54"/>
                      <a:pt x="89" y="69"/>
                    </a:cubicBezTo>
                    <a:cubicBezTo>
                      <a:pt x="74" y="78"/>
                      <a:pt x="36" y="102"/>
                      <a:pt x="9" y="113"/>
                    </a:cubicBezTo>
                    <a:cubicBezTo>
                      <a:pt x="8" y="114"/>
                      <a:pt x="8" y="114"/>
                      <a:pt x="7" y="114"/>
                    </a:cubicBezTo>
                    <a:close/>
                    <a:moveTo>
                      <a:pt x="7" y="114"/>
                    </a:moveTo>
                    <a:cubicBezTo>
                      <a:pt x="7" y="114"/>
                      <a:pt x="7" y="114"/>
                      <a:pt x="7" y="1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1" name="Freeform 11"/>
              <p:cNvSpPr>
                <a:spLocks noEditPoints="1"/>
              </p:cNvSpPr>
              <p:nvPr/>
            </p:nvSpPr>
            <p:spPr bwMode="auto">
              <a:xfrm>
                <a:off x="3766" y="1946"/>
                <a:ext cx="112" cy="73"/>
              </a:xfrm>
              <a:custGeom>
                <a:avLst/>
                <a:gdLst>
                  <a:gd name="T0" fmla="*/ 15 w 62"/>
                  <a:gd name="T1" fmla="*/ 35 h 41"/>
                  <a:gd name="T2" fmla="*/ 33 w 62"/>
                  <a:gd name="T3" fmla="*/ 21 h 41"/>
                  <a:gd name="T4" fmla="*/ 56 w 62"/>
                  <a:gd name="T5" fmla="*/ 13 h 41"/>
                  <a:gd name="T6" fmla="*/ 62 w 62"/>
                  <a:gd name="T7" fmla="*/ 7 h 41"/>
                  <a:gd name="T8" fmla="*/ 56 w 62"/>
                  <a:gd name="T9" fmla="*/ 0 h 41"/>
                  <a:gd name="T10" fmla="*/ 6 w 62"/>
                  <a:gd name="T11" fmla="*/ 26 h 41"/>
                  <a:gd name="T12" fmla="*/ 15 w 62"/>
                  <a:gd name="T13" fmla="*/ 35 h 41"/>
                  <a:gd name="T14" fmla="*/ 15 w 62"/>
                  <a:gd name="T15" fmla="*/ 35 h 41"/>
                  <a:gd name="T16" fmla="*/ 15 w 62"/>
                  <a:gd name="T17" fmla="*/ 3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41">
                    <a:moveTo>
                      <a:pt x="15" y="35"/>
                    </a:moveTo>
                    <a:cubicBezTo>
                      <a:pt x="20" y="30"/>
                      <a:pt x="26" y="25"/>
                      <a:pt x="33" y="21"/>
                    </a:cubicBezTo>
                    <a:cubicBezTo>
                      <a:pt x="40" y="17"/>
                      <a:pt x="48" y="14"/>
                      <a:pt x="56" y="13"/>
                    </a:cubicBezTo>
                    <a:cubicBezTo>
                      <a:pt x="59" y="13"/>
                      <a:pt x="62" y="10"/>
                      <a:pt x="62" y="7"/>
                    </a:cubicBezTo>
                    <a:cubicBezTo>
                      <a:pt x="62" y="4"/>
                      <a:pt x="59" y="0"/>
                      <a:pt x="56" y="0"/>
                    </a:cubicBezTo>
                    <a:cubicBezTo>
                      <a:pt x="36" y="3"/>
                      <a:pt x="20" y="13"/>
                      <a:pt x="6" y="26"/>
                    </a:cubicBezTo>
                    <a:cubicBezTo>
                      <a:pt x="0" y="32"/>
                      <a:pt x="9" y="41"/>
                      <a:pt x="15" y="35"/>
                    </a:cubicBezTo>
                    <a:close/>
                    <a:moveTo>
                      <a:pt x="15" y="35"/>
                    </a:moveTo>
                    <a:cubicBezTo>
                      <a:pt x="15" y="35"/>
                      <a:pt x="15" y="35"/>
                      <a:pt x="15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2" name="Freeform 12"/>
              <p:cNvSpPr>
                <a:spLocks noEditPoints="1"/>
              </p:cNvSpPr>
              <p:nvPr/>
            </p:nvSpPr>
            <p:spPr bwMode="auto">
              <a:xfrm>
                <a:off x="3661" y="2023"/>
                <a:ext cx="105" cy="78"/>
              </a:xfrm>
              <a:custGeom>
                <a:avLst/>
                <a:gdLst>
                  <a:gd name="T0" fmla="*/ 8 w 59"/>
                  <a:gd name="T1" fmla="*/ 43 h 44"/>
                  <a:gd name="T2" fmla="*/ 32 w 59"/>
                  <a:gd name="T3" fmla="*/ 32 h 44"/>
                  <a:gd name="T4" fmla="*/ 54 w 59"/>
                  <a:gd name="T5" fmla="*/ 14 h 44"/>
                  <a:gd name="T6" fmla="*/ 45 w 59"/>
                  <a:gd name="T7" fmla="*/ 6 h 44"/>
                  <a:gd name="T8" fmla="*/ 26 w 59"/>
                  <a:gd name="T9" fmla="*/ 21 h 44"/>
                  <a:gd name="T10" fmla="*/ 5 w 59"/>
                  <a:gd name="T11" fmla="*/ 31 h 44"/>
                  <a:gd name="T12" fmla="*/ 1 w 59"/>
                  <a:gd name="T13" fmla="*/ 39 h 44"/>
                  <a:gd name="T14" fmla="*/ 8 w 59"/>
                  <a:gd name="T15" fmla="*/ 43 h 44"/>
                  <a:gd name="T16" fmla="*/ 8 w 59"/>
                  <a:gd name="T17" fmla="*/ 43 h 44"/>
                  <a:gd name="T18" fmla="*/ 8 w 59"/>
                  <a:gd name="T1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44">
                    <a:moveTo>
                      <a:pt x="8" y="43"/>
                    </a:moveTo>
                    <a:cubicBezTo>
                      <a:pt x="17" y="41"/>
                      <a:pt x="24" y="36"/>
                      <a:pt x="32" y="32"/>
                    </a:cubicBezTo>
                    <a:cubicBezTo>
                      <a:pt x="40" y="28"/>
                      <a:pt x="47" y="21"/>
                      <a:pt x="54" y="14"/>
                    </a:cubicBezTo>
                    <a:cubicBezTo>
                      <a:pt x="59" y="9"/>
                      <a:pt x="50" y="0"/>
                      <a:pt x="45" y="6"/>
                    </a:cubicBezTo>
                    <a:cubicBezTo>
                      <a:pt x="39" y="12"/>
                      <a:pt x="33" y="17"/>
                      <a:pt x="26" y="21"/>
                    </a:cubicBezTo>
                    <a:cubicBezTo>
                      <a:pt x="19" y="25"/>
                      <a:pt x="12" y="29"/>
                      <a:pt x="5" y="31"/>
                    </a:cubicBezTo>
                    <a:cubicBezTo>
                      <a:pt x="2" y="32"/>
                      <a:pt x="0" y="36"/>
                      <a:pt x="1" y="39"/>
                    </a:cubicBezTo>
                    <a:cubicBezTo>
                      <a:pt x="1" y="42"/>
                      <a:pt x="5" y="44"/>
                      <a:pt x="8" y="43"/>
                    </a:cubicBezTo>
                    <a:close/>
                    <a:moveTo>
                      <a:pt x="8" y="43"/>
                    </a:moveTo>
                    <a:cubicBezTo>
                      <a:pt x="8" y="43"/>
                      <a:pt x="8" y="43"/>
                      <a:pt x="8" y="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3" name="Freeform 13"/>
              <p:cNvSpPr>
                <a:spLocks noEditPoints="1"/>
              </p:cNvSpPr>
              <p:nvPr/>
            </p:nvSpPr>
            <p:spPr bwMode="auto">
              <a:xfrm>
                <a:off x="3824" y="2046"/>
                <a:ext cx="75" cy="78"/>
              </a:xfrm>
              <a:custGeom>
                <a:avLst/>
                <a:gdLst>
                  <a:gd name="T0" fmla="*/ 7 w 42"/>
                  <a:gd name="T1" fmla="*/ 44 h 44"/>
                  <a:gd name="T2" fmla="*/ 3 w 42"/>
                  <a:gd name="T3" fmla="*/ 42 h 44"/>
                  <a:gd name="T4" fmla="*/ 3 w 42"/>
                  <a:gd name="T5" fmla="*/ 33 h 44"/>
                  <a:gd name="T6" fmla="*/ 30 w 42"/>
                  <a:gd name="T7" fmla="*/ 4 h 44"/>
                  <a:gd name="T8" fmla="*/ 39 w 42"/>
                  <a:gd name="T9" fmla="*/ 2 h 44"/>
                  <a:gd name="T10" fmla="*/ 40 w 42"/>
                  <a:gd name="T11" fmla="*/ 11 h 44"/>
                  <a:gd name="T12" fmla="*/ 11 w 42"/>
                  <a:gd name="T13" fmla="*/ 43 h 44"/>
                  <a:gd name="T14" fmla="*/ 7 w 42"/>
                  <a:gd name="T15" fmla="*/ 44 h 44"/>
                  <a:gd name="T16" fmla="*/ 7 w 42"/>
                  <a:gd name="T17" fmla="*/ 44 h 44"/>
                  <a:gd name="T18" fmla="*/ 7 w 42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" h="44">
                    <a:moveTo>
                      <a:pt x="7" y="44"/>
                    </a:moveTo>
                    <a:cubicBezTo>
                      <a:pt x="6" y="44"/>
                      <a:pt x="4" y="44"/>
                      <a:pt x="3" y="42"/>
                    </a:cubicBezTo>
                    <a:cubicBezTo>
                      <a:pt x="0" y="40"/>
                      <a:pt x="1" y="36"/>
                      <a:pt x="3" y="33"/>
                    </a:cubicBezTo>
                    <a:cubicBezTo>
                      <a:pt x="14" y="24"/>
                      <a:pt x="23" y="14"/>
                      <a:pt x="30" y="4"/>
                    </a:cubicBezTo>
                    <a:cubicBezTo>
                      <a:pt x="32" y="1"/>
                      <a:pt x="36" y="0"/>
                      <a:pt x="39" y="2"/>
                    </a:cubicBezTo>
                    <a:cubicBezTo>
                      <a:pt x="42" y="4"/>
                      <a:pt x="42" y="8"/>
                      <a:pt x="40" y="11"/>
                    </a:cubicBezTo>
                    <a:cubicBezTo>
                      <a:pt x="33" y="22"/>
                      <a:pt x="23" y="33"/>
                      <a:pt x="11" y="43"/>
                    </a:cubicBezTo>
                    <a:cubicBezTo>
                      <a:pt x="10" y="44"/>
                      <a:pt x="9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4" name="Freeform 14"/>
              <p:cNvSpPr>
                <a:spLocks noEditPoints="1"/>
              </p:cNvSpPr>
              <p:nvPr/>
            </p:nvSpPr>
            <p:spPr bwMode="auto">
              <a:xfrm>
                <a:off x="3662" y="2139"/>
                <a:ext cx="139" cy="78"/>
              </a:xfrm>
              <a:custGeom>
                <a:avLst/>
                <a:gdLst>
                  <a:gd name="T0" fmla="*/ 7 w 77"/>
                  <a:gd name="T1" fmla="*/ 44 h 44"/>
                  <a:gd name="T2" fmla="*/ 1 w 77"/>
                  <a:gd name="T3" fmla="*/ 40 h 44"/>
                  <a:gd name="T4" fmla="*/ 5 w 77"/>
                  <a:gd name="T5" fmla="*/ 32 h 44"/>
                  <a:gd name="T6" fmla="*/ 5 w 77"/>
                  <a:gd name="T7" fmla="*/ 32 h 44"/>
                  <a:gd name="T8" fmla="*/ 47 w 77"/>
                  <a:gd name="T9" fmla="*/ 13 h 44"/>
                  <a:gd name="T10" fmla="*/ 67 w 77"/>
                  <a:gd name="T11" fmla="*/ 1 h 44"/>
                  <a:gd name="T12" fmla="*/ 75 w 77"/>
                  <a:gd name="T13" fmla="*/ 3 h 44"/>
                  <a:gd name="T14" fmla="*/ 74 w 77"/>
                  <a:gd name="T15" fmla="*/ 12 h 44"/>
                  <a:gd name="T16" fmla="*/ 53 w 77"/>
                  <a:gd name="T17" fmla="*/ 24 h 44"/>
                  <a:gd name="T18" fmla="*/ 9 w 77"/>
                  <a:gd name="T19" fmla="*/ 44 h 44"/>
                  <a:gd name="T20" fmla="*/ 9 w 77"/>
                  <a:gd name="T21" fmla="*/ 44 h 44"/>
                  <a:gd name="T22" fmla="*/ 7 w 77"/>
                  <a:gd name="T23" fmla="*/ 44 h 44"/>
                  <a:gd name="T24" fmla="*/ 7 w 77"/>
                  <a:gd name="T25" fmla="*/ 44 h 44"/>
                  <a:gd name="T26" fmla="*/ 7 w 77"/>
                  <a:gd name="T2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7" h="44">
                    <a:moveTo>
                      <a:pt x="7" y="44"/>
                    </a:moveTo>
                    <a:cubicBezTo>
                      <a:pt x="4" y="44"/>
                      <a:pt x="2" y="43"/>
                      <a:pt x="1" y="40"/>
                    </a:cubicBezTo>
                    <a:cubicBezTo>
                      <a:pt x="0" y="37"/>
                      <a:pt x="2" y="33"/>
                      <a:pt x="5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11" y="30"/>
                      <a:pt x="28" y="24"/>
                      <a:pt x="47" y="13"/>
                    </a:cubicBezTo>
                    <a:cubicBezTo>
                      <a:pt x="54" y="9"/>
                      <a:pt x="61" y="5"/>
                      <a:pt x="67" y="1"/>
                    </a:cubicBezTo>
                    <a:cubicBezTo>
                      <a:pt x="70" y="0"/>
                      <a:pt x="73" y="0"/>
                      <a:pt x="75" y="3"/>
                    </a:cubicBezTo>
                    <a:cubicBezTo>
                      <a:pt x="77" y="6"/>
                      <a:pt x="76" y="10"/>
                      <a:pt x="74" y="12"/>
                    </a:cubicBezTo>
                    <a:cubicBezTo>
                      <a:pt x="67" y="16"/>
                      <a:pt x="60" y="20"/>
                      <a:pt x="53" y="24"/>
                    </a:cubicBezTo>
                    <a:cubicBezTo>
                      <a:pt x="33" y="35"/>
                      <a:pt x="16" y="41"/>
                      <a:pt x="9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8" y="44"/>
                      <a:pt x="8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5" name="Freeform 15"/>
              <p:cNvSpPr>
                <a:spLocks noEditPoints="1"/>
              </p:cNvSpPr>
              <p:nvPr/>
            </p:nvSpPr>
            <p:spPr bwMode="auto">
              <a:xfrm>
                <a:off x="3801" y="2215"/>
                <a:ext cx="190" cy="89"/>
              </a:xfrm>
              <a:custGeom>
                <a:avLst/>
                <a:gdLst>
                  <a:gd name="T0" fmla="*/ 99 w 106"/>
                  <a:gd name="T1" fmla="*/ 50 h 50"/>
                  <a:gd name="T2" fmla="*/ 97 w 106"/>
                  <a:gd name="T3" fmla="*/ 49 h 50"/>
                  <a:gd name="T4" fmla="*/ 64 w 106"/>
                  <a:gd name="T5" fmla="*/ 30 h 50"/>
                  <a:gd name="T6" fmla="*/ 36 w 106"/>
                  <a:gd name="T7" fmla="*/ 14 h 50"/>
                  <a:gd name="T8" fmla="*/ 10 w 106"/>
                  <a:gd name="T9" fmla="*/ 29 h 50"/>
                  <a:gd name="T10" fmla="*/ 1 w 106"/>
                  <a:gd name="T11" fmla="*/ 27 h 50"/>
                  <a:gd name="T12" fmla="*/ 3 w 106"/>
                  <a:gd name="T13" fmla="*/ 18 h 50"/>
                  <a:gd name="T14" fmla="*/ 34 w 106"/>
                  <a:gd name="T15" fmla="*/ 2 h 50"/>
                  <a:gd name="T16" fmla="*/ 71 w 106"/>
                  <a:gd name="T17" fmla="*/ 20 h 50"/>
                  <a:gd name="T18" fmla="*/ 101 w 106"/>
                  <a:gd name="T19" fmla="*/ 37 h 50"/>
                  <a:gd name="T20" fmla="*/ 105 w 106"/>
                  <a:gd name="T21" fmla="*/ 45 h 50"/>
                  <a:gd name="T22" fmla="*/ 99 w 106"/>
                  <a:gd name="T23" fmla="*/ 50 h 50"/>
                  <a:gd name="T24" fmla="*/ 99 w 106"/>
                  <a:gd name="T25" fmla="*/ 50 h 50"/>
                  <a:gd name="T26" fmla="*/ 99 w 106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6" h="50">
                    <a:moveTo>
                      <a:pt x="99" y="50"/>
                    </a:moveTo>
                    <a:cubicBezTo>
                      <a:pt x="98" y="50"/>
                      <a:pt x="97" y="49"/>
                      <a:pt x="97" y="49"/>
                    </a:cubicBezTo>
                    <a:cubicBezTo>
                      <a:pt x="86" y="46"/>
                      <a:pt x="75" y="38"/>
                      <a:pt x="64" y="30"/>
                    </a:cubicBezTo>
                    <a:cubicBezTo>
                      <a:pt x="54" y="23"/>
                      <a:pt x="41" y="13"/>
                      <a:pt x="36" y="14"/>
                    </a:cubicBezTo>
                    <a:cubicBezTo>
                      <a:pt x="31" y="15"/>
                      <a:pt x="15" y="25"/>
                      <a:pt x="10" y="29"/>
                    </a:cubicBezTo>
                    <a:cubicBezTo>
                      <a:pt x="7" y="30"/>
                      <a:pt x="3" y="30"/>
                      <a:pt x="1" y="27"/>
                    </a:cubicBezTo>
                    <a:cubicBezTo>
                      <a:pt x="0" y="24"/>
                      <a:pt x="0" y="20"/>
                      <a:pt x="3" y="18"/>
                    </a:cubicBezTo>
                    <a:cubicBezTo>
                      <a:pt x="20" y="8"/>
                      <a:pt x="28" y="3"/>
                      <a:pt x="34" y="2"/>
                    </a:cubicBezTo>
                    <a:cubicBezTo>
                      <a:pt x="44" y="0"/>
                      <a:pt x="57" y="9"/>
                      <a:pt x="71" y="20"/>
                    </a:cubicBezTo>
                    <a:cubicBezTo>
                      <a:pt x="82" y="27"/>
                      <a:pt x="92" y="35"/>
                      <a:pt x="101" y="37"/>
                    </a:cubicBezTo>
                    <a:cubicBezTo>
                      <a:pt x="104" y="39"/>
                      <a:pt x="106" y="42"/>
                      <a:pt x="105" y="45"/>
                    </a:cubicBezTo>
                    <a:cubicBezTo>
                      <a:pt x="104" y="48"/>
                      <a:pt x="101" y="50"/>
                      <a:pt x="99" y="50"/>
                    </a:cubicBezTo>
                    <a:close/>
                    <a:moveTo>
                      <a:pt x="99" y="50"/>
                    </a:moveTo>
                    <a:cubicBezTo>
                      <a:pt x="99" y="50"/>
                      <a:pt x="99" y="50"/>
                      <a:pt x="99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6" name="Freeform 16"/>
              <p:cNvSpPr>
                <a:spLocks noEditPoints="1"/>
              </p:cNvSpPr>
              <p:nvPr/>
            </p:nvSpPr>
            <p:spPr bwMode="auto">
              <a:xfrm>
                <a:off x="3702" y="2260"/>
                <a:ext cx="100" cy="66"/>
              </a:xfrm>
              <a:custGeom>
                <a:avLst/>
                <a:gdLst>
                  <a:gd name="T0" fmla="*/ 7 w 56"/>
                  <a:gd name="T1" fmla="*/ 37 h 37"/>
                  <a:gd name="T2" fmla="*/ 1 w 56"/>
                  <a:gd name="T3" fmla="*/ 33 h 37"/>
                  <a:gd name="T4" fmla="*/ 5 w 56"/>
                  <a:gd name="T5" fmla="*/ 25 h 37"/>
                  <a:gd name="T6" fmla="*/ 45 w 56"/>
                  <a:gd name="T7" fmla="*/ 2 h 37"/>
                  <a:gd name="T8" fmla="*/ 54 w 56"/>
                  <a:gd name="T9" fmla="*/ 4 h 37"/>
                  <a:gd name="T10" fmla="*/ 52 w 56"/>
                  <a:gd name="T11" fmla="*/ 12 h 37"/>
                  <a:gd name="T12" fmla="*/ 9 w 56"/>
                  <a:gd name="T13" fmla="*/ 37 h 37"/>
                  <a:gd name="T14" fmla="*/ 7 w 56"/>
                  <a:gd name="T15" fmla="*/ 37 h 37"/>
                  <a:gd name="T16" fmla="*/ 7 w 56"/>
                  <a:gd name="T17" fmla="*/ 37 h 37"/>
                  <a:gd name="T18" fmla="*/ 7 w 56"/>
                  <a:gd name="T1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37">
                    <a:moveTo>
                      <a:pt x="7" y="37"/>
                    </a:moveTo>
                    <a:cubicBezTo>
                      <a:pt x="4" y="37"/>
                      <a:pt x="2" y="35"/>
                      <a:pt x="1" y="33"/>
                    </a:cubicBezTo>
                    <a:cubicBezTo>
                      <a:pt x="0" y="29"/>
                      <a:pt x="2" y="26"/>
                      <a:pt x="5" y="25"/>
                    </a:cubicBezTo>
                    <a:cubicBezTo>
                      <a:pt x="13" y="23"/>
                      <a:pt x="31" y="11"/>
                      <a:pt x="45" y="2"/>
                    </a:cubicBezTo>
                    <a:cubicBezTo>
                      <a:pt x="48" y="0"/>
                      <a:pt x="52" y="1"/>
                      <a:pt x="54" y="4"/>
                    </a:cubicBezTo>
                    <a:cubicBezTo>
                      <a:pt x="56" y="6"/>
                      <a:pt x="55" y="10"/>
                      <a:pt x="52" y="12"/>
                    </a:cubicBezTo>
                    <a:cubicBezTo>
                      <a:pt x="32" y="25"/>
                      <a:pt x="17" y="35"/>
                      <a:pt x="9" y="37"/>
                    </a:cubicBezTo>
                    <a:cubicBezTo>
                      <a:pt x="8" y="37"/>
                      <a:pt x="7" y="37"/>
                      <a:pt x="7" y="37"/>
                    </a:cubicBezTo>
                    <a:close/>
                    <a:moveTo>
                      <a:pt x="7" y="37"/>
                    </a:moveTo>
                    <a:cubicBezTo>
                      <a:pt x="7" y="37"/>
                      <a:pt x="7" y="37"/>
                      <a:pt x="7" y="3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7" name="Freeform 17"/>
              <p:cNvSpPr>
                <a:spLocks noEditPoints="1"/>
              </p:cNvSpPr>
              <p:nvPr/>
            </p:nvSpPr>
            <p:spPr bwMode="auto">
              <a:xfrm>
                <a:off x="3906" y="2319"/>
                <a:ext cx="56" cy="39"/>
              </a:xfrm>
              <a:custGeom>
                <a:avLst/>
                <a:gdLst>
                  <a:gd name="T0" fmla="*/ 24 w 31"/>
                  <a:gd name="T1" fmla="*/ 22 h 22"/>
                  <a:gd name="T2" fmla="*/ 22 w 31"/>
                  <a:gd name="T3" fmla="*/ 21 h 22"/>
                  <a:gd name="T4" fmla="*/ 4 w 31"/>
                  <a:gd name="T5" fmla="*/ 12 h 22"/>
                  <a:gd name="T6" fmla="*/ 2 w 31"/>
                  <a:gd name="T7" fmla="*/ 4 h 22"/>
                  <a:gd name="T8" fmla="*/ 11 w 31"/>
                  <a:gd name="T9" fmla="*/ 1 h 22"/>
                  <a:gd name="T10" fmla="*/ 26 w 31"/>
                  <a:gd name="T11" fmla="*/ 10 h 22"/>
                  <a:gd name="T12" fmla="*/ 30 w 31"/>
                  <a:gd name="T13" fmla="*/ 18 h 22"/>
                  <a:gd name="T14" fmla="*/ 24 w 31"/>
                  <a:gd name="T15" fmla="*/ 22 h 22"/>
                  <a:gd name="T16" fmla="*/ 24 w 31"/>
                  <a:gd name="T17" fmla="*/ 22 h 22"/>
                  <a:gd name="T18" fmla="*/ 24 w 31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22">
                    <a:moveTo>
                      <a:pt x="24" y="22"/>
                    </a:moveTo>
                    <a:cubicBezTo>
                      <a:pt x="23" y="22"/>
                      <a:pt x="23" y="22"/>
                      <a:pt x="22" y="21"/>
                    </a:cubicBezTo>
                    <a:cubicBezTo>
                      <a:pt x="17" y="20"/>
                      <a:pt x="10" y="16"/>
                      <a:pt x="4" y="12"/>
                    </a:cubicBezTo>
                    <a:cubicBezTo>
                      <a:pt x="1" y="10"/>
                      <a:pt x="0" y="6"/>
                      <a:pt x="2" y="4"/>
                    </a:cubicBezTo>
                    <a:cubicBezTo>
                      <a:pt x="4" y="1"/>
                      <a:pt x="8" y="0"/>
                      <a:pt x="11" y="1"/>
                    </a:cubicBezTo>
                    <a:cubicBezTo>
                      <a:pt x="16" y="5"/>
                      <a:pt x="22" y="8"/>
                      <a:pt x="26" y="10"/>
                    </a:cubicBezTo>
                    <a:cubicBezTo>
                      <a:pt x="29" y="11"/>
                      <a:pt x="31" y="15"/>
                      <a:pt x="30" y="18"/>
                    </a:cubicBezTo>
                    <a:cubicBezTo>
                      <a:pt x="29" y="20"/>
                      <a:pt x="27" y="22"/>
                      <a:pt x="24" y="22"/>
                    </a:cubicBezTo>
                    <a:close/>
                    <a:moveTo>
                      <a:pt x="24" y="22"/>
                    </a:moveTo>
                    <a:cubicBezTo>
                      <a:pt x="24" y="22"/>
                      <a:pt x="24" y="22"/>
                      <a:pt x="24" y="2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8" name="Freeform 18"/>
              <p:cNvSpPr>
                <a:spLocks noEditPoints="1"/>
              </p:cNvSpPr>
              <p:nvPr/>
            </p:nvSpPr>
            <p:spPr bwMode="auto">
              <a:xfrm>
                <a:off x="3741" y="2287"/>
                <a:ext cx="165" cy="89"/>
              </a:xfrm>
              <a:custGeom>
                <a:avLst/>
                <a:gdLst>
                  <a:gd name="T0" fmla="*/ 7 w 92"/>
                  <a:gd name="T1" fmla="*/ 50 h 50"/>
                  <a:gd name="T2" fmla="*/ 2 w 92"/>
                  <a:gd name="T3" fmla="*/ 47 h 50"/>
                  <a:gd name="T4" fmla="*/ 4 w 92"/>
                  <a:gd name="T5" fmla="*/ 39 h 50"/>
                  <a:gd name="T6" fmla="*/ 12 w 92"/>
                  <a:gd name="T7" fmla="*/ 33 h 50"/>
                  <a:gd name="T8" fmla="*/ 63 w 92"/>
                  <a:gd name="T9" fmla="*/ 1 h 50"/>
                  <a:gd name="T10" fmla="*/ 88 w 92"/>
                  <a:gd name="T11" fmla="*/ 10 h 50"/>
                  <a:gd name="T12" fmla="*/ 90 w 92"/>
                  <a:gd name="T13" fmla="*/ 19 h 50"/>
                  <a:gd name="T14" fmla="*/ 81 w 92"/>
                  <a:gd name="T15" fmla="*/ 21 h 50"/>
                  <a:gd name="T16" fmla="*/ 65 w 92"/>
                  <a:gd name="T17" fmla="*/ 13 h 50"/>
                  <a:gd name="T18" fmla="*/ 19 w 92"/>
                  <a:gd name="T19" fmla="*/ 43 h 50"/>
                  <a:gd name="T20" fmla="*/ 11 w 92"/>
                  <a:gd name="T21" fmla="*/ 49 h 50"/>
                  <a:gd name="T22" fmla="*/ 7 w 92"/>
                  <a:gd name="T23" fmla="*/ 50 h 50"/>
                  <a:gd name="T24" fmla="*/ 7 w 92"/>
                  <a:gd name="T25" fmla="*/ 50 h 50"/>
                  <a:gd name="T26" fmla="*/ 7 w 92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50">
                    <a:moveTo>
                      <a:pt x="7" y="50"/>
                    </a:moveTo>
                    <a:cubicBezTo>
                      <a:pt x="5" y="50"/>
                      <a:pt x="3" y="49"/>
                      <a:pt x="2" y="47"/>
                    </a:cubicBezTo>
                    <a:cubicBezTo>
                      <a:pt x="0" y="45"/>
                      <a:pt x="1" y="41"/>
                      <a:pt x="4" y="39"/>
                    </a:cubicBezTo>
                    <a:cubicBezTo>
                      <a:pt x="6" y="37"/>
                      <a:pt x="9" y="35"/>
                      <a:pt x="12" y="33"/>
                    </a:cubicBezTo>
                    <a:cubicBezTo>
                      <a:pt x="39" y="13"/>
                      <a:pt x="55" y="2"/>
                      <a:pt x="63" y="1"/>
                    </a:cubicBezTo>
                    <a:cubicBezTo>
                      <a:pt x="68" y="0"/>
                      <a:pt x="75" y="3"/>
                      <a:pt x="88" y="10"/>
                    </a:cubicBezTo>
                    <a:cubicBezTo>
                      <a:pt x="91" y="12"/>
                      <a:pt x="92" y="16"/>
                      <a:pt x="90" y="19"/>
                    </a:cubicBezTo>
                    <a:cubicBezTo>
                      <a:pt x="88" y="22"/>
                      <a:pt x="84" y="23"/>
                      <a:pt x="81" y="21"/>
                    </a:cubicBezTo>
                    <a:cubicBezTo>
                      <a:pt x="69" y="14"/>
                      <a:pt x="66" y="13"/>
                      <a:pt x="65" y="13"/>
                    </a:cubicBezTo>
                    <a:cubicBezTo>
                      <a:pt x="58" y="14"/>
                      <a:pt x="30" y="35"/>
                      <a:pt x="19" y="43"/>
                    </a:cubicBezTo>
                    <a:cubicBezTo>
                      <a:pt x="16" y="45"/>
                      <a:pt x="13" y="48"/>
                      <a:pt x="11" y="49"/>
                    </a:cubicBezTo>
                    <a:cubicBezTo>
                      <a:pt x="10" y="50"/>
                      <a:pt x="9" y="50"/>
                      <a:pt x="7" y="50"/>
                    </a:cubicBezTo>
                    <a:close/>
                    <a:moveTo>
                      <a:pt x="7" y="50"/>
                    </a:moveTo>
                    <a:cubicBezTo>
                      <a:pt x="7" y="50"/>
                      <a:pt x="7" y="50"/>
                      <a:pt x="7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9" name="Freeform 20"/>
              <p:cNvSpPr>
                <a:spLocks noEditPoints="1"/>
              </p:cNvSpPr>
              <p:nvPr/>
            </p:nvSpPr>
            <p:spPr bwMode="auto">
              <a:xfrm>
                <a:off x="3949" y="2108"/>
                <a:ext cx="72" cy="77"/>
              </a:xfrm>
              <a:custGeom>
                <a:avLst/>
                <a:gdLst>
                  <a:gd name="T0" fmla="*/ 1 w 40"/>
                  <a:gd name="T1" fmla="*/ 11 h 43"/>
                  <a:gd name="T2" fmla="*/ 30 w 40"/>
                  <a:gd name="T3" fmla="*/ 41 h 43"/>
                  <a:gd name="T4" fmla="*/ 38 w 40"/>
                  <a:gd name="T5" fmla="*/ 39 h 43"/>
                  <a:gd name="T6" fmla="*/ 36 w 40"/>
                  <a:gd name="T7" fmla="*/ 31 h 43"/>
                  <a:gd name="T8" fmla="*/ 21 w 40"/>
                  <a:gd name="T9" fmla="*/ 23 h 43"/>
                  <a:gd name="T10" fmla="*/ 13 w 40"/>
                  <a:gd name="T11" fmla="*/ 7 h 43"/>
                  <a:gd name="T12" fmla="*/ 1 w 40"/>
                  <a:gd name="T13" fmla="*/ 11 h 43"/>
                  <a:gd name="T14" fmla="*/ 1 w 40"/>
                  <a:gd name="T15" fmla="*/ 11 h 43"/>
                  <a:gd name="T16" fmla="*/ 1 w 40"/>
                  <a:gd name="T17" fmla="*/ 1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43">
                    <a:moveTo>
                      <a:pt x="1" y="11"/>
                    </a:moveTo>
                    <a:cubicBezTo>
                      <a:pt x="4" y="27"/>
                      <a:pt x="15" y="36"/>
                      <a:pt x="30" y="41"/>
                    </a:cubicBezTo>
                    <a:cubicBezTo>
                      <a:pt x="33" y="43"/>
                      <a:pt x="36" y="42"/>
                      <a:pt x="38" y="39"/>
                    </a:cubicBezTo>
                    <a:cubicBezTo>
                      <a:pt x="40" y="37"/>
                      <a:pt x="39" y="32"/>
                      <a:pt x="36" y="31"/>
                    </a:cubicBezTo>
                    <a:cubicBezTo>
                      <a:pt x="31" y="29"/>
                      <a:pt x="25" y="26"/>
                      <a:pt x="21" y="23"/>
                    </a:cubicBezTo>
                    <a:cubicBezTo>
                      <a:pt x="16" y="19"/>
                      <a:pt x="14" y="13"/>
                      <a:pt x="13" y="7"/>
                    </a:cubicBezTo>
                    <a:cubicBezTo>
                      <a:pt x="12" y="0"/>
                      <a:pt x="0" y="3"/>
                      <a:pt x="1" y="11"/>
                    </a:cubicBezTo>
                    <a:close/>
                    <a:moveTo>
                      <a:pt x="1" y="11"/>
                    </a:moveTo>
                    <a:cubicBezTo>
                      <a:pt x="1" y="11"/>
                      <a:pt x="1" y="11"/>
                      <a:pt x="1" y="1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0" name="Freeform 21"/>
              <p:cNvSpPr>
                <a:spLocks noEditPoints="1"/>
              </p:cNvSpPr>
              <p:nvPr/>
            </p:nvSpPr>
            <p:spPr bwMode="auto">
              <a:xfrm>
                <a:off x="3906" y="2160"/>
                <a:ext cx="99" cy="86"/>
              </a:xfrm>
              <a:custGeom>
                <a:avLst/>
                <a:gdLst>
                  <a:gd name="T0" fmla="*/ 1 w 55"/>
                  <a:gd name="T1" fmla="*/ 8 h 48"/>
                  <a:gd name="T2" fmla="*/ 44 w 55"/>
                  <a:gd name="T3" fmla="*/ 46 h 48"/>
                  <a:gd name="T4" fmla="*/ 48 w 55"/>
                  <a:gd name="T5" fmla="*/ 34 h 48"/>
                  <a:gd name="T6" fmla="*/ 35 w 55"/>
                  <a:gd name="T7" fmla="*/ 28 h 48"/>
                  <a:gd name="T8" fmla="*/ 13 w 55"/>
                  <a:gd name="T9" fmla="*/ 5 h 48"/>
                  <a:gd name="T10" fmla="*/ 6 w 55"/>
                  <a:gd name="T11" fmla="*/ 1 h 48"/>
                  <a:gd name="T12" fmla="*/ 1 w 55"/>
                  <a:gd name="T13" fmla="*/ 8 h 48"/>
                  <a:gd name="T14" fmla="*/ 1 w 55"/>
                  <a:gd name="T15" fmla="*/ 8 h 48"/>
                  <a:gd name="T16" fmla="*/ 1 w 55"/>
                  <a:gd name="T17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48">
                    <a:moveTo>
                      <a:pt x="1" y="8"/>
                    </a:moveTo>
                    <a:cubicBezTo>
                      <a:pt x="9" y="27"/>
                      <a:pt x="26" y="40"/>
                      <a:pt x="44" y="46"/>
                    </a:cubicBezTo>
                    <a:cubicBezTo>
                      <a:pt x="52" y="48"/>
                      <a:pt x="55" y="36"/>
                      <a:pt x="48" y="34"/>
                    </a:cubicBezTo>
                    <a:cubicBezTo>
                      <a:pt x="43" y="33"/>
                      <a:pt x="40" y="31"/>
                      <a:pt x="35" y="28"/>
                    </a:cubicBezTo>
                    <a:cubicBezTo>
                      <a:pt x="26" y="23"/>
                      <a:pt x="17" y="15"/>
                      <a:pt x="13" y="5"/>
                    </a:cubicBezTo>
                    <a:cubicBezTo>
                      <a:pt x="12" y="2"/>
                      <a:pt x="9" y="0"/>
                      <a:pt x="6" y="1"/>
                    </a:cubicBezTo>
                    <a:cubicBezTo>
                      <a:pt x="3" y="2"/>
                      <a:pt x="0" y="5"/>
                      <a:pt x="1" y="8"/>
                    </a:cubicBezTo>
                    <a:close/>
                    <a:moveTo>
                      <a:pt x="1" y="8"/>
                    </a:moveTo>
                    <a:cubicBezTo>
                      <a:pt x="1" y="8"/>
                      <a:pt x="1" y="8"/>
                      <a:pt x="1" y="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</p:grpSp>
        <p:grpSp>
          <p:nvGrpSpPr>
            <p:cNvPr id="61" name="Group 15"/>
            <p:cNvGrpSpPr>
              <a:grpSpLocks noChangeAspect="1"/>
            </p:cNvGrpSpPr>
            <p:nvPr userDrawn="1"/>
          </p:nvGrpSpPr>
          <p:grpSpPr bwMode="auto">
            <a:xfrm>
              <a:off x="702225" y="267251"/>
              <a:ext cx="94846" cy="95277"/>
              <a:chOff x="4843" y="2141"/>
              <a:chExt cx="220" cy="22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62" name="Freeform 16"/>
              <p:cNvSpPr>
                <a:spLocks/>
              </p:cNvSpPr>
              <p:nvPr/>
            </p:nvSpPr>
            <p:spPr bwMode="auto">
              <a:xfrm>
                <a:off x="4843" y="2298"/>
                <a:ext cx="184" cy="64"/>
              </a:xfrm>
              <a:custGeom>
                <a:avLst/>
                <a:gdLst>
                  <a:gd name="T0" fmla="*/ 584 w 1371"/>
                  <a:gd name="T1" fmla="*/ 473 h 473"/>
                  <a:gd name="T2" fmla="*/ 489 w 1371"/>
                  <a:gd name="T3" fmla="*/ 464 h 473"/>
                  <a:gd name="T4" fmla="*/ 142 w 1371"/>
                  <a:gd name="T5" fmla="*/ 375 h 473"/>
                  <a:gd name="T6" fmla="*/ 18 w 1371"/>
                  <a:gd name="T7" fmla="*/ 273 h 473"/>
                  <a:gd name="T8" fmla="*/ 0 w 1371"/>
                  <a:gd name="T9" fmla="*/ 213 h 473"/>
                  <a:gd name="T10" fmla="*/ 0 w 1371"/>
                  <a:gd name="T11" fmla="*/ 17 h 473"/>
                  <a:gd name="T12" fmla="*/ 13 w 1371"/>
                  <a:gd name="T13" fmla="*/ 8 h 473"/>
                  <a:gd name="T14" fmla="*/ 285 w 1371"/>
                  <a:gd name="T15" fmla="*/ 107 h 473"/>
                  <a:gd name="T16" fmla="*/ 769 w 1371"/>
                  <a:gd name="T17" fmla="*/ 141 h 473"/>
                  <a:gd name="T18" fmla="*/ 1176 w 1371"/>
                  <a:gd name="T19" fmla="*/ 85 h 473"/>
                  <a:gd name="T20" fmla="*/ 1352 w 1371"/>
                  <a:gd name="T21" fmla="*/ 10 h 473"/>
                  <a:gd name="T22" fmla="*/ 1365 w 1371"/>
                  <a:gd name="T23" fmla="*/ 5 h 473"/>
                  <a:gd name="T24" fmla="*/ 1369 w 1371"/>
                  <a:gd name="T25" fmla="*/ 20 h 473"/>
                  <a:gd name="T26" fmla="*/ 1369 w 1371"/>
                  <a:gd name="T27" fmla="*/ 218 h 473"/>
                  <a:gd name="T28" fmla="*/ 1333 w 1371"/>
                  <a:gd name="T29" fmla="*/ 298 h 473"/>
                  <a:gd name="T30" fmla="*/ 1178 w 1371"/>
                  <a:gd name="T31" fmla="*/ 396 h 473"/>
                  <a:gd name="T32" fmla="*/ 876 w 1371"/>
                  <a:gd name="T33" fmla="*/ 464 h 473"/>
                  <a:gd name="T34" fmla="*/ 786 w 1371"/>
                  <a:gd name="T35" fmla="*/ 473 h 473"/>
                  <a:gd name="T36" fmla="*/ 584 w 1371"/>
                  <a:gd name="T37" fmla="*/ 473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71" h="473">
                    <a:moveTo>
                      <a:pt x="584" y="473"/>
                    </a:moveTo>
                    <a:cubicBezTo>
                      <a:pt x="552" y="470"/>
                      <a:pt x="520" y="467"/>
                      <a:pt x="489" y="464"/>
                    </a:cubicBezTo>
                    <a:cubicBezTo>
                      <a:pt x="369" y="450"/>
                      <a:pt x="252" y="427"/>
                      <a:pt x="142" y="375"/>
                    </a:cubicBezTo>
                    <a:cubicBezTo>
                      <a:pt x="93" y="351"/>
                      <a:pt x="47" y="322"/>
                      <a:pt x="18" y="273"/>
                    </a:cubicBezTo>
                    <a:cubicBezTo>
                      <a:pt x="7" y="255"/>
                      <a:pt x="0" y="235"/>
                      <a:pt x="0" y="213"/>
                    </a:cubicBezTo>
                    <a:cubicBezTo>
                      <a:pt x="1" y="148"/>
                      <a:pt x="1" y="82"/>
                      <a:pt x="0" y="17"/>
                    </a:cubicBezTo>
                    <a:cubicBezTo>
                      <a:pt x="0" y="8"/>
                      <a:pt x="1" y="0"/>
                      <a:pt x="13" y="8"/>
                    </a:cubicBezTo>
                    <a:cubicBezTo>
                      <a:pt x="97" y="61"/>
                      <a:pt x="190" y="87"/>
                      <a:pt x="285" y="107"/>
                    </a:cubicBezTo>
                    <a:cubicBezTo>
                      <a:pt x="445" y="140"/>
                      <a:pt x="607" y="146"/>
                      <a:pt x="769" y="141"/>
                    </a:cubicBezTo>
                    <a:cubicBezTo>
                      <a:pt x="906" y="137"/>
                      <a:pt x="1043" y="123"/>
                      <a:pt x="1176" y="85"/>
                    </a:cubicBezTo>
                    <a:cubicBezTo>
                      <a:pt x="1238" y="67"/>
                      <a:pt x="1298" y="45"/>
                      <a:pt x="1352" y="10"/>
                    </a:cubicBezTo>
                    <a:cubicBezTo>
                      <a:pt x="1356" y="8"/>
                      <a:pt x="1360" y="3"/>
                      <a:pt x="1365" y="5"/>
                    </a:cubicBezTo>
                    <a:cubicBezTo>
                      <a:pt x="1371" y="8"/>
                      <a:pt x="1369" y="15"/>
                      <a:pt x="1369" y="20"/>
                    </a:cubicBezTo>
                    <a:cubicBezTo>
                      <a:pt x="1369" y="86"/>
                      <a:pt x="1369" y="152"/>
                      <a:pt x="1369" y="218"/>
                    </a:cubicBezTo>
                    <a:cubicBezTo>
                      <a:pt x="1368" y="249"/>
                      <a:pt x="1353" y="275"/>
                      <a:pt x="1333" y="298"/>
                    </a:cubicBezTo>
                    <a:cubicBezTo>
                      <a:pt x="1291" y="346"/>
                      <a:pt x="1236" y="373"/>
                      <a:pt x="1178" y="396"/>
                    </a:cubicBezTo>
                    <a:cubicBezTo>
                      <a:pt x="1081" y="434"/>
                      <a:pt x="979" y="453"/>
                      <a:pt x="876" y="464"/>
                    </a:cubicBezTo>
                    <a:cubicBezTo>
                      <a:pt x="846" y="467"/>
                      <a:pt x="816" y="470"/>
                      <a:pt x="786" y="473"/>
                    </a:cubicBezTo>
                    <a:cubicBezTo>
                      <a:pt x="718" y="473"/>
                      <a:pt x="651" y="473"/>
                      <a:pt x="584" y="4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Freeform 17"/>
              <p:cNvSpPr>
                <a:spLocks/>
              </p:cNvSpPr>
              <p:nvPr/>
            </p:nvSpPr>
            <p:spPr bwMode="auto">
              <a:xfrm>
                <a:off x="4894" y="2141"/>
                <a:ext cx="169" cy="56"/>
              </a:xfrm>
              <a:custGeom>
                <a:avLst/>
                <a:gdLst>
                  <a:gd name="T0" fmla="*/ 1263 w 1263"/>
                  <a:gd name="T1" fmla="*/ 314 h 416"/>
                  <a:gd name="T2" fmla="*/ 1114 w 1263"/>
                  <a:gd name="T3" fmla="*/ 395 h 416"/>
                  <a:gd name="T4" fmla="*/ 1056 w 1263"/>
                  <a:gd name="T5" fmla="*/ 413 h 416"/>
                  <a:gd name="T6" fmla="*/ 1042 w 1263"/>
                  <a:gd name="T7" fmla="*/ 403 h 416"/>
                  <a:gd name="T8" fmla="*/ 943 w 1263"/>
                  <a:gd name="T9" fmla="*/ 233 h 416"/>
                  <a:gd name="T10" fmla="*/ 696 w 1263"/>
                  <a:gd name="T11" fmla="*/ 132 h 416"/>
                  <a:gd name="T12" fmla="*/ 462 w 1263"/>
                  <a:gd name="T13" fmla="*/ 99 h 416"/>
                  <a:gd name="T14" fmla="*/ 243 w 1263"/>
                  <a:gd name="T15" fmla="*/ 97 h 416"/>
                  <a:gd name="T16" fmla="*/ 15 w 1263"/>
                  <a:gd name="T17" fmla="*/ 124 h 416"/>
                  <a:gd name="T18" fmla="*/ 0 w 1263"/>
                  <a:gd name="T19" fmla="*/ 122 h 416"/>
                  <a:gd name="T20" fmla="*/ 47 w 1263"/>
                  <a:gd name="T21" fmla="*/ 96 h 416"/>
                  <a:gd name="T22" fmla="*/ 354 w 1263"/>
                  <a:gd name="T23" fmla="*/ 15 h 416"/>
                  <a:gd name="T24" fmla="*/ 648 w 1263"/>
                  <a:gd name="T25" fmla="*/ 3 h 416"/>
                  <a:gd name="T26" fmla="*/ 1057 w 1263"/>
                  <a:gd name="T27" fmla="*/ 72 h 416"/>
                  <a:gd name="T28" fmla="*/ 1213 w 1263"/>
                  <a:gd name="T29" fmla="*/ 162 h 416"/>
                  <a:gd name="T30" fmla="*/ 1263 w 1263"/>
                  <a:gd name="T31" fmla="*/ 237 h 416"/>
                  <a:gd name="T32" fmla="*/ 1263 w 1263"/>
                  <a:gd name="T33" fmla="*/ 314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63" h="416">
                    <a:moveTo>
                      <a:pt x="1263" y="314"/>
                    </a:moveTo>
                    <a:cubicBezTo>
                      <a:pt x="1221" y="355"/>
                      <a:pt x="1168" y="375"/>
                      <a:pt x="1114" y="395"/>
                    </a:cubicBezTo>
                    <a:cubicBezTo>
                      <a:pt x="1095" y="402"/>
                      <a:pt x="1075" y="407"/>
                      <a:pt x="1056" y="413"/>
                    </a:cubicBezTo>
                    <a:cubicBezTo>
                      <a:pt x="1046" y="416"/>
                      <a:pt x="1041" y="413"/>
                      <a:pt x="1042" y="403"/>
                    </a:cubicBezTo>
                    <a:cubicBezTo>
                      <a:pt x="1048" y="323"/>
                      <a:pt x="1001" y="274"/>
                      <a:pt x="943" y="233"/>
                    </a:cubicBezTo>
                    <a:cubicBezTo>
                      <a:pt x="868" y="181"/>
                      <a:pt x="783" y="153"/>
                      <a:pt x="696" y="132"/>
                    </a:cubicBezTo>
                    <a:cubicBezTo>
                      <a:pt x="619" y="114"/>
                      <a:pt x="541" y="105"/>
                      <a:pt x="462" y="99"/>
                    </a:cubicBezTo>
                    <a:cubicBezTo>
                      <a:pt x="389" y="94"/>
                      <a:pt x="316" y="95"/>
                      <a:pt x="243" y="97"/>
                    </a:cubicBezTo>
                    <a:cubicBezTo>
                      <a:pt x="166" y="100"/>
                      <a:pt x="90" y="109"/>
                      <a:pt x="15" y="124"/>
                    </a:cubicBezTo>
                    <a:cubicBezTo>
                      <a:pt x="11" y="124"/>
                      <a:pt x="7" y="126"/>
                      <a:pt x="0" y="122"/>
                    </a:cubicBezTo>
                    <a:cubicBezTo>
                      <a:pt x="17" y="113"/>
                      <a:pt x="31" y="104"/>
                      <a:pt x="47" y="96"/>
                    </a:cubicBezTo>
                    <a:cubicBezTo>
                      <a:pt x="144" y="51"/>
                      <a:pt x="248" y="29"/>
                      <a:pt x="354" y="15"/>
                    </a:cubicBezTo>
                    <a:cubicBezTo>
                      <a:pt x="452" y="2"/>
                      <a:pt x="550" y="0"/>
                      <a:pt x="648" y="3"/>
                    </a:cubicBezTo>
                    <a:cubicBezTo>
                      <a:pt x="787" y="7"/>
                      <a:pt x="925" y="23"/>
                      <a:pt x="1057" y="72"/>
                    </a:cubicBezTo>
                    <a:cubicBezTo>
                      <a:pt x="1114" y="93"/>
                      <a:pt x="1168" y="120"/>
                      <a:pt x="1213" y="162"/>
                    </a:cubicBezTo>
                    <a:cubicBezTo>
                      <a:pt x="1236" y="183"/>
                      <a:pt x="1251" y="209"/>
                      <a:pt x="1263" y="237"/>
                    </a:cubicBezTo>
                    <a:cubicBezTo>
                      <a:pt x="1263" y="262"/>
                      <a:pt x="1263" y="288"/>
                      <a:pt x="1263" y="3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Freeform 18"/>
              <p:cNvSpPr>
                <a:spLocks/>
              </p:cNvSpPr>
              <p:nvPr/>
            </p:nvSpPr>
            <p:spPr bwMode="auto">
              <a:xfrm>
                <a:off x="5034" y="2192"/>
                <a:ext cx="29" cy="48"/>
              </a:xfrm>
              <a:custGeom>
                <a:avLst/>
                <a:gdLst>
                  <a:gd name="T0" fmla="*/ 221 w 221"/>
                  <a:gd name="T1" fmla="*/ 259 h 360"/>
                  <a:gd name="T2" fmla="*/ 52 w 221"/>
                  <a:gd name="T3" fmla="*/ 345 h 360"/>
                  <a:gd name="T4" fmla="*/ 13 w 221"/>
                  <a:gd name="T5" fmla="*/ 357 h 360"/>
                  <a:gd name="T6" fmla="*/ 0 w 221"/>
                  <a:gd name="T7" fmla="*/ 347 h 360"/>
                  <a:gd name="T8" fmla="*/ 0 w 221"/>
                  <a:gd name="T9" fmla="*/ 338 h 360"/>
                  <a:gd name="T10" fmla="*/ 0 w 221"/>
                  <a:gd name="T11" fmla="*/ 106 h 360"/>
                  <a:gd name="T12" fmla="*/ 19 w 221"/>
                  <a:gd name="T13" fmla="*/ 80 h 360"/>
                  <a:gd name="T14" fmla="*/ 215 w 221"/>
                  <a:gd name="T15" fmla="*/ 1 h 360"/>
                  <a:gd name="T16" fmla="*/ 221 w 221"/>
                  <a:gd name="T17" fmla="*/ 0 h 360"/>
                  <a:gd name="T18" fmla="*/ 221 w 221"/>
                  <a:gd name="T19" fmla="*/ 259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1" h="360">
                    <a:moveTo>
                      <a:pt x="221" y="259"/>
                    </a:moveTo>
                    <a:cubicBezTo>
                      <a:pt x="172" y="302"/>
                      <a:pt x="113" y="326"/>
                      <a:pt x="52" y="345"/>
                    </a:cubicBezTo>
                    <a:cubicBezTo>
                      <a:pt x="39" y="349"/>
                      <a:pt x="26" y="353"/>
                      <a:pt x="13" y="357"/>
                    </a:cubicBezTo>
                    <a:cubicBezTo>
                      <a:pt x="4" y="360"/>
                      <a:pt x="0" y="356"/>
                      <a:pt x="0" y="347"/>
                    </a:cubicBezTo>
                    <a:cubicBezTo>
                      <a:pt x="0" y="344"/>
                      <a:pt x="0" y="341"/>
                      <a:pt x="0" y="338"/>
                    </a:cubicBezTo>
                    <a:cubicBezTo>
                      <a:pt x="0" y="260"/>
                      <a:pt x="0" y="183"/>
                      <a:pt x="0" y="106"/>
                    </a:cubicBezTo>
                    <a:cubicBezTo>
                      <a:pt x="0" y="91"/>
                      <a:pt x="4" y="84"/>
                      <a:pt x="19" y="80"/>
                    </a:cubicBezTo>
                    <a:cubicBezTo>
                      <a:pt x="87" y="62"/>
                      <a:pt x="154" y="39"/>
                      <a:pt x="215" y="1"/>
                    </a:cubicBezTo>
                    <a:cubicBezTo>
                      <a:pt x="217" y="0"/>
                      <a:pt x="219" y="0"/>
                      <a:pt x="221" y="0"/>
                    </a:cubicBezTo>
                    <a:cubicBezTo>
                      <a:pt x="221" y="86"/>
                      <a:pt x="221" y="172"/>
                      <a:pt x="221" y="2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Freeform 19"/>
              <p:cNvSpPr>
                <a:spLocks/>
              </p:cNvSpPr>
              <p:nvPr/>
            </p:nvSpPr>
            <p:spPr bwMode="auto">
              <a:xfrm>
                <a:off x="5034" y="2235"/>
                <a:ext cx="29" cy="49"/>
              </a:xfrm>
              <a:custGeom>
                <a:avLst/>
                <a:gdLst>
                  <a:gd name="T0" fmla="*/ 221 w 221"/>
                  <a:gd name="T1" fmla="*/ 262 h 362"/>
                  <a:gd name="T2" fmla="*/ 19 w 221"/>
                  <a:gd name="T3" fmla="*/ 357 h 362"/>
                  <a:gd name="T4" fmla="*/ 0 w 221"/>
                  <a:gd name="T5" fmla="*/ 344 h 362"/>
                  <a:gd name="T6" fmla="*/ 0 w 221"/>
                  <a:gd name="T7" fmla="*/ 111 h 362"/>
                  <a:gd name="T8" fmla="*/ 17 w 221"/>
                  <a:gd name="T9" fmla="*/ 87 h 362"/>
                  <a:gd name="T10" fmla="*/ 179 w 221"/>
                  <a:gd name="T11" fmla="*/ 23 h 362"/>
                  <a:gd name="T12" fmla="*/ 221 w 221"/>
                  <a:gd name="T13" fmla="*/ 0 h 362"/>
                  <a:gd name="T14" fmla="*/ 221 w 221"/>
                  <a:gd name="T15" fmla="*/ 2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1" h="362">
                    <a:moveTo>
                      <a:pt x="221" y="262"/>
                    </a:moveTo>
                    <a:cubicBezTo>
                      <a:pt x="162" y="311"/>
                      <a:pt x="91" y="336"/>
                      <a:pt x="19" y="357"/>
                    </a:cubicBezTo>
                    <a:cubicBezTo>
                      <a:pt x="2" y="362"/>
                      <a:pt x="0" y="361"/>
                      <a:pt x="0" y="344"/>
                    </a:cubicBezTo>
                    <a:cubicBezTo>
                      <a:pt x="0" y="266"/>
                      <a:pt x="0" y="188"/>
                      <a:pt x="0" y="111"/>
                    </a:cubicBezTo>
                    <a:cubicBezTo>
                      <a:pt x="0" y="97"/>
                      <a:pt x="5" y="91"/>
                      <a:pt x="17" y="87"/>
                    </a:cubicBezTo>
                    <a:cubicBezTo>
                      <a:pt x="72" y="68"/>
                      <a:pt x="128" y="51"/>
                      <a:pt x="179" y="23"/>
                    </a:cubicBezTo>
                    <a:cubicBezTo>
                      <a:pt x="193" y="16"/>
                      <a:pt x="207" y="8"/>
                      <a:pt x="221" y="0"/>
                    </a:cubicBezTo>
                    <a:cubicBezTo>
                      <a:pt x="221" y="87"/>
                      <a:pt x="221" y="175"/>
                      <a:pt x="221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Freeform 20"/>
              <p:cNvSpPr>
                <a:spLocks/>
              </p:cNvSpPr>
              <p:nvPr/>
            </p:nvSpPr>
            <p:spPr bwMode="auto">
              <a:xfrm>
                <a:off x="5034" y="2279"/>
                <a:ext cx="29" cy="54"/>
              </a:xfrm>
              <a:custGeom>
                <a:avLst/>
                <a:gdLst>
                  <a:gd name="T0" fmla="*/ 216 w 216"/>
                  <a:gd name="T1" fmla="*/ 237 h 402"/>
                  <a:gd name="T2" fmla="*/ 39 w 216"/>
                  <a:gd name="T3" fmla="*/ 388 h 402"/>
                  <a:gd name="T4" fmla="*/ 10 w 216"/>
                  <a:gd name="T5" fmla="*/ 400 h 402"/>
                  <a:gd name="T6" fmla="*/ 4 w 216"/>
                  <a:gd name="T7" fmla="*/ 393 h 402"/>
                  <a:gd name="T8" fmla="*/ 23 w 216"/>
                  <a:gd name="T9" fmla="*/ 269 h 402"/>
                  <a:gd name="T10" fmla="*/ 23 w 216"/>
                  <a:gd name="T11" fmla="*/ 106 h 402"/>
                  <a:gd name="T12" fmla="*/ 33 w 216"/>
                  <a:gd name="T13" fmla="*/ 84 h 402"/>
                  <a:gd name="T14" fmla="*/ 211 w 216"/>
                  <a:gd name="T15" fmla="*/ 1 h 402"/>
                  <a:gd name="T16" fmla="*/ 216 w 216"/>
                  <a:gd name="T17" fmla="*/ 0 h 402"/>
                  <a:gd name="T18" fmla="*/ 216 w 216"/>
                  <a:gd name="T19" fmla="*/ 237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6" h="402">
                    <a:moveTo>
                      <a:pt x="216" y="237"/>
                    </a:moveTo>
                    <a:cubicBezTo>
                      <a:pt x="185" y="320"/>
                      <a:pt x="113" y="355"/>
                      <a:pt x="39" y="388"/>
                    </a:cubicBezTo>
                    <a:cubicBezTo>
                      <a:pt x="30" y="393"/>
                      <a:pt x="20" y="396"/>
                      <a:pt x="10" y="400"/>
                    </a:cubicBezTo>
                    <a:cubicBezTo>
                      <a:pt x="3" y="402"/>
                      <a:pt x="0" y="399"/>
                      <a:pt x="4" y="393"/>
                    </a:cubicBezTo>
                    <a:cubicBezTo>
                      <a:pt x="28" y="354"/>
                      <a:pt x="23" y="311"/>
                      <a:pt x="23" y="269"/>
                    </a:cubicBezTo>
                    <a:cubicBezTo>
                      <a:pt x="23" y="214"/>
                      <a:pt x="23" y="160"/>
                      <a:pt x="23" y="106"/>
                    </a:cubicBezTo>
                    <a:cubicBezTo>
                      <a:pt x="23" y="97"/>
                      <a:pt x="23" y="89"/>
                      <a:pt x="33" y="84"/>
                    </a:cubicBezTo>
                    <a:cubicBezTo>
                      <a:pt x="93" y="57"/>
                      <a:pt x="152" y="29"/>
                      <a:pt x="211" y="1"/>
                    </a:cubicBezTo>
                    <a:cubicBezTo>
                      <a:pt x="213" y="0"/>
                      <a:pt x="214" y="0"/>
                      <a:pt x="216" y="0"/>
                    </a:cubicBezTo>
                    <a:cubicBezTo>
                      <a:pt x="216" y="79"/>
                      <a:pt x="216" y="158"/>
                      <a:pt x="216" y="2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Freeform 21"/>
              <p:cNvSpPr>
                <a:spLocks/>
              </p:cNvSpPr>
              <p:nvPr/>
            </p:nvSpPr>
            <p:spPr bwMode="auto">
              <a:xfrm>
                <a:off x="4843" y="2161"/>
                <a:ext cx="184" cy="63"/>
              </a:xfrm>
              <a:custGeom>
                <a:avLst/>
                <a:gdLst>
                  <a:gd name="T0" fmla="*/ 689 w 1377"/>
                  <a:gd name="T1" fmla="*/ 0 h 468"/>
                  <a:gd name="T2" fmla="*/ 1073 w 1377"/>
                  <a:gd name="T3" fmla="*/ 42 h 468"/>
                  <a:gd name="T4" fmla="*/ 1298 w 1377"/>
                  <a:gd name="T5" fmla="*/ 141 h 468"/>
                  <a:gd name="T6" fmla="*/ 1369 w 1377"/>
                  <a:gd name="T7" fmla="*/ 235 h 468"/>
                  <a:gd name="T8" fmla="*/ 1372 w 1377"/>
                  <a:gd name="T9" fmla="*/ 308 h 468"/>
                  <a:gd name="T10" fmla="*/ 1350 w 1377"/>
                  <a:gd name="T11" fmla="*/ 330 h 468"/>
                  <a:gd name="T12" fmla="*/ 1252 w 1377"/>
                  <a:gd name="T13" fmla="*/ 383 h 468"/>
                  <a:gd name="T14" fmla="*/ 965 w 1377"/>
                  <a:gd name="T15" fmla="*/ 450 h 468"/>
                  <a:gd name="T16" fmla="*/ 703 w 1377"/>
                  <a:gd name="T17" fmla="*/ 468 h 468"/>
                  <a:gd name="T18" fmla="*/ 472 w 1377"/>
                  <a:gd name="T19" fmla="*/ 457 h 468"/>
                  <a:gd name="T20" fmla="*/ 204 w 1377"/>
                  <a:gd name="T21" fmla="*/ 409 h 468"/>
                  <a:gd name="T22" fmla="*/ 30 w 1377"/>
                  <a:gd name="T23" fmla="*/ 333 h 468"/>
                  <a:gd name="T24" fmla="*/ 4 w 1377"/>
                  <a:gd name="T25" fmla="*/ 284 h 468"/>
                  <a:gd name="T26" fmla="*/ 75 w 1377"/>
                  <a:gd name="T27" fmla="*/ 143 h 468"/>
                  <a:gd name="T28" fmla="*/ 304 w 1377"/>
                  <a:gd name="T29" fmla="*/ 42 h 468"/>
                  <a:gd name="T30" fmla="*/ 584 w 1377"/>
                  <a:gd name="T31" fmla="*/ 3 h 468"/>
                  <a:gd name="T32" fmla="*/ 689 w 1377"/>
                  <a:gd name="T33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7" h="468">
                    <a:moveTo>
                      <a:pt x="689" y="0"/>
                    </a:moveTo>
                    <a:cubicBezTo>
                      <a:pt x="819" y="0"/>
                      <a:pt x="947" y="10"/>
                      <a:pt x="1073" y="42"/>
                    </a:cubicBezTo>
                    <a:cubicBezTo>
                      <a:pt x="1153" y="62"/>
                      <a:pt x="1231" y="90"/>
                      <a:pt x="1298" y="141"/>
                    </a:cubicBezTo>
                    <a:cubicBezTo>
                      <a:pt x="1331" y="165"/>
                      <a:pt x="1357" y="195"/>
                      <a:pt x="1369" y="235"/>
                    </a:cubicBezTo>
                    <a:cubicBezTo>
                      <a:pt x="1377" y="259"/>
                      <a:pt x="1373" y="283"/>
                      <a:pt x="1372" y="308"/>
                    </a:cubicBezTo>
                    <a:cubicBezTo>
                      <a:pt x="1371" y="318"/>
                      <a:pt x="1359" y="324"/>
                      <a:pt x="1350" y="330"/>
                    </a:cubicBezTo>
                    <a:cubicBezTo>
                      <a:pt x="1320" y="353"/>
                      <a:pt x="1287" y="369"/>
                      <a:pt x="1252" y="383"/>
                    </a:cubicBezTo>
                    <a:cubicBezTo>
                      <a:pt x="1159" y="418"/>
                      <a:pt x="1063" y="437"/>
                      <a:pt x="965" y="450"/>
                    </a:cubicBezTo>
                    <a:cubicBezTo>
                      <a:pt x="878" y="462"/>
                      <a:pt x="791" y="467"/>
                      <a:pt x="703" y="468"/>
                    </a:cubicBezTo>
                    <a:cubicBezTo>
                      <a:pt x="626" y="468"/>
                      <a:pt x="549" y="465"/>
                      <a:pt x="472" y="457"/>
                    </a:cubicBezTo>
                    <a:cubicBezTo>
                      <a:pt x="381" y="448"/>
                      <a:pt x="292" y="434"/>
                      <a:pt x="204" y="409"/>
                    </a:cubicBezTo>
                    <a:cubicBezTo>
                      <a:pt x="143" y="391"/>
                      <a:pt x="83" y="370"/>
                      <a:pt x="30" y="333"/>
                    </a:cubicBezTo>
                    <a:cubicBezTo>
                      <a:pt x="12" y="321"/>
                      <a:pt x="5" y="307"/>
                      <a:pt x="4" y="284"/>
                    </a:cubicBezTo>
                    <a:cubicBezTo>
                      <a:pt x="0" y="222"/>
                      <a:pt x="30" y="179"/>
                      <a:pt x="75" y="143"/>
                    </a:cubicBezTo>
                    <a:cubicBezTo>
                      <a:pt x="143" y="90"/>
                      <a:pt x="222" y="63"/>
                      <a:pt x="304" y="42"/>
                    </a:cubicBezTo>
                    <a:cubicBezTo>
                      <a:pt x="396" y="19"/>
                      <a:pt x="489" y="7"/>
                      <a:pt x="584" y="3"/>
                    </a:cubicBezTo>
                    <a:cubicBezTo>
                      <a:pt x="619" y="1"/>
                      <a:pt x="654" y="1"/>
                      <a:pt x="68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Freeform 22"/>
              <p:cNvSpPr>
                <a:spLocks/>
              </p:cNvSpPr>
              <p:nvPr/>
            </p:nvSpPr>
            <p:spPr bwMode="auto">
              <a:xfrm>
                <a:off x="4843" y="2211"/>
                <a:ext cx="184" cy="56"/>
              </a:xfrm>
              <a:custGeom>
                <a:avLst/>
                <a:gdLst>
                  <a:gd name="T0" fmla="*/ 1 w 1370"/>
                  <a:gd name="T1" fmla="*/ 131 h 418"/>
                  <a:gd name="T2" fmla="*/ 1 w 1370"/>
                  <a:gd name="T3" fmla="*/ 15 h 418"/>
                  <a:gd name="T4" fmla="*/ 14 w 1370"/>
                  <a:gd name="T5" fmla="*/ 7 h 418"/>
                  <a:gd name="T6" fmla="*/ 261 w 1370"/>
                  <a:gd name="T7" fmla="*/ 96 h 418"/>
                  <a:gd name="T8" fmla="*/ 523 w 1370"/>
                  <a:gd name="T9" fmla="*/ 133 h 418"/>
                  <a:gd name="T10" fmla="*/ 761 w 1370"/>
                  <a:gd name="T11" fmla="*/ 138 h 418"/>
                  <a:gd name="T12" fmla="*/ 1236 w 1370"/>
                  <a:gd name="T13" fmla="*/ 62 h 418"/>
                  <a:gd name="T14" fmla="*/ 1354 w 1370"/>
                  <a:gd name="T15" fmla="*/ 8 h 418"/>
                  <a:gd name="T16" fmla="*/ 1370 w 1370"/>
                  <a:gd name="T17" fmla="*/ 17 h 418"/>
                  <a:gd name="T18" fmla="*/ 1370 w 1370"/>
                  <a:gd name="T19" fmla="*/ 245 h 418"/>
                  <a:gd name="T20" fmla="*/ 1357 w 1370"/>
                  <a:gd name="T21" fmla="*/ 270 h 418"/>
                  <a:gd name="T22" fmla="*/ 1220 w 1370"/>
                  <a:gd name="T23" fmla="*/ 341 h 418"/>
                  <a:gd name="T24" fmla="*/ 890 w 1370"/>
                  <a:gd name="T25" fmla="*/ 406 h 418"/>
                  <a:gd name="T26" fmla="*/ 610 w 1370"/>
                  <a:gd name="T27" fmla="*/ 415 h 418"/>
                  <a:gd name="T28" fmla="*/ 160 w 1370"/>
                  <a:gd name="T29" fmla="*/ 344 h 418"/>
                  <a:gd name="T30" fmla="*/ 21 w 1370"/>
                  <a:gd name="T31" fmla="*/ 277 h 418"/>
                  <a:gd name="T32" fmla="*/ 1 w 1370"/>
                  <a:gd name="T33" fmla="*/ 237 h 418"/>
                  <a:gd name="T34" fmla="*/ 1 w 1370"/>
                  <a:gd name="T35" fmla="*/ 131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70" h="418">
                    <a:moveTo>
                      <a:pt x="1" y="131"/>
                    </a:moveTo>
                    <a:cubicBezTo>
                      <a:pt x="2" y="92"/>
                      <a:pt x="2" y="54"/>
                      <a:pt x="1" y="15"/>
                    </a:cubicBezTo>
                    <a:cubicBezTo>
                      <a:pt x="1" y="5"/>
                      <a:pt x="4" y="0"/>
                      <a:pt x="14" y="7"/>
                    </a:cubicBezTo>
                    <a:cubicBezTo>
                      <a:pt x="90" y="54"/>
                      <a:pt x="175" y="78"/>
                      <a:pt x="261" y="96"/>
                    </a:cubicBezTo>
                    <a:cubicBezTo>
                      <a:pt x="347" y="115"/>
                      <a:pt x="435" y="126"/>
                      <a:pt x="523" y="133"/>
                    </a:cubicBezTo>
                    <a:cubicBezTo>
                      <a:pt x="603" y="139"/>
                      <a:pt x="682" y="141"/>
                      <a:pt x="761" y="138"/>
                    </a:cubicBezTo>
                    <a:cubicBezTo>
                      <a:pt x="923" y="131"/>
                      <a:pt x="1082" y="113"/>
                      <a:pt x="1236" y="62"/>
                    </a:cubicBezTo>
                    <a:cubicBezTo>
                      <a:pt x="1277" y="48"/>
                      <a:pt x="1317" y="31"/>
                      <a:pt x="1354" y="8"/>
                    </a:cubicBezTo>
                    <a:cubicBezTo>
                      <a:pt x="1367" y="0"/>
                      <a:pt x="1370" y="1"/>
                      <a:pt x="1370" y="17"/>
                    </a:cubicBezTo>
                    <a:cubicBezTo>
                      <a:pt x="1370" y="93"/>
                      <a:pt x="1370" y="169"/>
                      <a:pt x="1370" y="245"/>
                    </a:cubicBezTo>
                    <a:cubicBezTo>
                      <a:pt x="1370" y="256"/>
                      <a:pt x="1366" y="264"/>
                      <a:pt x="1357" y="270"/>
                    </a:cubicBezTo>
                    <a:cubicBezTo>
                      <a:pt x="1316" y="304"/>
                      <a:pt x="1269" y="324"/>
                      <a:pt x="1220" y="341"/>
                    </a:cubicBezTo>
                    <a:cubicBezTo>
                      <a:pt x="1113" y="377"/>
                      <a:pt x="1002" y="396"/>
                      <a:pt x="890" y="406"/>
                    </a:cubicBezTo>
                    <a:cubicBezTo>
                      <a:pt x="797" y="415"/>
                      <a:pt x="704" y="418"/>
                      <a:pt x="610" y="415"/>
                    </a:cubicBezTo>
                    <a:cubicBezTo>
                      <a:pt x="458" y="409"/>
                      <a:pt x="307" y="392"/>
                      <a:pt x="160" y="344"/>
                    </a:cubicBezTo>
                    <a:cubicBezTo>
                      <a:pt x="111" y="328"/>
                      <a:pt x="64" y="308"/>
                      <a:pt x="21" y="277"/>
                    </a:cubicBezTo>
                    <a:cubicBezTo>
                      <a:pt x="7" y="267"/>
                      <a:pt x="0" y="255"/>
                      <a:pt x="1" y="237"/>
                    </a:cubicBezTo>
                    <a:cubicBezTo>
                      <a:pt x="3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Freeform 23"/>
              <p:cNvSpPr>
                <a:spLocks/>
              </p:cNvSpPr>
              <p:nvPr/>
            </p:nvSpPr>
            <p:spPr bwMode="auto">
              <a:xfrm>
                <a:off x="4843" y="2255"/>
                <a:ext cx="184" cy="56"/>
              </a:xfrm>
              <a:custGeom>
                <a:avLst/>
                <a:gdLst>
                  <a:gd name="T0" fmla="*/ 1 w 1370"/>
                  <a:gd name="T1" fmla="*/ 131 h 419"/>
                  <a:gd name="T2" fmla="*/ 1 w 1370"/>
                  <a:gd name="T3" fmla="*/ 14 h 419"/>
                  <a:gd name="T4" fmla="*/ 14 w 1370"/>
                  <a:gd name="T5" fmla="*/ 7 h 419"/>
                  <a:gd name="T6" fmla="*/ 307 w 1370"/>
                  <a:gd name="T7" fmla="*/ 107 h 419"/>
                  <a:gd name="T8" fmla="*/ 615 w 1370"/>
                  <a:gd name="T9" fmla="*/ 138 h 419"/>
                  <a:gd name="T10" fmla="*/ 1137 w 1370"/>
                  <a:gd name="T11" fmla="*/ 91 h 419"/>
                  <a:gd name="T12" fmla="*/ 1357 w 1370"/>
                  <a:gd name="T13" fmla="*/ 6 h 419"/>
                  <a:gd name="T14" fmla="*/ 1370 w 1370"/>
                  <a:gd name="T15" fmla="*/ 14 h 419"/>
                  <a:gd name="T16" fmla="*/ 1370 w 1370"/>
                  <a:gd name="T17" fmla="*/ 248 h 419"/>
                  <a:gd name="T18" fmla="*/ 1355 w 1370"/>
                  <a:gd name="T19" fmla="*/ 272 h 419"/>
                  <a:gd name="T20" fmla="*/ 1238 w 1370"/>
                  <a:gd name="T21" fmla="*/ 334 h 419"/>
                  <a:gd name="T22" fmla="*/ 943 w 1370"/>
                  <a:gd name="T23" fmla="*/ 401 h 419"/>
                  <a:gd name="T24" fmla="*/ 637 w 1370"/>
                  <a:gd name="T25" fmla="*/ 416 h 419"/>
                  <a:gd name="T26" fmla="*/ 167 w 1370"/>
                  <a:gd name="T27" fmla="*/ 347 h 419"/>
                  <a:gd name="T28" fmla="*/ 21 w 1370"/>
                  <a:gd name="T29" fmla="*/ 277 h 419"/>
                  <a:gd name="T30" fmla="*/ 1 w 1370"/>
                  <a:gd name="T31" fmla="*/ 238 h 419"/>
                  <a:gd name="T32" fmla="*/ 1 w 1370"/>
                  <a:gd name="T33" fmla="*/ 131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0" h="419">
                    <a:moveTo>
                      <a:pt x="1" y="131"/>
                    </a:moveTo>
                    <a:cubicBezTo>
                      <a:pt x="1" y="92"/>
                      <a:pt x="2" y="53"/>
                      <a:pt x="1" y="14"/>
                    </a:cubicBezTo>
                    <a:cubicBezTo>
                      <a:pt x="1" y="3"/>
                      <a:pt x="4" y="1"/>
                      <a:pt x="14" y="7"/>
                    </a:cubicBezTo>
                    <a:cubicBezTo>
                      <a:pt x="104" y="62"/>
                      <a:pt x="205" y="88"/>
                      <a:pt x="307" y="107"/>
                    </a:cubicBezTo>
                    <a:cubicBezTo>
                      <a:pt x="409" y="127"/>
                      <a:pt x="512" y="135"/>
                      <a:pt x="615" y="138"/>
                    </a:cubicBezTo>
                    <a:cubicBezTo>
                      <a:pt x="791" y="143"/>
                      <a:pt x="966" y="133"/>
                      <a:pt x="1137" y="91"/>
                    </a:cubicBezTo>
                    <a:cubicBezTo>
                      <a:pt x="1214" y="73"/>
                      <a:pt x="1289" y="49"/>
                      <a:pt x="1357" y="6"/>
                    </a:cubicBezTo>
                    <a:cubicBezTo>
                      <a:pt x="1367" y="0"/>
                      <a:pt x="1370" y="4"/>
                      <a:pt x="1370" y="14"/>
                    </a:cubicBezTo>
                    <a:cubicBezTo>
                      <a:pt x="1370" y="92"/>
                      <a:pt x="1370" y="170"/>
                      <a:pt x="1370" y="248"/>
                    </a:cubicBezTo>
                    <a:cubicBezTo>
                      <a:pt x="1370" y="260"/>
                      <a:pt x="1363" y="266"/>
                      <a:pt x="1355" y="272"/>
                    </a:cubicBezTo>
                    <a:cubicBezTo>
                      <a:pt x="1320" y="301"/>
                      <a:pt x="1280" y="319"/>
                      <a:pt x="1238" y="334"/>
                    </a:cubicBezTo>
                    <a:cubicBezTo>
                      <a:pt x="1143" y="370"/>
                      <a:pt x="1044" y="389"/>
                      <a:pt x="943" y="401"/>
                    </a:cubicBezTo>
                    <a:cubicBezTo>
                      <a:pt x="841" y="413"/>
                      <a:pt x="739" y="419"/>
                      <a:pt x="637" y="416"/>
                    </a:cubicBezTo>
                    <a:cubicBezTo>
                      <a:pt x="477" y="411"/>
                      <a:pt x="320" y="395"/>
                      <a:pt x="167" y="347"/>
                    </a:cubicBezTo>
                    <a:cubicBezTo>
                      <a:pt x="115" y="330"/>
                      <a:pt x="65" y="310"/>
                      <a:pt x="21" y="277"/>
                    </a:cubicBezTo>
                    <a:cubicBezTo>
                      <a:pt x="7" y="267"/>
                      <a:pt x="0" y="256"/>
                      <a:pt x="1" y="238"/>
                    </a:cubicBezTo>
                    <a:cubicBezTo>
                      <a:pt x="2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70" name="Рисунок 69"/>
            <p:cNvPicPr>
              <a:picLocks noChangeAspect="1"/>
            </p:cNvPicPr>
            <p:nvPr userDrawn="1"/>
          </p:nvPicPr>
          <p:blipFill>
            <a:blip r:embed="rId6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964" y="255927"/>
              <a:ext cx="132047" cy="120941"/>
            </a:xfrm>
            <a:prstGeom prst="rect">
              <a:avLst/>
            </a:prstGeom>
          </p:spPr>
        </p:pic>
        <p:sp>
          <p:nvSpPr>
            <p:cNvPr id="71" name="Freeform 413"/>
            <p:cNvSpPr>
              <a:spLocks noEditPoints="1"/>
            </p:cNvSpPr>
            <p:nvPr userDrawn="1"/>
          </p:nvSpPr>
          <p:spPr bwMode="auto">
            <a:xfrm>
              <a:off x="467432" y="411832"/>
              <a:ext cx="136834" cy="109909"/>
            </a:xfrm>
            <a:custGeom>
              <a:avLst/>
              <a:gdLst/>
              <a:ahLst/>
              <a:cxnLst>
                <a:cxn ang="0">
                  <a:pos x="235" y="365"/>
                </a:cxn>
                <a:cxn ang="0">
                  <a:pos x="246" y="344"/>
                </a:cxn>
                <a:cxn ang="0">
                  <a:pos x="226" y="329"/>
                </a:cxn>
                <a:cxn ang="0">
                  <a:pos x="217" y="320"/>
                </a:cxn>
                <a:cxn ang="0">
                  <a:pos x="206" y="328"/>
                </a:cxn>
                <a:cxn ang="0">
                  <a:pos x="142" y="348"/>
                </a:cxn>
                <a:cxn ang="0">
                  <a:pos x="31" y="237"/>
                </a:cxn>
                <a:cxn ang="0">
                  <a:pos x="106" y="133"/>
                </a:cxn>
                <a:cxn ang="0">
                  <a:pos x="106" y="132"/>
                </a:cxn>
                <a:cxn ang="0">
                  <a:pos x="144" y="127"/>
                </a:cxn>
                <a:cxn ang="0">
                  <a:pos x="201" y="141"/>
                </a:cxn>
                <a:cxn ang="0">
                  <a:pos x="132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6" y="104"/>
                </a:cxn>
                <a:cxn ang="0">
                  <a:pos x="49" y="130"/>
                </a:cxn>
                <a:cxn ang="0">
                  <a:pos x="49" y="129"/>
                </a:cxn>
                <a:cxn ang="0">
                  <a:pos x="0" y="237"/>
                </a:cxn>
                <a:cxn ang="0">
                  <a:pos x="142" y="380"/>
                </a:cxn>
                <a:cxn ang="0">
                  <a:pos x="214" y="360"/>
                </a:cxn>
                <a:cxn ang="0">
                  <a:pos x="231" y="371"/>
                </a:cxn>
                <a:cxn ang="0">
                  <a:pos x="235" y="365"/>
                </a:cxn>
                <a:cxn ang="0">
                  <a:pos x="453" y="183"/>
                </a:cxn>
                <a:cxn ang="0">
                  <a:pos x="454" y="175"/>
                </a:cxn>
                <a:cxn ang="0">
                  <a:pos x="348" y="70"/>
                </a:cxn>
                <a:cxn ang="0">
                  <a:pos x="327" y="72"/>
                </a:cxn>
                <a:cxn ang="0">
                  <a:pos x="212" y="0"/>
                </a:cxn>
                <a:cxn ang="0">
                  <a:pos x="90" y="89"/>
                </a:cxn>
                <a:cxn ang="0">
                  <a:pos x="125" y="86"/>
                </a:cxn>
                <a:cxn ang="0">
                  <a:pos x="212" y="32"/>
                </a:cxn>
                <a:cxn ang="0">
                  <a:pos x="302" y="96"/>
                </a:cxn>
                <a:cxn ang="0">
                  <a:pos x="308" y="112"/>
                </a:cxn>
                <a:cxn ang="0">
                  <a:pos x="323" y="106"/>
                </a:cxn>
                <a:cxn ang="0">
                  <a:pos x="348" y="101"/>
                </a:cxn>
                <a:cxn ang="0">
                  <a:pos x="422" y="175"/>
                </a:cxn>
                <a:cxn ang="0">
                  <a:pos x="420" y="192"/>
                </a:cxn>
                <a:cxn ang="0">
                  <a:pos x="416" y="209"/>
                </a:cxn>
                <a:cxn ang="0">
                  <a:pos x="434" y="211"/>
                </a:cxn>
                <a:cxn ang="0">
                  <a:pos x="492" y="275"/>
                </a:cxn>
                <a:cxn ang="0">
                  <a:pos x="428" y="338"/>
                </a:cxn>
                <a:cxn ang="0">
                  <a:pos x="394" y="329"/>
                </a:cxn>
                <a:cxn ang="0">
                  <a:pos x="384" y="322"/>
                </a:cxn>
                <a:cxn ang="0">
                  <a:pos x="375" y="330"/>
                </a:cxn>
                <a:cxn ang="0">
                  <a:pos x="358" y="343"/>
                </a:cxn>
                <a:cxn ang="0">
                  <a:pos x="352" y="359"/>
                </a:cxn>
                <a:cxn ang="0">
                  <a:pos x="342" y="384"/>
                </a:cxn>
                <a:cxn ang="0">
                  <a:pos x="387" y="361"/>
                </a:cxn>
                <a:cxn ang="0">
                  <a:pos x="428" y="370"/>
                </a:cxn>
                <a:cxn ang="0">
                  <a:pos x="523" y="275"/>
                </a:cxn>
                <a:cxn ang="0">
                  <a:pos x="453" y="183"/>
                </a:cxn>
                <a:cxn ang="0">
                  <a:pos x="383" y="292"/>
                </a:cxn>
                <a:cxn ang="0">
                  <a:pos x="313" y="171"/>
                </a:cxn>
                <a:cxn ang="0">
                  <a:pos x="244" y="292"/>
                </a:cxn>
                <a:cxn ang="0">
                  <a:pos x="282" y="292"/>
                </a:cxn>
                <a:cxn ang="0">
                  <a:pos x="220" y="420"/>
                </a:cxn>
                <a:cxn ang="0">
                  <a:pos x="297" y="420"/>
                </a:cxn>
                <a:cxn ang="0">
                  <a:pos x="343" y="292"/>
                </a:cxn>
                <a:cxn ang="0">
                  <a:pos x="383" y="292"/>
                </a:cxn>
              </a:cxnLst>
              <a:rect l="0" t="0" r="r" b="b"/>
              <a:pathLst>
                <a:path w="523" h="420">
                  <a:moveTo>
                    <a:pt x="235" y="365"/>
                  </a:moveTo>
                  <a:cubicBezTo>
                    <a:pt x="239" y="358"/>
                    <a:pt x="243" y="351"/>
                    <a:pt x="246" y="344"/>
                  </a:cubicBezTo>
                  <a:cubicBezTo>
                    <a:pt x="239" y="340"/>
                    <a:pt x="232" y="335"/>
                    <a:pt x="226" y="329"/>
                  </a:cubicBezTo>
                  <a:cubicBezTo>
                    <a:pt x="217" y="320"/>
                    <a:pt x="217" y="320"/>
                    <a:pt x="217" y="320"/>
                  </a:cubicBezTo>
                  <a:cubicBezTo>
                    <a:pt x="206" y="328"/>
                    <a:pt x="206" y="328"/>
                    <a:pt x="206" y="328"/>
                  </a:cubicBezTo>
                  <a:cubicBezTo>
                    <a:pt x="187" y="341"/>
                    <a:pt x="165" y="348"/>
                    <a:pt x="142" y="348"/>
                  </a:cubicBezTo>
                  <a:cubicBezTo>
                    <a:pt x="81" y="348"/>
                    <a:pt x="31" y="299"/>
                    <a:pt x="31" y="237"/>
                  </a:cubicBezTo>
                  <a:cubicBezTo>
                    <a:pt x="31" y="190"/>
                    <a:pt x="61" y="148"/>
                    <a:pt x="106" y="133"/>
                  </a:cubicBezTo>
                  <a:cubicBezTo>
                    <a:pt x="106" y="132"/>
                    <a:pt x="106" y="132"/>
                    <a:pt x="106" y="132"/>
                  </a:cubicBezTo>
                  <a:cubicBezTo>
                    <a:pt x="117" y="129"/>
                    <a:pt x="129" y="127"/>
                    <a:pt x="144" y="127"/>
                  </a:cubicBezTo>
                  <a:cubicBezTo>
                    <a:pt x="167" y="127"/>
                    <a:pt x="187" y="132"/>
                    <a:pt x="201" y="141"/>
                  </a:cubicBezTo>
                  <a:cubicBezTo>
                    <a:pt x="208" y="131"/>
                    <a:pt x="195" y="103"/>
                    <a:pt x="132" y="103"/>
                  </a:cubicBezTo>
                  <a:cubicBezTo>
                    <a:pt x="127" y="103"/>
                    <a:pt x="123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8" y="103"/>
                    <a:pt x="117" y="104"/>
                    <a:pt x="116" y="104"/>
                  </a:cubicBezTo>
                  <a:cubicBezTo>
                    <a:pt x="77" y="107"/>
                    <a:pt x="49" y="130"/>
                    <a:pt x="49" y="130"/>
                  </a:cubicBezTo>
                  <a:cubicBezTo>
                    <a:pt x="49" y="129"/>
                    <a:pt x="49" y="129"/>
                    <a:pt x="49" y="129"/>
                  </a:cubicBezTo>
                  <a:cubicBezTo>
                    <a:pt x="18" y="156"/>
                    <a:pt x="0" y="195"/>
                    <a:pt x="0" y="237"/>
                  </a:cubicBezTo>
                  <a:cubicBezTo>
                    <a:pt x="0" y="316"/>
                    <a:pt x="63" y="380"/>
                    <a:pt x="142" y="380"/>
                  </a:cubicBezTo>
                  <a:cubicBezTo>
                    <a:pt x="168" y="380"/>
                    <a:pt x="192" y="373"/>
                    <a:pt x="214" y="360"/>
                  </a:cubicBezTo>
                  <a:cubicBezTo>
                    <a:pt x="220" y="364"/>
                    <a:pt x="225" y="368"/>
                    <a:pt x="231" y="371"/>
                  </a:cubicBezTo>
                  <a:lnTo>
                    <a:pt x="235" y="365"/>
                  </a:lnTo>
                  <a:close/>
                  <a:moveTo>
                    <a:pt x="453" y="183"/>
                  </a:moveTo>
                  <a:cubicBezTo>
                    <a:pt x="454" y="180"/>
                    <a:pt x="454" y="178"/>
                    <a:pt x="454" y="175"/>
                  </a:cubicBezTo>
                  <a:cubicBezTo>
                    <a:pt x="454" y="117"/>
                    <a:pt x="407" y="70"/>
                    <a:pt x="348" y="70"/>
                  </a:cubicBezTo>
                  <a:cubicBezTo>
                    <a:pt x="341" y="70"/>
                    <a:pt x="334" y="71"/>
                    <a:pt x="327" y="72"/>
                  </a:cubicBezTo>
                  <a:cubicBezTo>
                    <a:pt x="305" y="29"/>
                    <a:pt x="261" y="0"/>
                    <a:pt x="212" y="0"/>
                  </a:cubicBezTo>
                  <a:cubicBezTo>
                    <a:pt x="155" y="0"/>
                    <a:pt x="106" y="37"/>
                    <a:pt x="90" y="89"/>
                  </a:cubicBezTo>
                  <a:cubicBezTo>
                    <a:pt x="103" y="86"/>
                    <a:pt x="116" y="85"/>
                    <a:pt x="125" y="86"/>
                  </a:cubicBezTo>
                  <a:cubicBezTo>
                    <a:pt x="141" y="53"/>
                    <a:pt x="174" y="32"/>
                    <a:pt x="212" y="32"/>
                  </a:cubicBezTo>
                  <a:cubicBezTo>
                    <a:pt x="253" y="32"/>
                    <a:pt x="289" y="58"/>
                    <a:pt x="302" y="96"/>
                  </a:cubicBezTo>
                  <a:cubicBezTo>
                    <a:pt x="308" y="112"/>
                    <a:pt x="308" y="112"/>
                    <a:pt x="308" y="112"/>
                  </a:cubicBezTo>
                  <a:cubicBezTo>
                    <a:pt x="323" y="106"/>
                    <a:pt x="323" y="106"/>
                    <a:pt x="323" y="106"/>
                  </a:cubicBezTo>
                  <a:cubicBezTo>
                    <a:pt x="331" y="103"/>
                    <a:pt x="340" y="101"/>
                    <a:pt x="348" y="101"/>
                  </a:cubicBezTo>
                  <a:cubicBezTo>
                    <a:pt x="389" y="101"/>
                    <a:pt x="422" y="135"/>
                    <a:pt x="422" y="175"/>
                  </a:cubicBezTo>
                  <a:cubicBezTo>
                    <a:pt x="422" y="181"/>
                    <a:pt x="421" y="186"/>
                    <a:pt x="420" y="192"/>
                  </a:cubicBezTo>
                  <a:cubicBezTo>
                    <a:pt x="416" y="209"/>
                    <a:pt x="416" y="209"/>
                    <a:pt x="416" y="209"/>
                  </a:cubicBezTo>
                  <a:cubicBezTo>
                    <a:pt x="434" y="211"/>
                    <a:pt x="434" y="211"/>
                    <a:pt x="434" y="211"/>
                  </a:cubicBezTo>
                  <a:cubicBezTo>
                    <a:pt x="467" y="214"/>
                    <a:pt x="492" y="242"/>
                    <a:pt x="492" y="275"/>
                  </a:cubicBezTo>
                  <a:cubicBezTo>
                    <a:pt x="492" y="310"/>
                    <a:pt x="463" y="338"/>
                    <a:pt x="428" y="338"/>
                  </a:cubicBezTo>
                  <a:cubicBezTo>
                    <a:pt x="416" y="338"/>
                    <a:pt x="404" y="335"/>
                    <a:pt x="394" y="329"/>
                  </a:cubicBezTo>
                  <a:cubicBezTo>
                    <a:pt x="384" y="322"/>
                    <a:pt x="384" y="322"/>
                    <a:pt x="384" y="322"/>
                  </a:cubicBezTo>
                  <a:cubicBezTo>
                    <a:pt x="375" y="330"/>
                    <a:pt x="375" y="330"/>
                    <a:pt x="375" y="330"/>
                  </a:cubicBezTo>
                  <a:cubicBezTo>
                    <a:pt x="370" y="335"/>
                    <a:pt x="364" y="339"/>
                    <a:pt x="358" y="343"/>
                  </a:cubicBezTo>
                  <a:cubicBezTo>
                    <a:pt x="356" y="348"/>
                    <a:pt x="354" y="354"/>
                    <a:pt x="352" y="359"/>
                  </a:cubicBezTo>
                  <a:cubicBezTo>
                    <a:pt x="349" y="367"/>
                    <a:pt x="346" y="376"/>
                    <a:pt x="342" y="384"/>
                  </a:cubicBezTo>
                  <a:cubicBezTo>
                    <a:pt x="358" y="379"/>
                    <a:pt x="374" y="371"/>
                    <a:pt x="387" y="361"/>
                  </a:cubicBezTo>
                  <a:cubicBezTo>
                    <a:pt x="400" y="367"/>
                    <a:pt x="414" y="370"/>
                    <a:pt x="428" y="370"/>
                  </a:cubicBezTo>
                  <a:cubicBezTo>
                    <a:pt x="481" y="370"/>
                    <a:pt x="523" y="327"/>
                    <a:pt x="523" y="275"/>
                  </a:cubicBezTo>
                  <a:cubicBezTo>
                    <a:pt x="523" y="231"/>
                    <a:pt x="494" y="194"/>
                    <a:pt x="453" y="183"/>
                  </a:cubicBezTo>
                  <a:close/>
                  <a:moveTo>
                    <a:pt x="383" y="292"/>
                  </a:moveTo>
                  <a:cubicBezTo>
                    <a:pt x="313" y="171"/>
                    <a:pt x="313" y="171"/>
                    <a:pt x="313" y="171"/>
                  </a:cubicBezTo>
                  <a:cubicBezTo>
                    <a:pt x="244" y="292"/>
                    <a:pt x="244" y="292"/>
                    <a:pt x="244" y="292"/>
                  </a:cubicBezTo>
                  <a:cubicBezTo>
                    <a:pt x="282" y="292"/>
                    <a:pt x="282" y="292"/>
                    <a:pt x="282" y="292"/>
                  </a:cubicBezTo>
                  <a:cubicBezTo>
                    <a:pt x="274" y="341"/>
                    <a:pt x="252" y="385"/>
                    <a:pt x="220" y="420"/>
                  </a:cubicBezTo>
                  <a:cubicBezTo>
                    <a:pt x="297" y="420"/>
                    <a:pt x="297" y="420"/>
                    <a:pt x="297" y="420"/>
                  </a:cubicBezTo>
                  <a:cubicBezTo>
                    <a:pt x="321" y="382"/>
                    <a:pt x="338" y="338"/>
                    <a:pt x="343" y="292"/>
                  </a:cubicBezTo>
                  <a:lnTo>
                    <a:pt x="383" y="29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</p:grpSp>
      <p:sp>
        <p:nvSpPr>
          <p:cNvPr id="72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11790055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9258581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066147C5-186D-4E4C-9242-8148410B3D18}"/>
              </a:ext>
            </a:extLst>
          </p:cNvPr>
          <p:cNvSpPr/>
          <p:nvPr userDrawn="1"/>
        </p:nvSpPr>
        <p:spPr>
          <a:xfrm>
            <a:off x="0" y="-18878"/>
            <a:ext cx="12192000" cy="6876879"/>
          </a:xfrm>
          <a:prstGeom prst="rect">
            <a:avLst/>
          </a:prstGeom>
          <a:gradFill flip="none" rotWithShape="1">
            <a:gsLst>
              <a:gs pos="18000">
                <a:schemeClr val="accent6">
                  <a:lumMod val="67000"/>
                </a:schemeClr>
              </a:gs>
              <a:gs pos="100000">
                <a:schemeClr val="accent6"/>
              </a:gs>
            </a:gsLst>
            <a:lin ang="162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5FCFC23A-FBBD-1442-BC6B-7AACBBDF17DB}"/>
              </a:ext>
            </a:extLst>
          </p:cNvPr>
          <p:cNvGrpSpPr/>
          <p:nvPr userDrawn="1"/>
        </p:nvGrpSpPr>
        <p:grpSpPr>
          <a:xfrm>
            <a:off x="0" y="-18879"/>
            <a:ext cx="12192000" cy="675904"/>
            <a:chOff x="0" y="4267200"/>
            <a:chExt cx="12192000" cy="675904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A96D3F2C-5F04-B84F-B9D5-D61433C77E05}"/>
                </a:ext>
              </a:extLst>
            </p:cNvPr>
            <p:cNvSpPr/>
            <p:nvPr userDrawn="1"/>
          </p:nvSpPr>
          <p:spPr>
            <a:xfrm>
              <a:off x="122213" y="4435305"/>
              <a:ext cx="11951853" cy="4294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dist="88900" dir="5400000" sx="97000" sy="97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xmlns="" id="{4BCEF6D8-1372-DA4D-AAD1-0712D4C4C8D4}"/>
                </a:ext>
              </a:extLst>
            </p:cNvPr>
            <p:cNvSpPr/>
            <p:nvPr userDrawn="1"/>
          </p:nvSpPr>
          <p:spPr>
            <a:xfrm>
              <a:off x="0" y="4267200"/>
              <a:ext cx="12192000" cy="675904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3E5CDD5-3156-47A9-A019-94E8642F4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7" y="162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36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F3E5CDD5-3156-47A9-A019-94E8642F4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62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"/>
          <p:cNvSpPr>
            <a:spLocks noGrp="1"/>
          </p:cNvSpPr>
          <p:nvPr>
            <p:ph type="title" hasCustomPrompt="1"/>
          </p:nvPr>
        </p:nvSpPr>
        <p:spPr>
          <a:xfrm>
            <a:off x="1602515" y="177110"/>
            <a:ext cx="9905376" cy="30780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000" kern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45780014-60AD-4D4C-B6BB-A0DF121B2FEB}"/>
              </a:ext>
            </a:extLst>
          </p:cNvPr>
          <p:cNvSpPr>
            <a:spLocks/>
          </p:cNvSpPr>
          <p:nvPr userDrawn="1"/>
        </p:nvSpPr>
        <p:spPr bwMode="auto">
          <a:xfrm>
            <a:off x="11662261" y="161564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102572" tIns="102572" rIns="102572" bIns="102572" rtlCol="0" anchor="ctr"/>
          <a:lstStyle/>
          <a:p>
            <a:pPr marL="0" marR="0" lvl="0" indent="0" algn="ctr" defTabSz="121866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>
              <a:ln>
                <a:noFill/>
              </a:ln>
              <a:solidFill>
                <a:srgbClr val="787E7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87759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30" name="Oval 98"/>
          <p:cNvSpPr/>
          <p:nvPr/>
        </p:nvSpPr>
        <p:spPr>
          <a:xfrm>
            <a:off x="1033528" y="89951"/>
            <a:ext cx="458235" cy="449148"/>
          </a:xfrm>
          <a:prstGeom prst="ellipse">
            <a:avLst/>
          </a:prstGeom>
          <a:solidFill>
            <a:schemeClr val="accent6"/>
          </a:solidFill>
          <a:ln w="19050" cap="rnd" cmpd="sng" algn="ctr">
            <a:solidFill>
              <a:schemeClr val="accent2"/>
            </a:solidFill>
            <a:prstDash val="solid"/>
          </a:ln>
          <a:effectLst/>
        </p:spPr>
        <p:txBody>
          <a:bodyPr lIns="40500" tIns="40500" rIns="40500" bIns="40500" rtlCol="0" anchor="ctr"/>
          <a:lstStyle/>
          <a:p>
            <a:pPr algn="ctr" defTabSz="685783">
              <a:defRPr/>
            </a:pPr>
            <a:endParaRPr lang="en-US" sz="751" kern="0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31" name="Group 4"/>
          <p:cNvGrpSpPr>
            <a:grpSpLocks noChangeAspect="1"/>
          </p:cNvGrpSpPr>
          <p:nvPr/>
        </p:nvGrpSpPr>
        <p:grpSpPr bwMode="auto">
          <a:xfrm>
            <a:off x="1150004" y="162249"/>
            <a:ext cx="237377" cy="308721"/>
            <a:chOff x="3655" y="1900"/>
            <a:chExt cx="366" cy="476"/>
          </a:xfrm>
          <a:solidFill>
            <a:schemeClr val="accent2"/>
          </a:solidFill>
        </p:grpSpPr>
        <p:sp>
          <p:nvSpPr>
            <p:cNvPr id="32" name="Freeform 5"/>
            <p:cNvSpPr>
              <a:spLocks noEditPoints="1"/>
            </p:cNvSpPr>
            <p:nvPr/>
          </p:nvSpPr>
          <p:spPr bwMode="auto">
            <a:xfrm>
              <a:off x="3953" y="1971"/>
              <a:ext cx="68" cy="132"/>
            </a:xfrm>
            <a:custGeom>
              <a:avLst/>
              <a:gdLst>
                <a:gd name="T0" fmla="*/ 31 w 38"/>
                <a:gd name="T1" fmla="*/ 74 h 74"/>
                <a:gd name="T2" fmla="*/ 27 w 38"/>
                <a:gd name="T3" fmla="*/ 73 h 74"/>
                <a:gd name="T4" fmla="*/ 18 w 38"/>
                <a:gd name="T5" fmla="*/ 52 h 74"/>
                <a:gd name="T6" fmla="*/ 17 w 38"/>
                <a:gd name="T7" fmla="*/ 49 h 74"/>
                <a:gd name="T8" fmla="*/ 2 w 38"/>
                <a:gd name="T9" fmla="*/ 10 h 74"/>
                <a:gd name="T10" fmla="*/ 4 w 38"/>
                <a:gd name="T11" fmla="*/ 2 h 74"/>
                <a:gd name="T12" fmla="*/ 12 w 38"/>
                <a:gd name="T13" fmla="*/ 4 h 74"/>
                <a:gd name="T14" fmla="*/ 29 w 38"/>
                <a:gd name="T15" fmla="*/ 46 h 74"/>
                <a:gd name="T16" fmla="*/ 29 w 38"/>
                <a:gd name="T17" fmla="*/ 48 h 74"/>
                <a:gd name="T18" fmla="*/ 30 w 38"/>
                <a:gd name="T19" fmla="*/ 49 h 74"/>
                <a:gd name="T20" fmla="*/ 34 w 38"/>
                <a:gd name="T21" fmla="*/ 63 h 74"/>
                <a:gd name="T22" fmla="*/ 36 w 38"/>
                <a:gd name="T23" fmla="*/ 72 h 74"/>
                <a:gd name="T24" fmla="*/ 31 w 38"/>
                <a:gd name="T25" fmla="*/ 74 h 74"/>
                <a:gd name="T26" fmla="*/ 31 w 38"/>
                <a:gd name="T27" fmla="*/ 74 h 74"/>
                <a:gd name="T28" fmla="*/ 31 w 38"/>
                <a:gd name="T2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" h="74">
                  <a:moveTo>
                    <a:pt x="31" y="74"/>
                  </a:moveTo>
                  <a:cubicBezTo>
                    <a:pt x="29" y="74"/>
                    <a:pt x="28" y="74"/>
                    <a:pt x="27" y="73"/>
                  </a:cubicBezTo>
                  <a:cubicBezTo>
                    <a:pt x="23" y="70"/>
                    <a:pt x="19" y="60"/>
                    <a:pt x="18" y="52"/>
                  </a:cubicBezTo>
                  <a:cubicBezTo>
                    <a:pt x="17" y="52"/>
                    <a:pt x="17" y="51"/>
                    <a:pt x="17" y="49"/>
                  </a:cubicBezTo>
                  <a:cubicBezTo>
                    <a:pt x="15" y="43"/>
                    <a:pt x="11" y="26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23" y="21"/>
                    <a:pt x="27" y="39"/>
                    <a:pt x="29" y="46"/>
                  </a:cubicBezTo>
                  <a:cubicBezTo>
                    <a:pt x="29" y="47"/>
                    <a:pt x="29" y="48"/>
                    <a:pt x="29" y="48"/>
                  </a:cubicBezTo>
                  <a:cubicBezTo>
                    <a:pt x="29" y="48"/>
                    <a:pt x="30" y="49"/>
                    <a:pt x="30" y="49"/>
                  </a:cubicBezTo>
                  <a:cubicBezTo>
                    <a:pt x="31" y="55"/>
                    <a:pt x="33" y="62"/>
                    <a:pt x="34" y="63"/>
                  </a:cubicBezTo>
                  <a:cubicBezTo>
                    <a:pt x="37" y="65"/>
                    <a:pt x="38" y="69"/>
                    <a:pt x="36" y="72"/>
                  </a:cubicBezTo>
                  <a:cubicBezTo>
                    <a:pt x="34" y="73"/>
                    <a:pt x="32" y="74"/>
                    <a:pt x="31" y="74"/>
                  </a:cubicBezTo>
                  <a:close/>
                  <a:moveTo>
                    <a:pt x="31" y="74"/>
                  </a:moveTo>
                  <a:cubicBezTo>
                    <a:pt x="31" y="74"/>
                    <a:pt x="31" y="74"/>
                    <a:pt x="31" y="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33" name="Freeform 6"/>
            <p:cNvSpPr>
              <a:spLocks noEditPoints="1"/>
            </p:cNvSpPr>
            <p:nvPr/>
          </p:nvSpPr>
          <p:spPr bwMode="auto">
            <a:xfrm>
              <a:off x="3810" y="1900"/>
              <a:ext cx="143" cy="62"/>
            </a:xfrm>
            <a:custGeom>
              <a:avLst/>
              <a:gdLst>
                <a:gd name="T0" fmla="*/ 74 w 80"/>
                <a:gd name="T1" fmla="*/ 35 h 35"/>
                <a:gd name="T2" fmla="*/ 69 w 80"/>
                <a:gd name="T3" fmla="*/ 34 h 35"/>
                <a:gd name="T4" fmla="*/ 25 w 80"/>
                <a:gd name="T5" fmla="*/ 12 h 35"/>
                <a:gd name="T6" fmla="*/ 8 w 80"/>
                <a:gd name="T7" fmla="*/ 14 h 35"/>
                <a:gd name="T8" fmla="*/ 1 w 80"/>
                <a:gd name="T9" fmla="*/ 9 h 35"/>
                <a:gd name="T10" fmla="*/ 6 w 80"/>
                <a:gd name="T11" fmla="*/ 2 h 35"/>
                <a:gd name="T12" fmla="*/ 26 w 80"/>
                <a:gd name="T13" fmla="*/ 0 h 35"/>
                <a:gd name="T14" fmla="*/ 26 w 80"/>
                <a:gd name="T15" fmla="*/ 0 h 35"/>
                <a:gd name="T16" fmla="*/ 78 w 80"/>
                <a:gd name="T17" fmla="*/ 25 h 35"/>
                <a:gd name="T18" fmla="*/ 78 w 80"/>
                <a:gd name="T19" fmla="*/ 34 h 35"/>
                <a:gd name="T20" fmla="*/ 74 w 80"/>
                <a:gd name="T21" fmla="*/ 35 h 35"/>
                <a:gd name="T22" fmla="*/ 74 w 80"/>
                <a:gd name="T23" fmla="*/ 35 h 35"/>
                <a:gd name="T24" fmla="*/ 74 w 80"/>
                <a:gd name="T2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35">
                  <a:moveTo>
                    <a:pt x="74" y="35"/>
                  </a:moveTo>
                  <a:cubicBezTo>
                    <a:pt x="72" y="35"/>
                    <a:pt x="70" y="35"/>
                    <a:pt x="69" y="34"/>
                  </a:cubicBezTo>
                  <a:cubicBezTo>
                    <a:pt x="57" y="21"/>
                    <a:pt x="42" y="14"/>
                    <a:pt x="25" y="12"/>
                  </a:cubicBezTo>
                  <a:cubicBezTo>
                    <a:pt x="19" y="12"/>
                    <a:pt x="14" y="13"/>
                    <a:pt x="8" y="14"/>
                  </a:cubicBezTo>
                  <a:cubicBezTo>
                    <a:pt x="5" y="14"/>
                    <a:pt x="2" y="12"/>
                    <a:pt x="1" y="9"/>
                  </a:cubicBezTo>
                  <a:cubicBezTo>
                    <a:pt x="0" y="5"/>
                    <a:pt x="3" y="2"/>
                    <a:pt x="6" y="2"/>
                  </a:cubicBezTo>
                  <a:cubicBezTo>
                    <a:pt x="12" y="0"/>
                    <a:pt x="19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6" y="2"/>
                    <a:pt x="64" y="10"/>
                    <a:pt x="78" y="25"/>
                  </a:cubicBezTo>
                  <a:cubicBezTo>
                    <a:pt x="80" y="27"/>
                    <a:pt x="80" y="31"/>
                    <a:pt x="78" y="34"/>
                  </a:cubicBezTo>
                  <a:cubicBezTo>
                    <a:pt x="77" y="35"/>
                    <a:pt x="75" y="35"/>
                    <a:pt x="74" y="35"/>
                  </a:cubicBezTo>
                  <a:close/>
                  <a:moveTo>
                    <a:pt x="74" y="35"/>
                  </a:moveTo>
                  <a:cubicBezTo>
                    <a:pt x="74" y="35"/>
                    <a:pt x="74" y="35"/>
                    <a:pt x="74" y="3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34" name="Freeform 7"/>
            <p:cNvSpPr>
              <a:spLocks noEditPoints="1"/>
            </p:cNvSpPr>
            <p:nvPr/>
          </p:nvSpPr>
          <p:spPr bwMode="auto">
            <a:xfrm>
              <a:off x="3657" y="1927"/>
              <a:ext cx="120" cy="119"/>
            </a:xfrm>
            <a:custGeom>
              <a:avLst/>
              <a:gdLst>
                <a:gd name="T0" fmla="*/ 6 w 67"/>
                <a:gd name="T1" fmla="*/ 67 h 67"/>
                <a:gd name="T2" fmla="*/ 5 w 67"/>
                <a:gd name="T3" fmla="*/ 67 h 67"/>
                <a:gd name="T4" fmla="*/ 0 w 67"/>
                <a:gd name="T5" fmla="*/ 62 h 67"/>
                <a:gd name="T6" fmla="*/ 3 w 67"/>
                <a:gd name="T7" fmla="*/ 56 h 67"/>
                <a:gd name="T8" fmla="*/ 4 w 67"/>
                <a:gd name="T9" fmla="*/ 55 h 67"/>
                <a:gd name="T10" fmla="*/ 14 w 67"/>
                <a:gd name="T11" fmla="*/ 46 h 67"/>
                <a:gd name="T12" fmla="*/ 15 w 67"/>
                <a:gd name="T13" fmla="*/ 44 h 67"/>
                <a:gd name="T14" fmla="*/ 24 w 67"/>
                <a:gd name="T15" fmla="*/ 33 h 67"/>
                <a:gd name="T16" fmla="*/ 56 w 67"/>
                <a:gd name="T17" fmla="*/ 2 h 67"/>
                <a:gd name="T18" fmla="*/ 65 w 67"/>
                <a:gd name="T19" fmla="*/ 3 h 67"/>
                <a:gd name="T20" fmla="*/ 63 w 67"/>
                <a:gd name="T21" fmla="*/ 12 h 67"/>
                <a:gd name="T22" fmla="*/ 33 w 67"/>
                <a:gd name="T23" fmla="*/ 41 h 67"/>
                <a:gd name="T24" fmla="*/ 25 w 67"/>
                <a:gd name="T25" fmla="*/ 51 h 67"/>
                <a:gd name="T26" fmla="*/ 24 w 67"/>
                <a:gd name="T27" fmla="*/ 53 h 67"/>
                <a:gd name="T28" fmla="*/ 14 w 67"/>
                <a:gd name="T29" fmla="*/ 63 h 67"/>
                <a:gd name="T30" fmla="*/ 6 w 67"/>
                <a:gd name="T31" fmla="*/ 67 h 67"/>
                <a:gd name="T32" fmla="*/ 6 w 67"/>
                <a:gd name="T33" fmla="*/ 67 h 67"/>
                <a:gd name="T34" fmla="*/ 6 w 67"/>
                <a:gd name="T3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" h="67">
                  <a:moveTo>
                    <a:pt x="6" y="67"/>
                  </a:moveTo>
                  <a:cubicBezTo>
                    <a:pt x="6" y="67"/>
                    <a:pt x="6" y="67"/>
                    <a:pt x="5" y="67"/>
                  </a:cubicBezTo>
                  <a:cubicBezTo>
                    <a:pt x="3" y="66"/>
                    <a:pt x="1" y="64"/>
                    <a:pt x="0" y="62"/>
                  </a:cubicBezTo>
                  <a:cubicBezTo>
                    <a:pt x="0" y="59"/>
                    <a:pt x="1" y="57"/>
                    <a:pt x="3" y="56"/>
                  </a:cubicBezTo>
                  <a:cubicBezTo>
                    <a:pt x="3" y="55"/>
                    <a:pt x="4" y="55"/>
                    <a:pt x="4" y="55"/>
                  </a:cubicBezTo>
                  <a:cubicBezTo>
                    <a:pt x="6" y="54"/>
                    <a:pt x="10" y="51"/>
                    <a:pt x="14" y="46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8" y="41"/>
                    <a:pt x="20" y="37"/>
                    <a:pt x="24" y="33"/>
                  </a:cubicBezTo>
                  <a:cubicBezTo>
                    <a:pt x="34" y="20"/>
                    <a:pt x="45" y="10"/>
                    <a:pt x="56" y="2"/>
                  </a:cubicBezTo>
                  <a:cubicBezTo>
                    <a:pt x="59" y="0"/>
                    <a:pt x="63" y="1"/>
                    <a:pt x="65" y="3"/>
                  </a:cubicBezTo>
                  <a:cubicBezTo>
                    <a:pt x="67" y="6"/>
                    <a:pt x="66" y="10"/>
                    <a:pt x="63" y="12"/>
                  </a:cubicBezTo>
                  <a:cubicBezTo>
                    <a:pt x="53" y="19"/>
                    <a:pt x="43" y="29"/>
                    <a:pt x="33" y="41"/>
                  </a:cubicBezTo>
                  <a:cubicBezTo>
                    <a:pt x="30" y="45"/>
                    <a:pt x="27" y="48"/>
                    <a:pt x="25" y="51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0" y="58"/>
                    <a:pt x="17" y="61"/>
                    <a:pt x="14" y="63"/>
                  </a:cubicBezTo>
                  <a:cubicBezTo>
                    <a:pt x="10" y="66"/>
                    <a:pt x="8" y="67"/>
                    <a:pt x="6" y="67"/>
                  </a:cubicBezTo>
                  <a:close/>
                  <a:moveTo>
                    <a:pt x="6" y="67"/>
                  </a:moveTo>
                  <a:cubicBezTo>
                    <a:pt x="6" y="67"/>
                    <a:pt x="6" y="67"/>
                    <a:pt x="6" y="6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35" name="Freeform 8"/>
            <p:cNvSpPr>
              <a:spLocks noEditPoints="1"/>
            </p:cNvSpPr>
            <p:nvPr/>
          </p:nvSpPr>
          <p:spPr bwMode="auto">
            <a:xfrm>
              <a:off x="3655" y="2114"/>
              <a:ext cx="81" cy="44"/>
            </a:xfrm>
            <a:custGeom>
              <a:avLst/>
              <a:gdLst>
                <a:gd name="T0" fmla="*/ 7 w 45"/>
                <a:gd name="T1" fmla="*/ 25 h 25"/>
                <a:gd name="T2" fmla="*/ 1 w 45"/>
                <a:gd name="T3" fmla="*/ 21 h 25"/>
                <a:gd name="T4" fmla="*/ 6 w 45"/>
                <a:gd name="T5" fmla="*/ 13 h 25"/>
                <a:gd name="T6" fmla="*/ 35 w 45"/>
                <a:gd name="T7" fmla="*/ 1 h 25"/>
                <a:gd name="T8" fmla="*/ 44 w 45"/>
                <a:gd name="T9" fmla="*/ 4 h 25"/>
                <a:gd name="T10" fmla="*/ 41 w 45"/>
                <a:gd name="T11" fmla="*/ 12 h 25"/>
                <a:gd name="T12" fmla="*/ 9 w 45"/>
                <a:gd name="T13" fmla="*/ 25 h 25"/>
                <a:gd name="T14" fmla="*/ 7 w 45"/>
                <a:gd name="T15" fmla="*/ 25 h 25"/>
                <a:gd name="T16" fmla="*/ 7 w 45"/>
                <a:gd name="T17" fmla="*/ 25 h 25"/>
                <a:gd name="T18" fmla="*/ 7 w 45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25">
                  <a:moveTo>
                    <a:pt x="7" y="25"/>
                  </a:moveTo>
                  <a:cubicBezTo>
                    <a:pt x="4" y="25"/>
                    <a:pt x="2" y="24"/>
                    <a:pt x="1" y="21"/>
                  </a:cubicBezTo>
                  <a:cubicBezTo>
                    <a:pt x="0" y="17"/>
                    <a:pt x="2" y="14"/>
                    <a:pt x="6" y="13"/>
                  </a:cubicBezTo>
                  <a:cubicBezTo>
                    <a:pt x="17" y="10"/>
                    <a:pt x="28" y="5"/>
                    <a:pt x="35" y="1"/>
                  </a:cubicBezTo>
                  <a:cubicBezTo>
                    <a:pt x="38" y="0"/>
                    <a:pt x="42" y="1"/>
                    <a:pt x="44" y="4"/>
                  </a:cubicBezTo>
                  <a:cubicBezTo>
                    <a:pt x="45" y="7"/>
                    <a:pt x="44" y="11"/>
                    <a:pt x="41" y="12"/>
                  </a:cubicBezTo>
                  <a:cubicBezTo>
                    <a:pt x="33" y="16"/>
                    <a:pt x="21" y="22"/>
                    <a:pt x="9" y="25"/>
                  </a:cubicBezTo>
                  <a:cubicBezTo>
                    <a:pt x="8" y="25"/>
                    <a:pt x="8" y="25"/>
                    <a:pt x="7" y="25"/>
                  </a:cubicBezTo>
                  <a:close/>
                  <a:moveTo>
                    <a:pt x="7" y="25"/>
                  </a:moveTo>
                  <a:cubicBezTo>
                    <a:pt x="7" y="25"/>
                    <a:pt x="7" y="25"/>
                    <a:pt x="7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36" name="Freeform 9"/>
            <p:cNvSpPr>
              <a:spLocks noEditPoints="1"/>
            </p:cNvSpPr>
            <p:nvPr/>
          </p:nvSpPr>
          <p:spPr bwMode="auto">
            <a:xfrm>
              <a:off x="3738" y="1989"/>
              <a:ext cx="211" cy="132"/>
            </a:xfrm>
            <a:custGeom>
              <a:avLst/>
              <a:gdLst>
                <a:gd name="T0" fmla="*/ 7 w 118"/>
                <a:gd name="T1" fmla="*/ 74 h 74"/>
                <a:gd name="T2" fmla="*/ 2 w 118"/>
                <a:gd name="T3" fmla="*/ 71 h 74"/>
                <a:gd name="T4" fmla="*/ 3 w 118"/>
                <a:gd name="T5" fmla="*/ 63 h 74"/>
                <a:gd name="T6" fmla="*/ 45 w 118"/>
                <a:gd name="T7" fmla="*/ 27 h 74"/>
                <a:gd name="T8" fmla="*/ 94 w 118"/>
                <a:gd name="T9" fmla="*/ 5 h 74"/>
                <a:gd name="T10" fmla="*/ 117 w 118"/>
                <a:gd name="T11" fmla="*/ 27 h 74"/>
                <a:gd name="T12" fmla="*/ 113 w 118"/>
                <a:gd name="T13" fmla="*/ 34 h 74"/>
                <a:gd name="T14" fmla="*/ 105 w 118"/>
                <a:gd name="T15" fmla="*/ 30 h 74"/>
                <a:gd name="T16" fmla="*/ 90 w 118"/>
                <a:gd name="T17" fmla="*/ 17 h 74"/>
                <a:gd name="T18" fmla="*/ 54 w 118"/>
                <a:gd name="T19" fmla="*/ 35 h 74"/>
                <a:gd name="T20" fmla="*/ 10 w 118"/>
                <a:gd name="T21" fmla="*/ 73 h 74"/>
                <a:gd name="T22" fmla="*/ 7 w 118"/>
                <a:gd name="T23" fmla="*/ 74 h 74"/>
                <a:gd name="T24" fmla="*/ 7 w 118"/>
                <a:gd name="T25" fmla="*/ 74 h 74"/>
                <a:gd name="T26" fmla="*/ 7 w 118"/>
                <a:gd name="T27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8" h="74">
                  <a:moveTo>
                    <a:pt x="7" y="74"/>
                  </a:moveTo>
                  <a:cubicBezTo>
                    <a:pt x="5" y="74"/>
                    <a:pt x="3" y="73"/>
                    <a:pt x="2" y="71"/>
                  </a:cubicBezTo>
                  <a:cubicBezTo>
                    <a:pt x="0" y="69"/>
                    <a:pt x="0" y="65"/>
                    <a:pt x="3" y="63"/>
                  </a:cubicBezTo>
                  <a:cubicBezTo>
                    <a:pt x="25" y="48"/>
                    <a:pt x="45" y="27"/>
                    <a:pt x="45" y="27"/>
                  </a:cubicBezTo>
                  <a:cubicBezTo>
                    <a:pt x="61" y="8"/>
                    <a:pt x="79" y="0"/>
                    <a:pt x="94" y="5"/>
                  </a:cubicBezTo>
                  <a:cubicBezTo>
                    <a:pt x="109" y="9"/>
                    <a:pt x="115" y="19"/>
                    <a:pt x="117" y="27"/>
                  </a:cubicBezTo>
                  <a:cubicBezTo>
                    <a:pt x="118" y="30"/>
                    <a:pt x="116" y="33"/>
                    <a:pt x="113" y="34"/>
                  </a:cubicBezTo>
                  <a:cubicBezTo>
                    <a:pt x="110" y="35"/>
                    <a:pt x="106" y="34"/>
                    <a:pt x="105" y="30"/>
                  </a:cubicBezTo>
                  <a:cubicBezTo>
                    <a:pt x="103" y="24"/>
                    <a:pt x="98" y="19"/>
                    <a:pt x="90" y="17"/>
                  </a:cubicBezTo>
                  <a:cubicBezTo>
                    <a:pt x="79" y="13"/>
                    <a:pt x="64" y="24"/>
                    <a:pt x="54" y="35"/>
                  </a:cubicBezTo>
                  <a:cubicBezTo>
                    <a:pt x="52" y="38"/>
                    <a:pt x="32" y="58"/>
                    <a:pt x="10" y="73"/>
                  </a:cubicBezTo>
                  <a:cubicBezTo>
                    <a:pt x="9" y="74"/>
                    <a:pt x="8" y="74"/>
                    <a:pt x="7" y="74"/>
                  </a:cubicBezTo>
                  <a:close/>
                  <a:moveTo>
                    <a:pt x="7" y="74"/>
                  </a:moveTo>
                  <a:cubicBezTo>
                    <a:pt x="7" y="74"/>
                    <a:pt x="7" y="74"/>
                    <a:pt x="7" y="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37" name="Freeform 10"/>
            <p:cNvSpPr>
              <a:spLocks noEditPoints="1"/>
            </p:cNvSpPr>
            <p:nvPr/>
          </p:nvSpPr>
          <p:spPr bwMode="auto">
            <a:xfrm>
              <a:off x="3677" y="2071"/>
              <a:ext cx="269" cy="203"/>
            </a:xfrm>
            <a:custGeom>
              <a:avLst/>
              <a:gdLst>
                <a:gd name="T0" fmla="*/ 7 w 150"/>
                <a:gd name="T1" fmla="*/ 114 h 114"/>
                <a:gd name="T2" fmla="*/ 1 w 150"/>
                <a:gd name="T3" fmla="*/ 110 h 114"/>
                <a:gd name="T4" fmla="*/ 4 w 150"/>
                <a:gd name="T5" fmla="*/ 102 h 114"/>
                <a:gd name="T6" fmla="*/ 82 w 150"/>
                <a:gd name="T7" fmla="*/ 58 h 114"/>
                <a:gd name="T8" fmla="*/ 138 w 150"/>
                <a:gd name="T9" fmla="*/ 5 h 114"/>
                <a:gd name="T10" fmla="*/ 146 w 150"/>
                <a:gd name="T11" fmla="*/ 1 h 114"/>
                <a:gd name="T12" fmla="*/ 149 w 150"/>
                <a:gd name="T13" fmla="*/ 9 h 114"/>
                <a:gd name="T14" fmla="*/ 89 w 150"/>
                <a:gd name="T15" fmla="*/ 69 h 114"/>
                <a:gd name="T16" fmla="*/ 9 w 150"/>
                <a:gd name="T17" fmla="*/ 113 h 114"/>
                <a:gd name="T18" fmla="*/ 7 w 150"/>
                <a:gd name="T19" fmla="*/ 114 h 114"/>
                <a:gd name="T20" fmla="*/ 7 w 150"/>
                <a:gd name="T21" fmla="*/ 114 h 114"/>
                <a:gd name="T22" fmla="*/ 7 w 150"/>
                <a:gd name="T23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0" h="114">
                  <a:moveTo>
                    <a:pt x="7" y="114"/>
                  </a:moveTo>
                  <a:cubicBezTo>
                    <a:pt x="4" y="114"/>
                    <a:pt x="2" y="113"/>
                    <a:pt x="1" y="110"/>
                  </a:cubicBezTo>
                  <a:cubicBezTo>
                    <a:pt x="0" y="107"/>
                    <a:pt x="1" y="103"/>
                    <a:pt x="4" y="102"/>
                  </a:cubicBezTo>
                  <a:cubicBezTo>
                    <a:pt x="31" y="91"/>
                    <a:pt x="68" y="68"/>
                    <a:pt x="82" y="58"/>
                  </a:cubicBezTo>
                  <a:cubicBezTo>
                    <a:pt x="112" y="39"/>
                    <a:pt x="131" y="20"/>
                    <a:pt x="138" y="5"/>
                  </a:cubicBezTo>
                  <a:cubicBezTo>
                    <a:pt x="139" y="2"/>
                    <a:pt x="143" y="0"/>
                    <a:pt x="146" y="1"/>
                  </a:cubicBezTo>
                  <a:cubicBezTo>
                    <a:pt x="149" y="3"/>
                    <a:pt x="150" y="6"/>
                    <a:pt x="149" y="9"/>
                  </a:cubicBezTo>
                  <a:cubicBezTo>
                    <a:pt x="140" y="33"/>
                    <a:pt x="111" y="54"/>
                    <a:pt x="89" y="69"/>
                  </a:cubicBezTo>
                  <a:cubicBezTo>
                    <a:pt x="74" y="78"/>
                    <a:pt x="36" y="102"/>
                    <a:pt x="9" y="113"/>
                  </a:cubicBezTo>
                  <a:cubicBezTo>
                    <a:pt x="8" y="114"/>
                    <a:pt x="8" y="114"/>
                    <a:pt x="7" y="114"/>
                  </a:cubicBezTo>
                  <a:close/>
                  <a:moveTo>
                    <a:pt x="7" y="114"/>
                  </a:moveTo>
                  <a:cubicBezTo>
                    <a:pt x="7" y="114"/>
                    <a:pt x="7" y="114"/>
                    <a:pt x="7" y="1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38" name="Freeform 11"/>
            <p:cNvSpPr>
              <a:spLocks noEditPoints="1"/>
            </p:cNvSpPr>
            <p:nvPr/>
          </p:nvSpPr>
          <p:spPr bwMode="auto">
            <a:xfrm>
              <a:off x="3766" y="1946"/>
              <a:ext cx="112" cy="73"/>
            </a:xfrm>
            <a:custGeom>
              <a:avLst/>
              <a:gdLst>
                <a:gd name="T0" fmla="*/ 15 w 62"/>
                <a:gd name="T1" fmla="*/ 35 h 41"/>
                <a:gd name="T2" fmla="*/ 33 w 62"/>
                <a:gd name="T3" fmla="*/ 21 h 41"/>
                <a:gd name="T4" fmla="*/ 56 w 62"/>
                <a:gd name="T5" fmla="*/ 13 h 41"/>
                <a:gd name="T6" fmla="*/ 62 w 62"/>
                <a:gd name="T7" fmla="*/ 7 h 41"/>
                <a:gd name="T8" fmla="*/ 56 w 62"/>
                <a:gd name="T9" fmla="*/ 0 h 41"/>
                <a:gd name="T10" fmla="*/ 6 w 62"/>
                <a:gd name="T11" fmla="*/ 26 h 41"/>
                <a:gd name="T12" fmla="*/ 15 w 62"/>
                <a:gd name="T13" fmla="*/ 35 h 41"/>
                <a:gd name="T14" fmla="*/ 15 w 62"/>
                <a:gd name="T15" fmla="*/ 35 h 41"/>
                <a:gd name="T16" fmla="*/ 15 w 62"/>
                <a:gd name="T17" fmla="*/ 3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41">
                  <a:moveTo>
                    <a:pt x="15" y="35"/>
                  </a:moveTo>
                  <a:cubicBezTo>
                    <a:pt x="20" y="30"/>
                    <a:pt x="26" y="25"/>
                    <a:pt x="33" y="21"/>
                  </a:cubicBezTo>
                  <a:cubicBezTo>
                    <a:pt x="40" y="17"/>
                    <a:pt x="48" y="14"/>
                    <a:pt x="56" y="13"/>
                  </a:cubicBezTo>
                  <a:cubicBezTo>
                    <a:pt x="59" y="13"/>
                    <a:pt x="62" y="10"/>
                    <a:pt x="62" y="7"/>
                  </a:cubicBezTo>
                  <a:cubicBezTo>
                    <a:pt x="62" y="4"/>
                    <a:pt x="59" y="0"/>
                    <a:pt x="56" y="0"/>
                  </a:cubicBezTo>
                  <a:cubicBezTo>
                    <a:pt x="36" y="3"/>
                    <a:pt x="20" y="13"/>
                    <a:pt x="6" y="26"/>
                  </a:cubicBezTo>
                  <a:cubicBezTo>
                    <a:pt x="0" y="32"/>
                    <a:pt x="9" y="41"/>
                    <a:pt x="15" y="35"/>
                  </a:cubicBezTo>
                  <a:close/>
                  <a:moveTo>
                    <a:pt x="15" y="35"/>
                  </a:moveTo>
                  <a:cubicBezTo>
                    <a:pt x="15" y="35"/>
                    <a:pt x="15" y="35"/>
                    <a:pt x="15" y="3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39" name="Freeform 12"/>
            <p:cNvSpPr>
              <a:spLocks noEditPoints="1"/>
            </p:cNvSpPr>
            <p:nvPr/>
          </p:nvSpPr>
          <p:spPr bwMode="auto">
            <a:xfrm>
              <a:off x="3661" y="2023"/>
              <a:ext cx="105" cy="78"/>
            </a:xfrm>
            <a:custGeom>
              <a:avLst/>
              <a:gdLst>
                <a:gd name="T0" fmla="*/ 8 w 59"/>
                <a:gd name="T1" fmla="*/ 43 h 44"/>
                <a:gd name="T2" fmla="*/ 32 w 59"/>
                <a:gd name="T3" fmla="*/ 32 h 44"/>
                <a:gd name="T4" fmla="*/ 54 w 59"/>
                <a:gd name="T5" fmla="*/ 14 h 44"/>
                <a:gd name="T6" fmla="*/ 45 w 59"/>
                <a:gd name="T7" fmla="*/ 6 h 44"/>
                <a:gd name="T8" fmla="*/ 26 w 59"/>
                <a:gd name="T9" fmla="*/ 21 h 44"/>
                <a:gd name="T10" fmla="*/ 5 w 59"/>
                <a:gd name="T11" fmla="*/ 31 h 44"/>
                <a:gd name="T12" fmla="*/ 1 w 59"/>
                <a:gd name="T13" fmla="*/ 39 h 44"/>
                <a:gd name="T14" fmla="*/ 8 w 59"/>
                <a:gd name="T15" fmla="*/ 43 h 44"/>
                <a:gd name="T16" fmla="*/ 8 w 59"/>
                <a:gd name="T17" fmla="*/ 43 h 44"/>
                <a:gd name="T18" fmla="*/ 8 w 59"/>
                <a:gd name="T19" fmla="*/ 4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44">
                  <a:moveTo>
                    <a:pt x="8" y="43"/>
                  </a:moveTo>
                  <a:cubicBezTo>
                    <a:pt x="17" y="41"/>
                    <a:pt x="24" y="36"/>
                    <a:pt x="32" y="32"/>
                  </a:cubicBezTo>
                  <a:cubicBezTo>
                    <a:pt x="40" y="28"/>
                    <a:pt x="47" y="21"/>
                    <a:pt x="54" y="14"/>
                  </a:cubicBezTo>
                  <a:cubicBezTo>
                    <a:pt x="59" y="9"/>
                    <a:pt x="50" y="0"/>
                    <a:pt x="45" y="6"/>
                  </a:cubicBezTo>
                  <a:cubicBezTo>
                    <a:pt x="39" y="12"/>
                    <a:pt x="33" y="17"/>
                    <a:pt x="26" y="21"/>
                  </a:cubicBezTo>
                  <a:cubicBezTo>
                    <a:pt x="19" y="25"/>
                    <a:pt x="12" y="29"/>
                    <a:pt x="5" y="31"/>
                  </a:cubicBezTo>
                  <a:cubicBezTo>
                    <a:pt x="2" y="32"/>
                    <a:pt x="0" y="36"/>
                    <a:pt x="1" y="39"/>
                  </a:cubicBezTo>
                  <a:cubicBezTo>
                    <a:pt x="1" y="42"/>
                    <a:pt x="5" y="44"/>
                    <a:pt x="8" y="43"/>
                  </a:cubicBezTo>
                  <a:close/>
                  <a:moveTo>
                    <a:pt x="8" y="43"/>
                  </a:moveTo>
                  <a:cubicBezTo>
                    <a:pt x="8" y="43"/>
                    <a:pt x="8" y="43"/>
                    <a:pt x="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40" name="Freeform 13"/>
            <p:cNvSpPr>
              <a:spLocks noEditPoints="1"/>
            </p:cNvSpPr>
            <p:nvPr/>
          </p:nvSpPr>
          <p:spPr bwMode="auto">
            <a:xfrm>
              <a:off x="3824" y="2046"/>
              <a:ext cx="75" cy="78"/>
            </a:xfrm>
            <a:custGeom>
              <a:avLst/>
              <a:gdLst>
                <a:gd name="T0" fmla="*/ 7 w 42"/>
                <a:gd name="T1" fmla="*/ 44 h 44"/>
                <a:gd name="T2" fmla="*/ 3 w 42"/>
                <a:gd name="T3" fmla="*/ 42 h 44"/>
                <a:gd name="T4" fmla="*/ 3 w 42"/>
                <a:gd name="T5" fmla="*/ 33 h 44"/>
                <a:gd name="T6" fmla="*/ 30 w 42"/>
                <a:gd name="T7" fmla="*/ 4 h 44"/>
                <a:gd name="T8" fmla="*/ 39 w 42"/>
                <a:gd name="T9" fmla="*/ 2 h 44"/>
                <a:gd name="T10" fmla="*/ 40 w 42"/>
                <a:gd name="T11" fmla="*/ 11 h 44"/>
                <a:gd name="T12" fmla="*/ 11 w 42"/>
                <a:gd name="T13" fmla="*/ 43 h 44"/>
                <a:gd name="T14" fmla="*/ 7 w 42"/>
                <a:gd name="T15" fmla="*/ 44 h 44"/>
                <a:gd name="T16" fmla="*/ 7 w 42"/>
                <a:gd name="T17" fmla="*/ 44 h 44"/>
                <a:gd name="T18" fmla="*/ 7 w 42"/>
                <a:gd name="T1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4">
                  <a:moveTo>
                    <a:pt x="7" y="44"/>
                  </a:moveTo>
                  <a:cubicBezTo>
                    <a:pt x="6" y="44"/>
                    <a:pt x="4" y="44"/>
                    <a:pt x="3" y="42"/>
                  </a:cubicBezTo>
                  <a:cubicBezTo>
                    <a:pt x="0" y="40"/>
                    <a:pt x="1" y="36"/>
                    <a:pt x="3" y="33"/>
                  </a:cubicBezTo>
                  <a:cubicBezTo>
                    <a:pt x="14" y="24"/>
                    <a:pt x="23" y="14"/>
                    <a:pt x="30" y="4"/>
                  </a:cubicBezTo>
                  <a:cubicBezTo>
                    <a:pt x="32" y="1"/>
                    <a:pt x="36" y="0"/>
                    <a:pt x="39" y="2"/>
                  </a:cubicBezTo>
                  <a:cubicBezTo>
                    <a:pt x="42" y="4"/>
                    <a:pt x="42" y="8"/>
                    <a:pt x="40" y="11"/>
                  </a:cubicBezTo>
                  <a:cubicBezTo>
                    <a:pt x="33" y="22"/>
                    <a:pt x="23" y="33"/>
                    <a:pt x="11" y="43"/>
                  </a:cubicBezTo>
                  <a:cubicBezTo>
                    <a:pt x="10" y="44"/>
                    <a:pt x="9" y="44"/>
                    <a:pt x="7" y="44"/>
                  </a:cubicBezTo>
                  <a:close/>
                  <a:moveTo>
                    <a:pt x="7" y="44"/>
                  </a:moveTo>
                  <a:cubicBezTo>
                    <a:pt x="7" y="44"/>
                    <a:pt x="7" y="44"/>
                    <a:pt x="7" y="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41" name="Freeform 14"/>
            <p:cNvSpPr>
              <a:spLocks noEditPoints="1"/>
            </p:cNvSpPr>
            <p:nvPr/>
          </p:nvSpPr>
          <p:spPr bwMode="auto">
            <a:xfrm>
              <a:off x="3662" y="2139"/>
              <a:ext cx="139" cy="78"/>
            </a:xfrm>
            <a:custGeom>
              <a:avLst/>
              <a:gdLst>
                <a:gd name="T0" fmla="*/ 7 w 77"/>
                <a:gd name="T1" fmla="*/ 44 h 44"/>
                <a:gd name="T2" fmla="*/ 1 w 77"/>
                <a:gd name="T3" fmla="*/ 40 h 44"/>
                <a:gd name="T4" fmla="*/ 5 w 77"/>
                <a:gd name="T5" fmla="*/ 32 h 44"/>
                <a:gd name="T6" fmla="*/ 5 w 77"/>
                <a:gd name="T7" fmla="*/ 32 h 44"/>
                <a:gd name="T8" fmla="*/ 47 w 77"/>
                <a:gd name="T9" fmla="*/ 13 h 44"/>
                <a:gd name="T10" fmla="*/ 67 w 77"/>
                <a:gd name="T11" fmla="*/ 1 h 44"/>
                <a:gd name="T12" fmla="*/ 75 w 77"/>
                <a:gd name="T13" fmla="*/ 3 h 44"/>
                <a:gd name="T14" fmla="*/ 74 w 77"/>
                <a:gd name="T15" fmla="*/ 12 h 44"/>
                <a:gd name="T16" fmla="*/ 53 w 77"/>
                <a:gd name="T17" fmla="*/ 24 h 44"/>
                <a:gd name="T18" fmla="*/ 9 w 77"/>
                <a:gd name="T19" fmla="*/ 44 h 44"/>
                <a:gd name="T20" fmla="*/ 9 w 77"/>
                <a:gd name="T21" fmla="*/ 44 h 44"/>
                <a:gd name="T22" fmla="*/ 7 w 77"/>
                <a:gd name="T23" fmla="*/ 44 h 44"/>
                <a:gd name="T24" fmla="*/ 7 w 77"/>
                <a:gd name="T25" fmla="*/ 44 h 44"/>
                <a:gd name="T26" fmla="*/ 7 w 77"/>
                <a:gd name="T2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7" h="44">
                  <a:moveTo>
                    <a:pt x="7" y="44"/>
                  </a:moveTo>
                  <a:cubicBezTo>
                    <a:pt x="4" y="44"/>
                    <a:pt x="2" y="43"/>
                    <a:pt x="1" y="40"/>
                  </a:cubicBezTo>
                  <a:cubicBezTo>
                    <a:pt x="0" y="37"/>
                    <a:pt x="2" y="33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11" y="30"/>
                    <a:pt x="28" y="24"/>
                    <a:pt x="47" y="13"/>
                  </a:cubicBezTo>
                  <a:cubicBezTo>
                    <a:pt x="54" y="9"/>
                    <a:pt x="61" y="5"/>
                    <a:pt x="67" y="1"/>
                  </a:cubicBezTo>
                  <a:cubicBezTo>
                    <a:pt x="70" y="0"/>
                    <a:pt x="73" y="0"/>
                    <a:pt x="75" y="3"/>
                  </a:cubicBezTo>
                  <a:cubicBezTo>
                    <a:pt x="77" y="6"/>
                    <a:pt x="76" y="10"/>
                    <a:pt x="74" y="12"/>
                  </a:cubicBezTo>
                  <a:cubicBezTo>
                    <a:pt x="67" y="16"/>
                    <a:pt x="60" y="20"/>
                    <a:pt x="53" y="24"/>
                  </a:cubicBezTo>
                  <a:cubicBezTo>
                    <a:pt x="33" y="35"/>
                    <a:pt x="16" y="41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8" y="44"/>
                    <a:pt x="8" y="44"/>
                    <a:pt x="7" y="44"/>
                  </a:cubicBezTo>
                  <a:close/>
                  <a:moveTo>
                    <a:pt x="7" y="44"/>
                  </a:moveTo>
                  <a:cubicBezTo>
                    <a:pt x="7" y="44"/>
                    <a:pt x="7" y="44"/>
                    <a:pt x="7" y="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42" name="Freeform 15"/>
            <p:cNvSpPr>
              <a:spLocks noEditPoints="1"/>
            </p:cNvSpPr>
            <p:nvPr/>
          </p:nvSpPr>
          <p:spPr bwMode="auto">
            <a:xfrm>
              <a:off x="3801" y="2215"/>
              <a:ext cx="190" cy="89"/>
            </a:xfrm>
            <a:custGeom>
              <a:avLst/>
              <a:gdLst>
                <a:gd name="T0" fmla="*/ 99 w 106"/>
                <a:gd name="T1" fmla="*/ 50 h 50"/>
                <a:gd name="T2" fmla="*/ 97 w 106"/>
                <a:gd name="T3" fmla="*/ 49 h 50"/>
                <a:gd name="T4" fmla="*/ 64 w 106"/>
                <a:gd name="T5" fmla="*/ 30 h 50"/>
                <a:gd name="T6" fmla="*/ 36 w 106"/>
                <a:gd name="T7" fmla="*/ 14 h 50"/>
                <a:gd name="T8" fmla="*/ 10 w 106"/>
                <a:gd name="T9" fmla="*/ 29 h 50"/>
                <a:gd name="T10" fmla="*/ 1 w 106"/>
                <a:gd name="T11" fmla="*/ 27 h 50"/>
                <a:gd name="T12" fmla="*/ 3 w 106"/>
                <a:gd name="T13" fmla="*/ 18 h 50"/>
                <a:gd name="T14" fmla="*/ 34 w 106"/>
                <a:gd name="T15" fmla="*/ 2 h 50"/>
                <a:gd name="T16" fmla="*/ 71 w 106"/>
                <a:gd name="T17" fmla="*/ 20 h 50"/>
                <a:gd name="T18" fmla="*/ 101 w 106"/>
                <a:gd name="T19" fmla="*/ 37 h 50"/>
                <a:gd name="T20" fmla="*/ 105 w 106"/>
                <a:gd name="T21" fmla="*/ 45 h 50"/>
                <a:gd name="T22" fmla="*/ 99 w 106"/>
                <a:gd name="T23" fmla="*/ 50 h 50"/>
                <a:gd name="T24" fmla="*/ 99 w 106"/>
                <a:gd name="T25" fmla="*/ 50 h 50"/>
                <a:gd name="T26" fmla="*/ 99 w 106"/>
                <a:gd name="T2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" h="50">
                  <a:moveTo>
                    <a:pt x="99" y="50"/>
                  </a:moveTo>
                  <a:cubicBezTo>
                    <a:pt x="98" y="50"/>
                    <a:pt x="97" y="49"/>
                    <a:pt x="97" y="49"/>
                  </a:cubicBezTo>
                  <a:cubicBezTo>
                    <a:pt x="86" y="46"/>
                    <a:pt x="75" y="38"/>
                    <a:pt x="64" y="30"/>
                  </a:cubicBezTo>
                  <a:cubicBezTo>
                    <a:pt x="54" y="23"/>
                    <a:pt x="41" y="13"/>
                    <a:pt x="36" y="14"/>
                  </a:cubicBezTo>
                  <a:cubicBezTo>
                    <a:pt x="31" y="15"/>
                    <a:pt x="15" y="25"/>
                    <a:pt x="10" y="29"/>
                  </a:cubicBezTo>
                  <a:cubicBezTo>
                    <a:pt x="7" y="30"/>
                    <a:pt x="3" y="30"/>
                    <a:pt x="1" y="27"/>
                  </a:cubicBezTo>
                  <a:cubicBezTo>
                    <a:pt x="0" y="24"/>
                    <a:pt x="0" y="20"/>
                    <a:pt x="3" y="18"/>
                  </a:cubicBezTo>
                  <a:cubicBezTo>
                    <a:pt x="20" y="8"/>
                    <a:pt x="28" y="3"/>
                    <a:pt x="34" y="2"/>
                  </a:cubicBezTo>
                  <a:cubicBezTo>
                    <a:pt x="44" y="0"/>
                    <a:pt x="57" y="9"/>
                    <a:pt x="71" y="20"/>
                  </a:cubicBezTo>
                  <a:cubicBezTo>
                    <a:pt x="82" y="27"/>
                    <a:pt x="92" y="35"/>
                    <a:pt x="101" y="37"/>
                  </a:cubicBezTo>
                  <a:cubicBezTo>
                    <a:pt x="104" y="39"/>
                    <a:pt x="106" y="42"/>
                    <a:pt x="105" y="45"/>
                  </a:cubicBezTo>
                  <a:cubicBezTo>
                    <a:pt x="104" y="48"/>
                    <a:pt x="101" y="50"/>
                    <a:pt x="99" y="50"/>
                  </a:cubicBezTo>
                  <a:close/>
                  <a:moveTo>
                    <a:pt x="99" y="50"/>
                  </a:moveTo>
                  <a:cubicBezTo>
                    <a:pt x="99" y="50"/>
                    <a:pt x="99" y="50"/>
                    <a:pt x="99" y="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43" name="Freeform 16"/>
            <p:cNvSpPr>
              <a:spLocks noEditPoints="1"/>
            </p:cNvSpPr>
            <p:nvPr/>
          </p:nvSpPr>
          <p:spPr bwMode="auto">
            <a:xfrm>
              <a:off x="3702" y="2260"/>
              <a:ext cx="100" cy="66"/>
            </a:xfrm>
            <a:custGeom>
              <a:avLst/>
              <a:gdLst>
                <a:gd name="T0" fmla="*/ 7 w 56"/>
                <a:gd name="T1" fmla="*/ 37 h 37"/>
                <a:gd name="T2" fmla="*/ 1 w 56"/>
                <a:gd name="T3" fmla="*/ 33 h 37"/>
                <a:gd name="T4" fmla="*/ 5 w 56"/>
                <a:gd name="T5" fmla="*/ 25 h 37"/>
                <a:gd name="T6" fmla="*/ 45 w 56"/>
                <a:gd name="T7" fmla="*/ 2 h 37"/>
                <a:gd name="T8" fmla="*/ 54 w 56"/>
                <a:gd name="T9" fmla="*/ 4 h 37"/>
                <a:gd name="T10" fmla="*/ 52 w 56"/>
                <a:gd name="T11" fmla="*/ 12 h 37"/>
                <a:gd name="T12" fmla="*/ 9 w 56"/>
                <a:gd name="T13" fmla="*/ 37 h 37"/>
                <a:gd name="T14" fmla="*/ 7 w 56"/>
                <a:gd name="T15" fmla="*/ 37 h 37"/>
                <a:gd name="T16" fmla="*/ 7 w 56"/>
                <a:gd name="T17" fmla="*/ 37 h 37"/>
                <a:gd name="T18" fmla="*/ 7 w 56"/>
                <a:gd name="T1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37">
                  <a:moveTo>
                    <a:pt x="7" y="37"/>
                  </a:moveTo>
                  <a:cubicBezTo>
                    <a:pt x="4" y="37"/>
                    <a:pt x="2" y="35"/>
                    <a:pt x="1" y="33"/>
                  </a:cubicBezTo>
                  <a:cubicBezTo>
                    <a:pt x="0" y="29"/>
                    <a:pt x="2" y="26"/>
                    <a:pt x="5" y="25"/>
                  </a:cubicBezTo>
                  <a:cubicBezTo>
                    <a:pt x="13" y="23"/>
                    <a:pt x="31" y="11"/>
                    <a:pt x="45" y="2"/>
                  </a:cubicBezTo>
                  <a:cubicBezTo>
                    <a:pt x="48" y="0"/>
                    <a:pt x="52" y="1"/>
                    <a:pt x="54" y="4"/>
                  </a:cubicBezTo>
                  <a:cubicBezTo>
                    <a:pt x="56" y="6"/>
                    <a:pt x="55" y="10"/>
                    <a:pt x="52" y="12"/>
                  </a:cubicBezTo>
                  <a:cubicBezTo>
                    <a:pt x="32" y="25"/>
                    <a:pt x="17" y="35"/>
                    <a:pt x="9" y="37"/>
                  </a:cubicBezTo>
                  <a:cubicBezTo>
                    <a:pt x="8" y="37"/>
                    <a:pt x="7" y="37"/>
                    <a:pt x="7" y="37"/>
                  </a:cubicBezTo>
                  <a:close/>
                  <a:moveTo>
                    <a:pt x="7" y="37"/>
                  </a:moveTo>
                  <a:cubicBezTo>
                    <a:pt x="7" y="37"/>
                    <a:pt x="7" y="37"/>
                    <a:pt x="7" y="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44" name="Freeform 17"/>
            <p:cNvSpPr>
              <a:spLocks noEditPoints="1"/>
            </p:cNvSpPr>
            <p:nvPr/>
          </p:nvSpPr>
          <p:spPr bwMode="auto">
            <a:xfrm>
              <a:off x="3906" y="2319"/>
              <a:ext cx="56" cy="39"/>
            </a:xfrm>
            <a:custGeom>
              <a:avLst/>
              <a:gdLst>
                <a:gd name="T0" fmla="*/ 24 w 31"/>
                <a:gd name="T1" fmla="*/ 22 h 22"/>
                <a:gd name="T2" fmla="*/ 22 w 31"/>
                <a:gd name="T3" fmla="*/ 21 h 22"/>
                <a:gd name="T4" fmla="*/ 4 w 31"/>
                <a:gd name="T5" fmla="*/ 12 h 22"/>
                <a:gd name="T6" fmla="*/ 2 w 31"/>
                <a:gd name="T7" fmla="*/ 4 h 22"/>
                <a:gd name="T8" fmla="*/ 11 w 31"/>
                <a:gd name="T9" fmla="*/ 1 h 22"/>
                <a:gd name="T10" fmla="*/ 26 w 31"/>
                <a:gd name="T11" fmla="*/ 10 h 22"/>
                <a:gd name="T12" fmla="*/ 30 w 31"/>
                <a:gd name="T13" fmla="*/ 18 h 22"/>
                <a:gd name="T14" fmla="*/ 24 w 31"/>
                <a:gd name="T15" fmla="*/ 22 h 22"/>
                <a:gd name="T16" fmla="*/ 24 w 31"/>
                <a:gd name="T17" fmla="*/ 22 h 22"/>
                <a:gd name="T18" fmla="*/ 24 w 31"/>
                <a:gd name="T1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22">
                  <a:moveTo>
                    <a:pt x="24" y="22"/>
                  </a:moveTo>
                  <a:cubicBezTo>
                    <a:pt x="23" y="22"/>
                    <a:pt x="23" y="22"/>
                    <a:pt x="22" y="21"/>
                  </a:cubicBezTo>
                  <a:cubicBezTo>
                    <a:pt x="17" y="20"/>
                    <a:pt x="10" y="16"/>
                    <a:pt x="4" y="12"/>
                  </a:cubicBezTo>
                  <a:cubicBezTo>
                    <a:pt x="1" y="10"/>
                    <a:pt x="0" y="6"/>
                    <a:pt x="2" y="4"/>
                  </a:cubicBezTo>
                  <a:cubicBezTo>
                    <a:pt x="4" y="1"/>
                    <a:pt x="8" y="0"/>
                    <a:pt x="11" y="1"/>
                  </a:cubicBezTo>
                  <a:cubicBezTo>
                    <a:pt x="16" y="5"/>
                    <a:pt x="22" y="8"/>
                    <a:pt x="26" y="10"/>
                  </a:cubicBezTo>
                  <a:cubicBezTo>
                    <a:pt x="29" y="11"/>
                    <a:pt x="31" y="15"/>
                    <a:pt x="30" y="18"/>
                  </a:cubicBezTo>
                  <a:cubicBezTo>
                    <a:pt x="29" y="20"/>
                    <a:pt x="27" y="22"/>
                    <a:pt x="24" y="22"/>
                  </a:cubicBezTo>
                  <a:close/>
                  <a:moveTo>
                    <a:pt x="24" y="22"/>
                  </a:moveTo>
                  <a:cubicBezTo>
                    <a:pt x="24" y="22"/>
                    <a:pt x="24" y="22"/>
                    <a:pt x="24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45" name="Freeform 18"/>
            <p:cNvSpPr>
              <a:spLocks noEditPoints="1"/>
            </p:cNvSpPr>
            <p:nvPr/>
          </p:nvSpPr>
          <p:spPr bwMode="auto">
            <a:xfrm>
              <a:off x="3741" y="2287"/>
              <a:ext cx="165" cy="89"/>
            </a:xfrm>
            <a:custGeom>
              <a:avLst/>
              <a:gdLst>
                <a:gd name="T0" fmla="*/ 7 w 92"/>
                <a:gd name="T1" fmla="*/ 50 h 50"/>
                <a:gd name="T2" fmla="*/ 2 w 92"/>
                <a:gd name="T3" fmla="*/ 47 h 50"/>
                <a:gd name="T4" fmla="*/ 4 w 92"/>
                <a:gd name="T5" fmla="*/ 39 h 50"/>
                <a:gd name="T6" fmla="*/ 12 w 92"/>
                <a:gd name="T7" fmla="*/ 33 h 50"/>
                <a:gd name="T8" fmla="*/ 63 w 92"/>
                <a:gd name="T9" fmla="*/ 1 h 50"/>
                <a:gd name="T10" fmla="*/ 88 w 92"/>
                <a:gd name="T11" fmla="*/ 10 h 50"/>
                <a:gd name="T12" fmla="*/ 90 w 92"/>
                <a:gd name="T13" fmla="*/ 19 h 50"/>
                <a:gd name="T14" fmla="*/ 81 w 92"/>
                <a:gd name="T15" fmla="*/ 21 h 50"/>
                <a:gd name="T16" fmla="*/ 65 w 92"/>
                <a:gd name="T17" fmla="*/ 13 h 50"/>
                <a:gd name="T18" fmla="*/ 19 w 92"/>
                <a:gd name="T19" fmla="*/ 43 h 50"/>
                <a:gd name="T20" fmla="*/ 11 w 92"/>
                <a:gd name="T21" fmla="*/ 49 h 50"/>
                <a:gd name="T22" fmla="*/ 7 w 92"/>
                <a:gd name="T23" fmla="*/ 50 h 50"/>
                <a:gd name="T24" fmla="*/ 7 w 92"/>
                <a:gd name="T25" fmla="*/ 50 h 50"/>
                <a:gd name="T26" fmla="*/ 7 w 92"/>
                <a:gd name="T2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50">
                  <a:moveTo>
                    <a:pt x="7" y="50"/>
                  </a:moveTo>
                  <a:cubicBezTo>
                    <a:pt x="5" y="50"/>
                    <a:pt x="3" y="49"/>
                    <a:pt x="2" y="47"/>
                  </a:cubicBezTo>
                  <a:cubicBezTo>
                    <a:pt x="0" y="45"/>
                    <a:pt x="1" y="41"/>
                    <a:pt x="4" y="39"/>
                  </a:cubicBezTo>
                  <a:cubicBezTo>
                    <a:pt x="6" y="37"/>
                    <a:pt x="9" y="35"/>
                    <a:pt x="12" y="33"/>
                  </a:cubicBezTo>
                  <a:cubicBezTo>
                    <a:pt x="39" y="13"/>
                    <a:pt x="55" y="2"/>
                    <a:pt x="63" y="1"/>
                  </a:cubicBezTo>
                  <a:cubicBezTo>
                    <a:pt x="68" y="0"/>
                    <a:pt x="75" y="3"/>
                    <a:pt x="88" y="10"/>
                  </a:cubicBezTo>
                  <a:cubicBezTo>
                    <a:pt x="91" y="12"/>
                    <a:pt x="92" y="16"/>
                    <a:pt x="90" y="19"/>
                  </a:cubicBezTo>
                  <a:cubicBezTo>
                    <a:pt x="88" y="22"/>
                    <a:pt x="84" y="23"/>
                    <a:pt x="81" y="21"/>
                  </a:cubicBezTo>
                  <a:cubicBezTo>
                    <a:pt x="69" y="14"/>
                    <a:pt x="66" y="13"/>
                    <a:pt x="65" y="13"/>
                  </a:cubicBezTo>
                  <a:cubicBezTo>
                    <a:pt x="58" y="14"/>
                    <a:pt x="30" y="35"/>
                    <a:pt x="19" y="43"/>
                  </a:cubicBezTo>
                  <a:cubicBezTo>
                    <a:pt x="16" y="45"/>
                    <a:pt x="13" y="48"/>
                    <a:pt x="11" y="49"/>
                  </a:cubicBezTo>
                  <a:cubicBezTo>
                    <a:pt x="10" y="50"/>
                    <a:pt x="9" y="50"/>
                    <a:pt x="7" y="50"/>
                  </a:cubicBezTo>
                  <a:close/>
                  <a:moveTo>
                    <a:pt x="7" y="50"/>
                  </a:moveTo>
                  <a:cubicBezTo>
                    <a:pt x="7" y="50"/>
                    <a:pt x="7" y="50"/>
                    <a:pt x="7" y="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46" name="Freeform 20"/>
            <p:cNvSpPr>
              <a:spLocks noEditPoints="1"/>
            </p:cNvSpPr>
            <p:nvPr/>
          </p:nvSpPr>
          <p:spPr bwMode="auto">
            <a:xfrm>
              <a:off x="3949" y="2108"/>
              <a:ext cx="72" cy="77"/>
            </a:xfrm>
            <a:custGeom>
              <a:avLst/>
              <a:gdLst>
                <a:gd name="T0" fmla="*/ 1 w 40"/>
                <a:gd name="T1" fmla="*/ 11 h 43"/>
                <a:gd name="T2" fmla="*/ 30 w 40"/>
                <a:gd name="T3" fmla="*/ 41 h 43"/>
                <a:gd name="T4" fmla="*/ 38 w 40"/>
                <a:gd name="T5" fmla="*/ 39 h 43"/>
                <a:gd name="T6" fmla="*/ 36 w 40"/>
                <a:gd name="T7" fmla="*/ 31 h 43"/>
                <a:gd name="T8" fmla="*/ 21 w 40"/>
                <a:gd name="T9" fmla="*/ 23 h 43"/>
                <a:gd name="T10" fmla="*/ 13 w 40"/>
                <a:gd name="T11" fmla="*/ 7 h 43"/>
                <a:gd name="T12" fmla="*/ 1 w 40"/>
                <a:gd name="T13" fmla="*/ 11 h 43"/>
                <a:gd name="T14" fmla="*/ 1 w 40"/>
                <a:gd name="T15" fmla="*/ 11 h 43"/>
                <a:gd name="T16" fmla="*/ 1 w 40"/>
                <a:gd name="T17" fmla="*/ 1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43">
                  <a:moveTo>
                    <a:pt x="1" y="11"/>
                  </a:moveTo>
                  <a:cubicBezTo>
                    <a:pt x="4" y="27"/>
                    <a:pt x="15" y="36"/>
                    <a:pt x="30" y="41"/>
                  </a:cubicBezTo>
                  <a:cubicBezTo>
                    <a:pt x="33" y="43"/>
                    <a:pt x="36" y="42"/>
                    <a:pt x="38" y="39"/>
                  </a:cubicBezTo>
                  <a:cubicBezTo>
                    <a:pt x="40" y="37"/>
                    <a:pt x="39" y="32"/>
                    <a:pt x="36" y="31"/>
                  </a:cubicBezTo>
                  <a:cubicBezTo>
                    <a:pt x="31" y="29"/>
                    <a:pt x="25" y="26"/>
                    <a:pt x="21" y="23"/>
                  </a:cubicBezTo>
                  <a:cubicBezTo>
                    <a:pt x="16" y="19"/>
                    <a:pt x="14" y="13"/>
                    <a:pt x="13" y="7"/>
                  </a:cubicBezTo>
                  <a:cubicBezTo>
                    <a:pt x="12" y="0"/>
                    <a:pt x="0" y="3"/>
                    <a:pt x="1" y="11"/>
                  </a:cubicBezTo>
                  <a:close/>
                  <a:moveTo>
                    <a:pt x="1" y="11"/>
                  </a:moveTo>
                  <a:cubicBezTo>
                    <a:pt x="1" y="11"/>
                    <a:pt x="1" y="11"/>
                    <a:pt x="1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47" name="Freeform 21"/>
            <p:cNvSpPr>
              <a:spLocks noEditPoints="1"/>
            </p:cNvSpPr>
            <p:nvPr/>
          </p:nvSpPr>
          <p:spPr bwMode="auto">
            <a:xfrm>
              <a:off x="3906" y="2160"/>
              <a:ext cx="99" cy="86"/>
            </a:xfrm>
            <a:custGeom>
              <a:avLst/>
              <a:gdLst>
                <a:gd name="T0" fmla="*/ 1 w 55"/>
                <a:gd name="T1" fmla="*/ 8 h 48"/>
                <a:gd name="T2" fmla="*/ 44 w 55"/>
                <a:gd name="T3" fmla="*/ 46 h 48"/>
                <a:gd name="T4" fmla="*/ 48 w 55"/>
                <a:gd name="T5" fmla="*/ 34 h 48"/>
                <a:gd name="T6" fmla="*/ 35 w 55"/>
                <a:gd name="T7" fmla="*/ 28 h 48"/>
                <a:gd name="T8" fmla="*/ 13 w 55"/>
                <a:gd name="T9" fmla="*/ 5 h 48"/>
                <a:gd name="T10" fmla="*/ 6 w 55"/>
                <a:gd name="T11" fmla="*/ 1 h 48"/>
                <a:gd name="T12" fmla="*/ 1 w 55"/>
                <a:gd name="T13" fmla="*/ 8 h 48"/>
                <a:gd name="T14" fmla="*/ 1 w 55"/>
                <a:gd name="T15" fmla="*/ 8 h 48"/>
                <a:gd name="T16" fmla="*/ 1 w 55"/>
                <a:gd name="T17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48">
                  <a:moveTo>
                    <a:pt x="1" y="8"/>
                  </a:moveTo>
                  <a:cubicBezTo>
                    <a:pt x="9" y="27"/>
                    <a:pt x="26" y="40"/>
                    <a:pt x="44" y="46"/>
                  </a:cubicBezTo>
                  <a:cubicBezTo>
                    <a:pt x="52" y="48"/>
                    <a:pt x="55" y="36"/>
                    <a:pt x="48" y="34"/>
                  </a:cubicBezTo>
                  <a:cubicBezTo>
                    <a:pt x="43" y="33"/>
                    <a:pt x="40" y="31"/>
                    <a:pt x="35" y="28"/>
                  </a:cubicBezTo>
                  <a:cubicBezTo>
                    <a:pt x="26" y="23"/>
                    <a:pt x="17" y="15"/>
                    <a:pt x="13" y="5"/>
                  </a:cubicBezTo>
                  <a:cubicBezTo>
                    <a:pt x="12" y="2"/>
                    <a:pt x="9" y="0"/>
                    <a:pt x="6" y="1"/>
                  </a:cubicBezTo>
                  <a:cubicBezTo>
                    <a:pt x="3" y="2"/>
                    <a:pt x="0" y="5"/>
                    <a:pt x="1" y="8"/>
                  </a:cubicBezTo>
                  <a:close/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</p:grp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xmlns="" id="{A0C4E7F1-7346-4A46-A777-55C481F872B9}"/>
              </a:ext>
            </a:extLst>
          </p:cNvPr>
          <p:cNvSpPr/>
          <p:nvPr userDrawn="1"/>
        </p:nvSpPr>
        <p:spPr>
          <a:xfrm>
            <a:off x="0" y="657026"/>
            <a:ext cx="12192000" cy="6200975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27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4" name="Группа 3"/>
          <p:cNvGrpSpPr/>
          <p:nvPr userDrawn="1"/>
        </p:nvGrpSpPr>
        <p:grpSpPr>
          <a:xfrm>
            <a:off x="146651" y="90377"/>
            <a:ext cx="802256" cy="446347"/>
            <a:chOff x="146650" y="90376"/>
            <a:chExt cx="802256" cy="446347"/>
          </a:xfrm>
        </p:grpSpPr>
        <p:grpSp>
          <p:nvGrpSpPr>
            <p:cNvPr id="22" name="Группа 21"/>
            <p:cNvGrpSpPr/>
            <p:nvPr userDrawn="1"/>
          </p:nvGrpSpPr>
          <p:grpSpPr>
            <a:xfrm>
              <a:off x="146650" y="90376"/>
              <a:ext cx="802256" cy="446347"/>
              <a:chOff x="3215754" y="3239215"/>
              <a:chExt cx="5277696" cy="2936328"/>
            </a:xfrm>
            <a:solidFill>
              <a:schemeClr val="accent6"/>
            </a:solidFill>
          </p:grpSpPr>
          <p:sp>
            <p:nvSpPr>
              <p:cNvPr id="23" name="Round Diagonal Corner Rectangle 73"/>
              <p:cNvSpPr/>
              <p:nvPr/>
            </p:nvSpPr>
            <p:spPr>
              <a:xfrm rot="16200000" flipV="1">
                <a:off x="4045695" y="2409275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6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24" name="Round Diagonal Corner Rectangle 73"/>
              <p:cNvSpPr/>
              <p:nvPr/>
            </p:nvSpPr>
            <p:spPr>
              <a:xfrm rot="16200000" flipV="1">
                <a:off x="6763017" y="2409276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2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25" name="Round Diagonal Corner Rectangle 73"/>
              <p:cNvSpPr/>
              <p:nvPr/>
            </p:nvSpPr>
            <p:spPr>
              <a:xfrm rot="16200000" flipV="1">
                <a:off x="4045695" y="3427192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26" name="Round Diagonal Corner Rectangle 73"/>
              <p:cNvSpPr/>
              <p:nvPr/>
            </p:nvSpPr>
            <p:spPr>
              <a:xfrm rot="16200000" flipV="1">
                <a:off x="6763017" y="3427193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28" name="Round Diagonal Corner Rectangle 73"/>
              <p:cNvSpPr/>
              <p:nvPr/>
            </p:nvSpPr>
            <p:spPr>
              <a:xfrm rot="16200000" flipV="1">
                <a:off x="5404355" y="3086448"/>
                <a:ext cx="900494" cy="527769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6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</p:grpSp>
        <p:grpSp>
          <p:nvGrpSpPr>
            <p:cNvPr id="49" name="Group 2"/>
            <p:cNvGrpSpPr/>
            <p:nvPr userDrawn="1"/>
          </p:nvGrpSpPr>
          <p:grpSpPr>
            <a:xfrm>
              <a:off x="298733" y="103728"/>
              <a:ext cx="90401" cy="105401"/>
              <a:chOff x="6670675" y="3513137"/>
              <a:chExt cx="1071561" cy="1249363"/>
            </a:xfrm>
            <a:solidFill>
              <a:schemeClr val="accent6">
                <a:lumMod val="60000"/>
                <a:lumOff val="40000"/>
              </a:schemeClr>
            </a:solidFill>
          </p:grpSpPr>
          <p:grpSp>
            <p:nvGrpSpPr>
              <p:cNvPr id="50" name="Group 115"/>
              <p:cNvGrpSpPr/>
              <p:nvPr/>
            </p:nvGrpSpPr>
            <p:grpSpPr>
              <a:xfrm>
                <a:off x="6670675" y="3513137"/>
                <a:ext cx="700087" cy="1249363"/>
                <a:chOff x="-2524125" y="-798513"/>
                <a:chExt cx="700087" cy="1249363"/>
              </a:xfrm>
              <a:grpFill/>
            </p:grpSpPr>
            <p:sp>
              <p:nvSpPr>
                <p:cNvPr id="52" name="Oval 273"/>
                <p:cNvSpPr>
                  <a:spLocks noChangeArrowheads="1"/>
                </p:cNvSpPr>
                <p:nvPr/>
              </p:nvSpPr>
              <p:spPr bwMode="auto">
                <a:xfrm>
                  <a:off x="-2268538" y="-798513"/>
                  <a:ext cx="200025" cy="23812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53" name="Freeform 274"/>
                <p:cNvSpPr>
                  <a:spLocks noEditPoints="1"/>
                </p:cNvSpPr>
                <p:nvPr/>
              </p:nvSpPr>
              <p:spPr bwMode="auto">
                <a:xfrm>
                  <a:off x="-2524125" y="-536575"/>
                  <a:ext cx="700087" cy="987425"/>
                </a:xfrm>
                <a:custGeom>
                  <a:avLst/>
                  <a:gdLst/>
                  <a:ahLst/>
                  <a:cxnLst>
                    <a:cxn ang="0">
                      <a:pos x="123" y="27"/>
                    </a:cxn>
                    <a:cxn ang="0">
                      <a:pos x="122" y="26"/>
                    </a:cxn>
                    <a:cxn ang="0">
                      <a:pos x="116" y="22"/>
                    </a:cxn>
                    <a:cxn ang="0">
                      <a:pos x="91" y="3"/>
                    </a:cxn>
                    <a:cxn ang="0">
                      <a:pos x="85" y="1"/>
                    </a:cxn>
                    <a:cxn ang="0">
                      <a:pos x="77" y="1"/>
                    </a:cxn>
                    <a:cxn ang="0">
                      <a:pos x="75" y="11"/>
                    </a:cxn>
                    <a:cxn ang="0">
                      <a:pos x="68" y="43"/>
                    </a:cxn>
                    <a:cxn ang="0">
                      <a:pos x="68" y="7"/>
                    </a:cxn>
                    <a:cxn ang="0">
                      <a:pos x="59" y="0"/>
                    </a:cxn>
                    <a:cxn ang="0">
                      <a:pos x="59" y="9"/>
                    </a:cxn>
                    <a:cxn ang="0">
                      <a:pos x="46" y="18"/>
                    </a:cxn>
                    <a:cxn ang="0">
                      <a:pos x="41" y="7"/>
                    </a:cxn>
                    <a:cxn ang="0">
                      <a:pos x="48" y="0"/>
                    </a:cxn>
                    <a:cxn ang="0">
                      <a:pos x="39" y="1"/>
                    </a:cxn>
                    <a:cxn ang="0">
                      <a:pos x="3" y="36"/>
                    </a:cxn>
                    <a:cxn ang="0">
                      <a:pos x="3" y="36"/>
                    </a:cxn>
                    <a:cxn ang="0">
                      <a:pos x="1" y="49"/>
                    </a:cxn>
                    <a:cxn ang="0">
                      <a:pos x="1" y="49"/>
                    </a:cxn>
                    <a:cxn ang="0">
                      <a:pos x="2" y="51"/>
                    </a:cxn>
                    <a:cxn ang="0">
                      <a:pos x="6" y="58"/>
                    </a:cxn>
                    <a:cxn ang="0">
                      <a:pos x="20" y="86"/>
                    </a:cxn>
                    <a:cxn ang="0">
                      <a:pos x="33" y="91"/>
                    </a:cxn>
                    <a:cxn ang="0">
                      <a:pos x="35" y="92"/>
                    </a:cxn>
                    <a:cxn ang="0">
                      <a:pos x="61" y="174"/>
                    </a:cxn>
                    <a:cxn ang="0">
                      <a:pos x="57" y="112"/>
                    </a:cxn>
                    <a:cxn ang="0">
                      <a:pos x="91" y="34"/>
                    </a:cxn>
                    <a:cxn ang="0">
                      <a:pos x="95" y="32"/>
                    </a:cxn>
                    <a:cxn ang="0">
                      <a:pos x="77" y="46"/>
                    </a:cxn>
                    <a:cxn ang="0">
                      <a:pos x="91" y="34"/>
                    </a:cxn>
                    <a:cxn ang="0">
                      <a:pos x="31" y="56"/>
                    </a:cxn>
                    <a:cxn ang="0">
                      <a:pos x="24" y="44"/>
                    </a:cxn>
                    <a:cxn ang="0">
                      <a:pos x="34" y="61"/>
                    </a:cxn>
                  </a:cxnLst>
                  <a:rect l="0" t="0" r="r" b="b"/>
                  <a:pathLst>
                    <a:path w="123" h="174">
                      <a:moveTo>
                        <a:pt x="122" y="42"/>
                      </a:moveTo>
                      <a:cubicBezTo>
                        <a:pt x="122" y="35"/>
                        <a:pt x="123" y="24"/>
                        <a:pt x="123" y="27"/>
                      </a:cubicBezTo>
                      <a:cubicBezTo>
                        <a:pt x="123" y="26"/>
                        <a:pt x="123" y="26"/>
                        <a:pt x="123" y="26"/>
                      </a:cubicBezTo>
                      <a:cubicBezTo>
                        <a:pt x="122" y="26"/>
                        <a:pt x="122" y="26"/>
                        <a:pt x="122" y="26"/>
                      </a:cubicBezTo>
                      <a:cubicBezTo>
                        <a:pt x="120" y="25"/>
                        <a:pt x="120" y="25"/>
                        <a:pt x="120" y="25"/>
                      </a:cubicBezTo>
                      <a:cubicBezTo>
                        <a:pt x="116" y="22"/>
                        <a:pt x="116" y="22"/>
                        <a:pt x="116" y="22"/>
                      </a:cubicBezTo>
                      <a:cubicBezTo>
                        <a:pt x="108" y="15"/>
                        <a:pt x="108" y="15"/>
                        <a:pt x="108" y="15"/>
                      </a:cubicBezTo>
                      <a:cubicBezTo>
                        <a:pt x="91" y="3"/>
                        <a:pt x="91" y="3"/>
                        <a:pt x="91" y="3"/>
                      </a:cubicBezTo>
                      <a:cubicBezTo>
                        <a:pt x="90" y="2"/>
                        <a:pt x="88" y="1"/>
                        <a:pt x="86" y="1"/>
                      </a:cubicBezTo>
                      <a:cubicBezTo>
                        <a:pt x="85" y="1"/>
                        <a:pt x="85" y="1"/>
                        <a:pt x="85" y="1"/>
                      </a:cubicBezTo>
                      <a:cubicBezTo>
                        <a:pt x="83" y="1"/>
                        <a:pt x="80" y="1"/>
                        <a:pt x="77" y="0"/>
                      </a:cubicBez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84" y="7"/>
                        <a:pt x="84" y="7"/>
                        <a:pt x="84" y="7"/>
                      </a:cubicBezTo>
                      <a:cubicBezTo>
                        <a:pt x="75" y="11"/>
                        <a:pt x="75" y="11"/>
                        <a:pt x="75" y="11"/>
                      </a:cubicBezTo>
                      <a:cubicBezTo>
                        <a:pt x="80" y="18"/>
                        <a:pt x="80" y="18"/>
                        <a:pt x="80" y="18"/>
                      </a:cubicBezTo>
                      <a:cubicBezTo>
                        <a:pt x="68" y="43"/>
                        <a:pt x="68" y="43"/>
                        <a:pt x="68" y="43"/>
                      </a:cubicBezTo>
                      <a:cubicBezTo>
                        <a:pt x="67" y="9"/>
                        <a:pt x="67" y="9"/>
                        <a:pt x="67" y="9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7" y="7"/>
                        <a:pt x="57" y="7"/>
                        <a:pt x="57" y="7"/>
                      </a:cubicBezTo>
                      <a:cubicBezTo>
                        <a:pt x="59" y="9"/>
                        <a:pt x="59" y="9"/>
                        <a:pt x="59" y="9"/>
                      </a:cubicBezTo>
                      <a:cubicBezTo>
                        <a:pt x="57" y="43"/>
                        <a:pt x="57" y="43"/>
                        <a:pt x="57" y="43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50" y="11"/>
                        <a:pt x="50" y="11"/>
                        <a:pt x="50" y="11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8" y="1"/>
                        <a:pt x="48" y="1"/>
                        <a:pt x="48" y="1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5" y="1"/>
                        <a:pt x="43" y="1"/>
                        <a:pt x="40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6" y="1"/>
                        <a:pt x="34" y="3"/>
                        <a:pt x="32" y="5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0" y="61"/>
                        <a:pt x="2" y="43"/>
                        <a:pt x="1" y="48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2" y="49"/>
                        <a:pt x="2" y="49"/>
                        <a:pt x="2" y="49"/>
                      </a:cubicBezTo>
                      <a:cubicBezTo>
                        <a:pt x="2" y="51"/>
                        <a:pt x="2" y="51"/>
                        <a:pt x="2" y="51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6" y="58"/>
                        <a:pt x="6" y="58"/>
                        <a:pt x="6" y="58"/>
                      </a:cubicBezTo>
                      <a:cubicBezTo>
                        <a:pt x="11" y="67"/>
                        <a:pt x="11" y="67"/>
                        <a:pt x="11" y="67"/>
                      </a:cubicBezTo>
                      <a:cubicBezTo>
                        <a:pt x="20" y="86"/>
                        <a:pt x="20" y="86"/>
                        <a:pt x="20" y="86"/>
                      </a:cubicBezTo>
                      <a:cubicBezTo>
                        <a:pt x="25" y="84"/>
                        <a:pt x="29" y="82"/>
                        <a:pt x="33" y="79"/>
                      </a:cubicBezTo>
                      <a:cubicBezTo>
                        <a:pt x="33" y="83"/>
                        <a:pt x="33" y="87"/>
                        <a:pt x="33" y="91"/>
                      </a:cubicBezTo>
                      <a:cubicBezTo>
                        <a:pt x="33" y="92"/>
                        <a:pt x="33" y="92"/>
                        <a:pt x="33" y="92"/>
                      </a:cubicBezTo>
                      <a:cubicBezTo>
                        <a:pt x="35" y="92"/>
                        <a:pt x="35" y="92"/>
                        <a:pt x="35" y="92"/>
                      </a:cubicBezTo>
                      <a:cubicBezTo>
                        <a:pt x="38" y="174"/>
                        <a:pt x="38" y="174"/>
                        <a:pt x="38" y="174"/>
                      </a:cubicBezTo>
                      <a:cubicBezTo>
                        <a:pt x="61" y="174"/>
                        <a:pt x="61" y="174"/>
                        <a:pt x="61" y="174"/>
                      </a:cubicBezTo>
                      <a:cubicBezTo>
                        <a:pt x="62" y="163"/>
                        <a:pt x="62" y="150"/>
                        <a:pt x="62" y="137"/>
                      </a:cubicBezTo>
                      <a:cubicBezTo>
                        <a:pt x="59" y="129"/>
                        <a:pt x="57" y="121"/>
                        <a:pt x="57" y="112"/>
                      </a:cubicBezTo>
                      <a:cubicBezTo>
                        <a:pt x="57" y="75"/>
                        <a:pt x="86" y="45"/>
                        <a:pt x="122" y="42"/>
                      </a:cubicBezTo>
                      <a:close/>
                      <a:moveTo>
                        <a:pt x="91" y="34"/>
                      </a:moveTo>
                      <a:cubicBezTo>
                        <a:pt x="91" y="32"/>
                        <a:pt x="91" y="30"/>
                        <a:pt x="90" y="28"/>
                      </a:cubicBezTo>
                      <a:cubicBezTo>
                        <a:pt x="95" y="32"/>
                        <a:pt x="95" y="32"/>
                        <a:pt x="95" y="32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ubicBezTo>
                        <a:pt x="77" y="46"/>
                        <a:pt x="77" y="46"/>
                        <a:pt x="77" y="46"/>
                      </a:cubicBezTo>
                      <a:cubicBezTo>
                        <a:pt x="75" y="43"/>
                        <a:pt x="75" y="43"/>
                        <a:pt x="75" y="43"/>
                      </a:cubicBezTo>
                      <a:lnTo>
                        <a:pt x="91" y="34"/>
                      </a:lnTo>
                      <a:close/>
                      <a:moveTo>
                        <a:pt x="34" y="61"/>
                      </a:moveTo>
                      <a:cubicBezTo>
                        <a:pt x="31" y="56"/>
                        <a:pt x="31" y="56"/>
                        <a:pt x="31" y="56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4" y="44"/>
                        <a:pt x="24" y="44"/>
                        <a:pt x="24" y="44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cubicBezTo>
                        <a:pt x="34" y="41"/>
                        <a:pt x="34" y="51"/>
                        <a:pt x="34" y="6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54" name="Freeform 275"/>
                <p:cNvSpPr>
                  <a:spLocks/>
                </p:cNvSpPr>
                <p:nvPr/>
              </p:nvSpPr>
              <p:spPr bwMode="auto">
                <a:xfrm>
                  <a:off x="-2154238" y="287337"/>
                  <a:ext cx="141287" cy="1635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" y="29"/>
                    </a:cxn>
                    <a:cxn ang="0">
                      <a:pos x="25" y="29"/>
                    </a:cxn>
                    <a:cxn ang="0">
                      <a:pos x="25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5" h="29">
                      <a:moveTo>
                        <a:pt x="0" y="0"/>
                      </a:move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25" y="29"/>
                        <a:pt x="25" y="29"/>
                        <a:pt x="25" y="29"/>
                      </a:cubicBezTo>
                      <a:cubicBezTo>
                        <a:pt x="25" y="28"/>
                        <a:pt x="25" y="27"/>
                        <a:pt x="25" y="26"/>
                      </a:cubicBezTo>
                      <a:cubicBezTo>
                        <a:pt x="15" y="19"/>
                        <a:pt x="6" y="10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</p:grpSp>
          <p:sp>
            <p:nvSpPr>
              <p:cNvPr id="51" name="Freeform 209"/>
              <p:cNvSpPr>
                <a:spLocks noEditPoints="1"/>
              </p:cNvSpPr>
              <p:nvPr/>
            </p:nvSpPr>
            <p:spPr bwMode="auto">
              <a:xfrm>
                <a:off x="7032625" y="4046538"/>
                <a:ext cx="709611" cy="709611"/>
              </a:xfrm>
              <a:custGeom>
                <a:avLst/>
                <a:gdLst/>
                <a:ahLst/>
                <a:cxnLst>
                  <a:cxn ang="0">
                    <a:pos x="114" y="40"/>
                  </a:cxn>
                  <a:cxn ang="0">
                    <a:pos x="109" y="41"/>
                  </a:cxn>
                  <a:cxn ang="0">
                    <a:pos x="103" y="34"/>
                  </a:cxn>
                  <a:cxn ang="0">
                    <a:pos x="109" y="25"/>
                  </a:cxn>
                  <a:cxn ang="0">
                    <a:pos x="96" y="16"/>
                  </a:cxn>
                  <a:cxn ang="0">
                    <a:pos x="88" y="19"/>
                  </a:cxn>
                  <a:cxn ang="0">
                    <a:pos x="87" y="10"/>
                  </a:cxn>
                  <a:cxn ang="0">
                    <a:pos x="74" y="2"/>
                  </a:cxn>
                  <a:cxn ang="0">
                    <a:pos x="70" y="3"/>
                  </a:cxn>
                  <a:cxn ang="0">
                    <a:pos x="59" y="10"/>
                  </a:cxn>
                  <a:cxn ang="0">
                    <a:pos x="55" y="0"/>
                  </a:cxn>
                  <a:cxn ang="0">
                    <a:pos x="47" y="2"/>
                  </a:cxn>
                  <a:cxn ang="0">
                    <a:pos x="45" y="2"/>
                  </a:cxn>
                  <a:cxn ang="0">
                    <a:pos x="40" y="6"/>
                  </a:cxn>
                  <a:cxn ang="0">
                    <a:pos x="34" y="16"/>
                  </a:cxn>
                  <a:cxn ang="0">
                    <a:pos x="26" y="11"/>
                  </a:cxn>
                  <a:cxn ang="0">
                    <a:pos x="16" y="19"/>
                  </a:cxn>
                  <a:cxn ang="0">
                    <a:pos x="21" y="29"/>
                  </a:cxn>
                  <a:cxn ang="0">
                    <a:pos x="14" y="34"/>
                  </a:cxn>
                  <a:cxn ang="0">
                    <a:pos x="6" y="34"/>
                  </a:cxn>
                  <a:cxn ang="0">
                    <a:pos x="2" y="46"/>
                  </a:cxn>
                  <a:cxn ang="0">
                    <a:pos x="10" y="52"/>
                  </a:cxn>
                  <a:cxn ang="0">
                    <a:pos x="3" y="61"/>
                  </a:cxn>
                  <a:cxn ang="0">
                    <a:pos x="2" y="77"/>
                  </a:cxn>
                  <a:cxn ang="0">
                    <a:pos x="13" y="78"/>
                  </a:cxn>
                  <a:cxn ang="0">
                    <a:pos x="11" y="89"/>
                  </a:cxn>
                  <a:cxn ang="0">
                    <a:pos x="19" y="103"/>
                  </a:cxn>
                  <a:cxn ang="0">
                    <a:pos x="29" y="99"/>
                  </a:cxn>
                  <a:cxn ang="0">
                    <a:pos x="33" y="110"/>
                  </a:cxn>
                  <a:cxn ang="0">
                    <a:pos x="46" y="118"/>
                  </a:cxn>
                  <a:cxn ang="0">
                    <a:pos x="52" y="109"/>
                  </a:cxn>
                  <a:cxn ang="0">
                    <a:pos x="61" y="117"/>
                  </a:cxn>
                  <a:cxn ang="0">
                    <a:pos x="77" y="117"/>
                  </a:cxn>
                  <a:cxn ang="0">
                    <a:pos x="78" y="106"/>
                  </a:cxn>
                  <a:cxn ang="0">
                    <a:pos x="90" y="108"/>
                  </a:cxn>
                  <a:cxn ang="0">
                    <a:pos x="103" y="101"/>
                  </a:cxn>
                  <a:cxn ang="0">
                    <a:pos x="99" y="91"/>
                  </a:cxn>
                  <a:cxn ang="0">
                    <a:pos x="110" y="87"/>
                  </a:cxn>
                  <a:cxn ang="0">
                    <a:pos x="118" y="73"/>
                  </a:cxn>
                  <a:cxn ang="0">
                    <a:pos x="109" y="67"/>
                  </a:cxn>
                  <a:cxn ang="0">
                    <a:pos x="117" y="58"/>
                  </a:cxn>
                  <a:cxn ang="0">
                    <a:pos x="117" y="44"/>
                  </a:cxn>
                  <a:cxn ang="0">
                    <a:pos x="23" y="67"/>
                  </a:cxn>
                  <a:cxn ang="0">
                    <a:pos x="24" y="47"/>
                  </a:cxn>
                  <a:cxn ang="0">
                    <a:pos x="50" y="23"/>
                  </a:cxn>
                  <a:cxn ang="0">
                    <a:pos x="51" y="39"/>
                  </a:cxn>
                  <a:cxn ang="0">
                    <a:pos x="47" y="41"/>
                  </a:cxn>
                  <a:cxn ang="0">
                    <a:pos x="37" y="60"/>
                  </a:cxn>
                  <a:cxn ang="0">
                    <a:pos x="66" y="97"/>
                  </a:cxn>
                  <a:cxn ang="0">
                    <a:pos x="48" y="79"/>
                  </a:cxn>
                  <a:cxn ang="0">
                    <a:pos x="68" y="81"/>
                  </a:cxn>
                  <a:cxn ang="0">
                    <a:pos x="66" y="97"/>
                  </a:cxn>
                  <a:cxn ang="0">
                    <a:pos x="82" y="64"/>
                  </a:cxn>
                  <a:cxn ang="0">
                    <a:pos x="74" y="42"/>
                  </a:cxn>
                  <a:cxn ang="0">
                    <a:pos x="74" y="25"/>
                  </a:cxn>
                  <a:cxn ang="0">
                    <a:pos x="89" y="36"/>
                  </a:cxn>
                  <a:cxn ang="0">
                    <a:pos x="97" y="53"/>
                  </a:cxn>
                </a:cxnLst>
                <a:rect l="0" t="0" r="r" b="b"/>
                <a:pathLst>
                  <a:path w="119" h="119">
                    <a:moveTo>
                      <a:pt x="117" y="42"/>
                    </a:moveTo>
                    <a:cubicBezTo>
                      <a:pt x="117" y="41"/>
                      <a:pt x="115" y="40"/>
                      <a:pt x="114" y="40"/>
                    </a:cubicBezTo>
                    <a:cubicBezTo>
                      <a:pt x="114" y="40"/>
                      <a:pt x="113" y="40"/>
                      <a:pt x="113" y="40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6" y="41"/>
                      <a:pt x="106" y="41"/>
                      <a:pt x="106" y="41"/>
                    </a:cubicBezTo>
                    <a:cubicBezTo>
                      <a:pt x="105" y="39"/>
                      <a:pt x="104" y="37"/>
                      <a:pt x="103" y="34"/>
                    </a:cubicBezTo>
                    <a:cubicBezTo>
                      <a:pt x="108" y="30"/>
                      <a:pt x="108" y="30"/>
                      <a:pt x="108" y="30"/>
                    </a:cubicBezTo>
                    <a:cubicBezTo>
                      <a:pt x="110" y="29"/>
                      <a:pt x="110" y="27"/>
                      <a:pt x="109" y="25"/>
                    </a:cubicBezTo>
                    <a:cubicBezTo>
                      <a:pt x="101" y="16"/>
                      <a:pt x="101" y="16"/>
                      <a:pt x="101" y="16"/>
                    </a:cubicBezTo>
                    <a:cubicBezTo>
                      <a:pt x="100" y="15"/>
                      <a:pt x="98" y="15"/>
                      <a:pt x="96" y="16"/>
                    </a:cubicBezTo>
                    <a:cubicBezTo>
                      <a:pt x="91" y="21"/>
                      <a:pt x="91" y="21"/>
                      <a:pt x="91" y="21"/>
                    </a:cubicBezTo>
                    <a:cubicBezTo>
                      <a:pt x="90" y="20"/>
                      <a:pt x="89" y="19"/>
                      <a:pt x="88" y="19"/>
                    </a:cubicBezTo>
                    <a:cubicBezTo>
                      <a:pt x="87" y="18"/>
                      <a:pt x="86" y="17"/>
                      <a:pt x="84" y="16"/>
                    </a:cubicBezTo>
                    <a:cubicBezTo>
                      <a:pt x="87" y="10"/>
                      <a:pt x="87" y="10"/>
                      <a:pt x="87" y="10"/>
                    </a:cubicBezTo>
                    <a:cubicBezTo>
                      <a:pt x="87" y="8"/>
                      <a:pt x="87" y="6"/>
                      <a:pt x="85" y="6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2" y="1"/>
                      <a:pt x="70" y="2"/>
                      <a:pt x="70" y="3"/>
                    </a:cubicBezTo>
                    <a:cubicBezTo>
                      <a:pt x="67" y="10"/>
                      <a:pt x="67" y="10"/>
                      <a:pt x="67" y="10"/>
                    </a:cubicBezTo>
                    <a:cubicBezTo>
                      <a:pt x="65" y="10"/>
                      <a:pt x="62" y="10"/>
                      <a:pt x="59" y="10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58" y="1"/>
                      <a:pt x="56" y="0"/>
                      <a:pt x="55" y="0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1" y="3"/>
                      <a:pt x="40" y="4"/>
                      <a:pt x="40" y="6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9" y="14"/>
                      <a:pt x="37" y="15"/>
                      <a:pt x="34" y="16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10"/>
                      <a:pt x="27" y="10"/>
                      <a:pt x="26" y="11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5" y="20"/>
                      <a:pt x="15" y="22"/>
                      <a:pt x="16" y="23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19" y="31"/>
                      <a:pt x="18" y="33"/>
                      <a:pt x="16" y="35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8" y="32"/>
                      <a:pt x="6" y="33"/>
                      <a:pt x="6" y="3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1" y="47"/>
                      <a:pt x="2" y="49"/>
                      <a:pt x="3" y="50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0" y="55"/>
                      <a:pt x="10" y="57"/>
                      <a:pt x="10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0" y="63"/>
                      <a:pt x="0" y="65"/>
                    </a:cubicBezTo>
                    <a:cubicBezTo>
                      <a:pt x="2" y="77"/>
                      <a:pt x="2" y="77"/>
                      <a:pt x="2" y="77"/>
                    </a:cubicBezTo>
                    <a:cubicBezTo>
                      <a:pt x="3" y="78"/>
                      <a:pt x="4" y="80"/>
                      <a:pt x="6" y="79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4" y="80"/>
                      <a:pt x="15" y="83"/>
                      <a:pt x="17" y="85"/>
                    </a:cubicBezTo>
                    <a:cubicBezTo>
                      <a:pt x="11" y="89"/>
                      <a:pt x="11" y="89"/>
                      <a:pt x="11" y="89"/>
                    </a:cubicBezTo>
                    <a:cubicBezTo>
                      <a:pt x="10" y="91"/>
                      <a:pt x="10" y="92"/>
                      <a:pt x="11" y="94"/>
                    </a:cubicBezTo>
                    <a:cubicBezTo>
                      <a:pt x="19" y="103"/>
                      <a:pt x="19" y="103"/>
                      <a:pt x="19" y="103"/>
                    </a:cubicBezTo>
                    <a:cubicBezTo>
                      <a:pt x="20" y="104"/>
                      <a:pt x="22" y="105"/>
                      <a:pt x="23" y="103"/>
                    </a:cubicBezTo>
                    <a:cubicBezTo>
                      <a:pt x="29" y="99"/>
                      <a:pt x="29" y="99"/>
                      <a:pt x="29" y="99"/>
                    </a:cubicBezTo>
                    <a:cubicBezTo>
                      <a:pt x="31" y="100"/>
                      <a:pt x="33" y="102"/>
                      <a:pt x="35" y="103"/>
                    </a:cubicBezTo>
                    <a:cubicBezTo>
                      <a:pt x="33" y="110"/>
                      <a:pt x="33" y="110"/>
                      <a:pt x="33" y="110"/>
                    </a:cubicBezTo>
                    <a:cubicBezTo>
                      <a:pt x="32" y="111"/>
                      <a:pt x="33" y="113"/>
                      <a:pt x="34" y="114"/>
                    </a:cubicBezTo>
                    <a:cubicBezTo>
                      <a:pt x="46" y="118"/>
                      <a:pt x="46" y="118"/>
                      <a:pt x="46" y="118"/>
                    </a:cubicBezTo>
                    <a:cubicBezTo>
                      <a:pt x="48" y="118"/>
                      <a:pt x="49" y="118"/>
                      <a:pt x="50" y="116"/>
                    </a:cubicBezTo>
                    <a:cubicBezTo>
                      <a:pt x="52" y="109"/>
                      <a:pt x="52" y="109"/>
                      <a:pt x="52" y="109"/>
                    </a:cubicBezTo>
                    <a:cubicBezTo>
                      <a:pt x="55" y="109"/>
                      <a:pt x="57" y="110"/>
                      <a:pt x="60" y="110"/>
                    </a:cubicBezTo>
                    <a:cubicBezTo>
                      <a:pt x="61" y="117"/>
                      <a:pt x="61" y="117"/>
                      <a:pt x="61" y="117"/>
                    </a:cubicBezTo>
                    <a:cubicBezTo>
                      <a:pt x="62" y="118"/>
                      <a:pt x="63" y="119"/>
                      <a:pt x="65" y="119"/>
                    </a:cubicBezTo>
                    <a:cubicBezTo>
                      <a:pt x="77" y="117"/>
                      <a:pt x="77" y="117"/>
                      <a:pt x="77" y="117"/>
                    </a:cubicBezTo>
                    <a:cubicBezTo>
                      <a:pt x="79" y="117"/>
                      <a:pt x="80" y="115"/>
                      <a:pt x="79" y="113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80" y="105"/>
                      <a:pt x="83" y="104"/>
                      <a:pt x="85" y="103"/>
                    </a:cubicBezTo>
                    <a:cubicBezTo>
                      <a:pt x="90" y="108"/>
                      <a:pt x="90" y="108"/>
                      <a:pt x="90" y="108"/>
                    </a:cubicBezTo>
                    <a:cubicBezTo>
                      <a:pt x="91" y="109"/>
                      <a:pt x="93" y="110"/>
                      <a:pt x="94" y="108"/>
                    </a:cubicBezTo>
                    <a:cubicBezTo>
                      <a:pt x="103" y="101"/>
                      <a:pt x="103" y="101"/>
                      <a:pt x="103" y="101"/>
                    </a:cubicBezTo>
                    <a:cubicBezTo>
                      <a:pt x="104" y="100"/>
                      <a:pt x="105" y="98"/>
                      <a:pt x="104" y="96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0" y="89"/>
                      <a:pt x="102" y="87"/>
                      <a:pt x="103" y="84"/>
                    </a:cubicBezTo>
                    <a:cubicBezTo>
                      <a:pt x="110" y="87"/>
                      <a:pt x="110" y="87"/>
                      <a:pt x="110" y="87"/>
                    </a:cubicBezTo>
                    <a:cubicBezTo>
                      <a:pt x="111" y="87"/>
                      <a:pt x="113" y="86"/>
                      <a:pt x="114" y="85"/>
                    </a:cubicBezTo>
                    <a:cubicBezTo>
                      <a:pt x="118" y="73"/>
                      <a:pt x="118" y="73"/>
                      <a:pt x="118" y="73"/>
                    </a:cubicBezTo>
                    <a:cubicBezTo>
                      <a:pt x="118" y="72"/>
                      <a:pt x="118" y="70"/>
                      <a:pt x="116" y="69"/>
                    </a:cubicBezTo>
                    <a:cubicBezTo>
                      <a:pt x="109" y="67"/>
                      <a:pt x="109" y="67"/>
                      <a:pt x="109" y="67"/>
                    </a:cubicBezTo>
                    <a:cubicBezTo>
                      <a:pt x="110" y="64"/>
                      <a:pt x="110" y="62"/>
                      <a:pt x="110" y="59"/>
                    </a:cubicBezTo>
                    <a:cubicBezTo>
                      <a:pt x="117" y="58"/>
                      <a:pt x="117" y="58"/>
                      <a:pt x="117" y="58"/>
                    </a:cubicBezTo>
                    <a:cubicBezTo>
                      <a:pt x="118" y="58"/>
                      <a:pt x="119" y="56"/>
                      <a:pt x="119" y="54"/>
                    </a:cubicBezTo>
                    <a:cubicBezTo>
                      <a:pt x="117" y="44"/>
                      <a:pt x="117" y="44"/>
                      <a:pt x="117" y="44"/>
                    </a:cubicBezTo>
                    <a:lnTo>
                      <a:pt x="117" y="42"/>
                    </a:lnTo>
                    <a:close/>
                    <a:moveTo>
                      <a:pt x="23" y="67"/>
                    </a:moveTo>
                    <a:cubicBezTo>
                      <a:pt x="23" y="66"/>
                      <a:pt x="23" y="66"/>
                      <a:pt x="23" y="66"/>
                    </a:cubicBezTo>
                    <a:cubicBezTo>
                      <a:pt x="22" y="60"/>
                      <a:pt x="22" y="53"/>
                      <a:pt x="24" y="47"/>
                    </a:cubicBezTo>
                    <a:cubicBezTo>
                      <a:pt x="28" y="37"/>
                      <a:pt x="36" y="28"/>
                      <a:pt x="47" y="24"/>
                    </a:cubicBezTo>
                    <a:cubicBezTo>
                      <a:pt x="48" y="24"/>
                      <a:pt x="49" y="24"/>
                      <a:pt x="50" y="23"/>
                    </a:cubicBezTo>
                    <a:cubicBezTo>
                      <a:pt x="51" y="23"/>
                      <a:pt x="52" y="23"/>
                      <a:pt x="52" y="23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49" y="39"/>
                      <a:pt x="48" y="40"/>
                      <a:pt x="47" y="41"/>
                    </a:cubicBezTo>
                    <a:cubicBezTo>
                      <a:pt x="42" y="44"/>
                      <a:pt x="39" y="50"/>
                      <a:pt x="38" y="56"/>
                    </a:cubicBezTo>
                    <a:cubicBezTo>
                      <a:pt x="37" y="57"/>
                      <a:pt x="37" y="59"/>
                      <a:pt x="37" y="60"/>
                    </a:cubicBezTo>
                    <a:lnTo>
                      <a:pt x="23" y="67"/>
                    </a:lnTo>
                    <a:close/>
                    <a:moveTo>
                      <a:pt x="66" y="97"/>
                    </a:moveTo>
                    <a:cubicBezTo>
                      <a:pt x="54" y="99"/>
                      <a:pt x="41" y="95"/>
                      <a:pt x="33" y="86"/>
                    </a:cubicBezTo>
                    <a:cubicBezTo>
                      <a:pt x="48" y="79"/>
                      <a:pt x="48" y="79"/>
                      <a:pt x="48" y="79"/>
                    </a:cubicBezTo>
                    <a:cubicBezTo>
                      <a:pt x="52" y="82"/>
                      <a:pt x="58" y="83"/>
                      <a:pt x="64" y="82"/>
                    </a:cubicBezTo>
                    <a:cubicBezTo>
                      <a:pt x="65" y="82"/>
                      <a:pt x="67" y="81"/>
                      <a:pt x="68" y="81"/>
                    </a:cubicBezTo>
                    <a:cubicBezTo>
                      <a:pt x="82" y="90"/>
                      <a:pt x="82" y="90"/>
                      <a:pt x="82" y="90"/>
                    </a:cubicBezTo>
                    <a:cubicBezTo>
                      <a:pt x="77" y="93"/>
                      <a:pt x="72" y="96"/>
                      <a:pt x="66" y="97"/>
                    </a:cubicBezTo>
                    <a:close/>
                    <a:moveTo>
                      <a:pt x="95" y="73"/>
                    </a:moveTo>
                    <a:cubicBezTo>
                      <a:pt x="82" y="64"/>
                      <a:pt x="82" y="64"/>
                      <a:pt x="82" y="64"/>
                    </a:cubicBezTo>
                    <a:cubicBezTo>
                      <a:pt x="82" y="62"/>
                      <a:pt x="83" y="59"/>
                      <a:pt x="82" y="56"/>
                    </a:cubicBezTo>
                    <a:cubicBezTo>
                      <a:pt x="81" y="50"/>
                      <a:pt x="78" y="45"/>
                      <a:pt x="74" y="42"/>
                    </a:cubicBezTo>
                    <a:cubicBezTo>
                      <a:pt x="73" y="42"/>
                      <a:pt x="73" y="41"/>
                      <a:pt x="72" y="41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80" y="27"/>
                      <a:pt x="85" y="31"/>
                      <a:pt x="89" y="36"/>
                    </a:cubicBezTo>
                    <a:cubicBezTo>
                      <a:pt x="91" y="38"/>
                      <a:pt x="93" y="41"/>
                      <a:pt x="94" y="44"/>
                    </a:cubicBezTo>
                    <a:cubicBezTo>
                      <a:pt x="95" y="47"/>
                      <a:pt x="96" y="50"/>
                      <a:pt x="97" y="53"/>
                    </a:cubicBezTo>
                    <a:cubicBezTo>
                      <a:pt x="98" y="60"/>
                      <a:pt x="97" y="67"/>
                      <a:pt x="95" y="7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</p:grpSp>
        <p:grpSp>
          <p:nvGrpSpPr>
            <p:cNvPr id="55" name="Group 4"/>
            <p:cNvGrpSpPr>
              <a:grpSpLocks noChangeAspect="1"/>
            </p:cNvGrpSpPr>
            <p:nvPr userDrawn="1"/>
          </p:nvGrpSpPr>
          <p:grpSpPr bwMode="auto">
            <a:xfrm>
              <a:off x="713661" y="113741"/>
              <a:ext cx="69318" cy="90152"/>
              <a:chOff x="3655" y="1900"/>
              <a:chExt cx="366" cy="476"/>
            </a:xfrm>
            <a:solidFill>
              <a:schemeClr val="bg1"/>
            </a:solidFill>
          </p:grpSpPr>
          <p:sp>
            <p:nvSpPr>
              <p:cNvPr id="56" name="Freeform 5"/>
              <p:cNvSpPr>
                <a:spLocks noEditPoints="1"/>
              </p:cNvSpPr>
              <p:nvPr/>
            </p:nvSpPr>
            <p:spPr bwMode="auto">
              <a:xfrm>
                <a:off x="3953" y="1971"/>
                <a:ext cx="68" cy="132"/>
              </a:xfrm>
              <a:custGeom>
                <a:avLst/>
                <a:gdLst>
                  <a:gd name="T0" fmla="*/ 31 w 38"/>
                  <a:gd name="T1" fmla="*/ 74 h 74"/>
                  <a:gd name="T2" fmla="*/ 27 w 38"/>
                  <a:gd name="T3" fmla="*/ 73 h 74"/>
                  <a:gd name="T4" fmla="*/ 18 w 38"/>
                  <a:gd name="T5" fmla="*/ 52 h 74"/>
                  <a:gd name="T6" fmla="*/ 17 w 38"/>
                  <a:gd name="T7" fmla="*/ 49 h 74"/>
                  <a:gd name="T8" fmla="*/ 2 w 38"/>
                  <a:gd name="T9" fmla="*/ 10 h 74"/>
                  <a:gd name="T10" fmla="*/ 4 w 38"/>
                  <a:gd name="T11" fmla="*/ 2 h 74"/>
                  <a:gd name="T12" fmla="*/ 12 w 38"/>
                  <a:gd name="T13" fmla="*/ 4 h 74"/>
                  <a:gd name="T14" fmla="*/ 29 w 38"/>
                  <a:gd name="T15" fmla="*/ 46 h 74"/>
                  <a:gd name="T16" fmla="*/ 29 w 38"/>
                  <a:gd name="T17" fmla="*/ 48 h 74"/>
                  <a:gd name="T18" fmla="*/ 30 w 38"/>
                  <a:gd name="T19" fmla="*/ 49 h 74"/>
                  <a:gd name="T20" fmla="*/ 34 w 38"/>
                  <a:gd name="T21" fmla="*/ 63 h 74"/>
                  <a:gd name="T22" fmla="*/ 36 w 38"/>
                  <a:gd name="T23" fmla="*/ 72 h 74"/>
                  <a:gd name="T24" fmla="*/ 31 w 38"/>
                  <a:gd name="T25" fmla="*/ 74 h 74"/>
                  <a:gd name="T26" fmla="*/ 31 w 38"/>
                  <a:gd name="T27" fmla="*/ 74 h 74"/>
                  <a:gd name="T28" fmla="*/ 31 w 38"/>
                  <a:gd name="T2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74">
                    <a:moveTo>
                      <a:pt x="31" y="74"/>
                    </a:moveTo>
                    <a:cubicBezTo>
                      <a:pt x="29" y="74"/>
                      <a:pt x="28" y="74"/>
                      <a:pt x="27" y="73"/>
                    </a:cubicBezTo>
                    <a:cubicBezTo>
                      <a:pt x="23" y="70"/>
                      <a:pt x="19" y="60"/>
                      <a:pt x="18" y="52"/>
                    </a:cubicBezTo>
                    <a:cubicBezTo>
                      <a:pt x="17" y="52"/>
                      <a:pt x="17" y="51"/>
                      <a:pt x="17" y="49"/>
                    </a:cubicBezTo>
                    <a:cubicBezTo>
                      <a:pt x="15" y="43"/>
                      <a:pt x="11" y="26"/>
                      <a:pt x="2" y="10"/>
                    </a:cubicBezTo>
                    <a:cubicBezTo>
                      <a:pt x="0" y="7"/>
                      <a:pt x="1" y="3"/>
                      <a:pt x="4" y="2"/>
                    </a:cubicBezTo>
                    <a:cubicBezTo>
                      <a:pt x="7" y="0"/>
                      <a:pt x="11" y="1"/>
                      <a:pt x="12" y="4"/>
                    </a:cubicBezTo>
                    <a:cubicBezTo>
                      <a:pt x="23" y="21"/>
                      <a:pt x="27" y="39"/>
                      <a:pt x="29" y="46"/>
                    </a:cubicBezTo>
                    <a:cubicBezTo>
                      <a:pt x="29" y="47"/>
                      <a:pt x="29" y="48"/>
                      <a:pt x="29" y="48"/>
                    </a:cubicBezTo>
                    <a:cubicBezTo>
                      <a:pt x="29" y="48"/>
                      <a:pt x="30" y="49"/>
                      <a:pt x="30" y="49"/>
                    </a:cubicBezTo>
                    <a:cubicBezTo>
                      <a:pt x="31" y="55"/>
                      <a:pt x="33" y="62"/>
                      <a:pt x="34" y="63"/>
                    </a:cubicBezTo>
                    <a:cubicBezTo>
                      <a:pt x="37" y="65"/>
                      <a:pt x="38" y="69"/>
                      <a:pt x="36" y="72"/>
                    </a:cubicBezTo>
                    <a:cubicBezTo>
                      <a:pt x="34" y="73"/>
                      <a:pt x="32" y="74"/>
                      <a:pt x="31" y="74"/>
                    </a:cubicBezTo>
                    <a:close/>
                    <a:moveTo>
                      <a:pt x="31" y="74"/>
                    </a:moveTo>
                    <a:cubicBezTo>
                      <a:pt x="31" y="74"/>
                      <a:pt x="31" y="74"/>
                      <a:pt x="31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7" name="Freeform 6"/>
              <p:cNvSpPr>
                <a:spLocks noEditPoints="1"/>
              </p:cNvSpPr>
              <p:nvPr/>
            </p:nvSpPr>
            <p:spPr bwMode="auto">
              <a:xfrm>
                <a:off x="3810" y="1900"/>
                <a:ext cx="143" cy="62"/>
              </a:xfrm>
              <a:custGeom>
                <a:avLst/>
                <a:gdLst>
                  <a:gd name="T0" fmla="*/ 74 w 80"/>
                  <a:gd name="T1" fmla="*/ 35 h 35"/>
                  <a:gd name="T2" fmla="*/ 69 w 80"/>
                  <a:gd name="T3" fmla="*/ 34 h 35"/>
                  <a:gd name="T4" fmla="*/ 25 w 80"/>
                  <a:gd name="T5" fmla="*/ 12 h 35"/>
                  <a:gd name="T6" fmla="*/ 8 w 80"/>
                  <a:gd name="T7" fmla="*/ 14 h 35"/>
                  <a:gd name="T8" fmla="*/ 1 w 80"/>
                  <a:gd name="T9" fmla="*/ 9 h 35"/>
                  <a:gd name="T10" fmla="*/ 6 w 80"/>
                  <a:gd name="T11" fmla="*/ 2 h 35"/>
                  <a:gd name="T12" fmla="*/ 26 w 80"/>
                  <a:gd name="T13" fmla="*/ 0 h 35"/>
                  <a:gd name="T14" fmla="*/ 26 w 80"/>
                  <a:gd name="T15" fmla="*/ 0 h 35"/>
                  <a:gd name="T16" fmla="*/ 78 w 80"/>
                  <a:gd name="T17" fmla="*/ 25 h 35"/>
                  <a:gd name="T18" fmla="*/ 78 w 80"/>
                  <a:gd name="T19" fmla="*/ 34 h 35"/>
                  <a:gd name="T20" fmla="*/ 74 w 80"/>
                  <a:gd name="T21" fmla="*/ 35 h 35"/>
                  <a:gd name="T22" fmla="*/ 74 w 80"/>
                  <a:gd name="T23" fmla="*/ 35 h 35"/>
                  <a:gd name="T24" fmla="*/ 74 w 80"/>
                  <a:gd name="T2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35">
                    <a:moveTo>
                      <a:pt x="74" y="35"/>
                    </a:moveTo>
                    <a:cubicBezTo>
                      <a:pt x="72" y="35"/>
                      <a:pt x="70" y="35"/>
                      <a:pt x="69" y="34"/>
                    </a:cubicBezTo>
                    <a:cubicBezTo>
                      <a:pt x="57" y="21"/>
                      <a:pt x="42" y="14"/>
                      <a:pt x="25" y="12"/>
                    </a:cubicBezTo>
                    <a:cubicBezTo>
                      <a:pt x="19" y="12"/>
                      <a:pt x="14" y="13"/>
                      <a:pt x="8" y="14"/>
                    </a:cubicBezTo>
                    <a:cubicBezTo>
                      <a:pt x="5" y="14"/>
                      <a:pt x="2" y="12"/>
                      <a:pt x="1" y="9"/>
                    </a:cubicBezTo>
                    <a:cubicBezTo>
                      <a:pt x="0" y="5"/>
                      <a:pt x="3" y="2"/>
                      <a:pt x="6" y="2"/>
                    </a:cubicBezTo>
                    <a:cubicBezTo>
                      <a:pt x="12" y="0"/>
                      <a:pt x="19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46" y="2"/>
                      <a:pt x="64" y="10"/>
                      <a:pt x="78" y="25"/>
                    </a:cubicBezTo>
                    <a:cubicBezTo>
                      <a:pt x="80" y="27"/>
                      <a:pt x="80" y="31"/>
                      <a:pt x="78" y="34"/>
                    </a:cubicBezTo>
                    <a:cubicBezTo>
                      <a:pt x="77" y="35"/>
                      <a:pt x="75" y="35"/>
                      <a:pt x="74" y="35"/>
                    </a:cubicBezTo>
                    <a:close/>
                    <a:moveTo>
                      <a:pt x="74" y="35"/>
                    </a:moveTo>
                    <a:cubicBezTo>
                      <a:pt x="74" y="35"/>
                      <a:pt x="74" y="35"/>
                      <a:pt x="74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8" name="Freeform 7"/>
              <p:cNvSpPr>
                <a:spLocks noEditPoints="1"/>
              </p:cNvSpPr>
              <p:nvPr/>
            </p:nvSpPr>
            <p:spPr bwMode="auto">
              <a:xfrm>
                <a:off x="3657" y="1927"/>
                <a:ext cx="120" cy="119"/>
              </a:xfrm>
              <a:custGeom>
                <a:avLst/>
                <a:gdLst>
                  <a:gd name="T0" fmla="*/ 6 w 67"/>
                  <a:gd name="T1" fmla="*/ 67 h 67"/>
                  <a:gd name="T2" fmla="*/ 5 w 67"/>
                  <a:gd name="T3" fmla="*/ 67 h 67"/>
                  <a:gd name="T4" fmla="*/ 0 w 67"/>
                  <a:gd name="T5" fmla="*/ 62 h 67"/>
                  <a:gd name="T6" fmla="*/ 3 w 67"/>
                  <a:gd name="T7" fmla="*/ 56 h 67"/>
                  <a:gd name="T8" fmla="*/ 4 w 67"/>
                  <a:gd name="T9" fmla="*/ 55 h 67"/>
                  <a:gd name="T10" fmla="*/ 14 w 67"/>
                  <a:gd name="T11" fmla="*/ 46 h 67"/>
                  <a:gd name="T12" fmla="*/ 15 w 67"/>
                  <a:gd name="T13" fmla="*/ 44 h 67"/>
                  <a:gd name="T14" fmla="*/ 24 w 67"/>
                  <a:gd name="T15" fmla="*/ 33 h 67"/>
                  <a:gd name="T16" fmla="*/ 56 w 67"/>
                  <a:gd name="T17" fmla="*/ 2 h 67"/>
                  <a:gd name="T18" fmla="*/ 65 w 67"/>
                  <a:gd name="T19" fmla="*/ 3 h 67"/>
                  <a:gd name="T20" fmla="*/ 63 w 67"/>
                  <a:gd name="T21" fmla="*/ 12 h 67"/>
                  <a:gd name="T22" fmla="*/ 33 w 67"/>
                  <a:gd name="T23" fmla="*/ 41 h 67"/>
                  <a:gd name="T24" fmla="*/ 25 w 67"/>
                  <a:gd name="T25" fmla="*/ 51 h 67"/>
                  <a:gd name="T26" fmla="*/ 24 w 67"/>
                  <a:gd name="T27" fmla="*/ 53 h 67"/>
                  <a:gd name="T28" fmla="*/ 14 w 67"/>
                  <a:gd name="T29" fmla="*/ 63 h 67"/>
                  <a:gd name="T30" fmla="*/ 6 w 67"/>
                  <a:gd name="T31" fmla="*/ 67 h 67"/>
                  <a:gd name="T32" fmla="*/ 6 w 67"/>
                  <a:gd name="T33" fmla="*/ 67 h 67"/>
                  <a:gd name="T34" fmla="*/ 6 w 67"/>
                  <a:gd name="T3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7" h="67">
                    <a:moveTo>
                      <a:pt x="6" y="67"/>
                    </a:moveTo>
                    <a:cubicBezTo>
                      <a:pt x="6" y="67"/>
                      <a:pt x="6" y="67"/>
                      <a:pt x="5" y="67"/>
                    </a:cubicBezTo>
                    <a:cubicBezTo>
                      <a:pt x="3" y="66"/>
                      <a:pt x="1" y="64"/>
                      <a:pt x="0" y="62"/>
                    </a:cubicBezTo>
                    <a:cubicBezTo>
                      <a:pt x="0" y="59"/>
                      <a:pt x="1" y="57"/>
                      <a:pt x="3" y="56"/>
                    </a:cubicBezTo>
                    <a:cubicBezTo>
                      <a:pt x="3" y="55"/>
                      <a:pt x="4" y="55"/>
                      <a:pt x="4" y="55"/>
                    </a:cubicBezTo>
                    <a:cubicBezTo>
                      <a:pt x="6" y="54"/>
                      <a:pt x="10" y="51"/>
                      <a:pt x="14" y="46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8" y="41"/>
                      <a:pt x="20" y="37"/>
                      <a:pt x="24" y="33"/>
                    </a:cubicBezTo>
                    <a:cubicBezTo>
                      <a:pt x="34" y="20"/>
                      <a:pt x="45" y="10"/>
                      <a:pt x="56" y="2"/>
                    </a:cubicBezTo>
                    <a:cubicBezTo>
                      <a:pt x="59" y="0"/>
                      <a:pt x="63" y="1"/>
                      <a:pt x="65" y="3"/>
                    </a:cubicBezTo>
                    <a:cubicBezTo>
                      <a:pt x="67" y="6"/>
                      <a:pt x="66" y="10"/>
                      <a:pt x="63" y="12"/>
                    </a:cubicBezTo>
                    <a:cubicBezTo>
                      <a:pt x="53" y="19"/>
                      <a:pt x="43" y="29"/>
                      <a:pt x="33" y="41"/>
                    </a:cubicBezTo>
                    <a:cubicBezTo>
                      <a:pt x="30" y="45"/>
                      <a:pt x="27" y="48"/>
                      <a:pt x="25" y="51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0" y="58"/>
                      <a:pt x="17" y="61"/>
                      <a:pt x="14" y="63"/>
                    </a:cubicBezTo>
                    <a:cubicBezTo>
                      <a:pt x="10" y="66"/>
                      <a:pt x="8" y="67"/>
                      <a:pt x="6" y="67"/>
                    </a:cubicBezTo>
                    <a:close/>
                    <a:moveTo>
                      <a:pt x="6" y="67"/>
                    </a:moveTo>
                    <a:cubicBezTo>
                      <a:pt x="6" y="67"/>
                      <a:pt x="6" y="67"/>
                      <a:pt x="6" y="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59" name="Freeform 8"/>
              <p:cNvSpPr>
                <a:spLocks noEditPoints="1"/>
              </p:cNvSpPr>
              <p:nvPr/>
            </p:nvSpPr>
            <p:spPr bwMode="auto">
              <a:xfrm>
                <a:off x="3655" y="2114"/>
                <a:ext cx="81" cy="44"/>
              </a:xfrm>
              <a:custGeom>
                <a:avLst/>
                <a:gdLst>
                  <a:gd name="T0" fmla="*/ 7 w 45"/>
                  <a:gd name="T1" fmla="*/ 25 h 25"/>
                  <a:gd name="T2" fmla="*/ 1 w 45"/>
                  <a:gd name="T3" fmla="*/ 21 h 25"/>
                  <a:gd name="T4" fmla="*/ 6 w 45"/>
                  <a:gd name="T5" fmla="*/ 13 h 25"/>
                  <a:gd name="T6" fmla="*/ 35 w 45"/>
                  <a:gd name="T7" fmla="*/ 1 h 25"/>
                  <a:gd name="T8" fmla="*/ 44 w 45"/>
                  <a:gd name="T9" fmla="*/ 4 h 25"/>
                  <a:gd name="T10" fmla="*/ 41 w 45"/>
                  <a:gd name="T11" fmla="*/ 12 h 25"/>
                  <a:gd name="T12" fmla="*/ 9 w 45"/>
                  <a:gd name="T13" fmla="*/ 25 h 25"/>
                  <a:gd name="T14" fmla="*/ 7 w 45"/>
                  <a:gd name="T15" fmla="*/ 25 h 25"/>
                  <a:gd name="T16" fmla="*/ 7 w 45"/>
                  <a:gd name="T17" fmla="*/ 25 h 25"/>
                  <a:gd name="T18" fmla="*/ 7 w 45"/>
                  <a:gd name="T1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5" h="25">
                    <a:moveTo>
                      <a:pt x="7" y="25"/>
                    </a:moveTo>
                    <a:cubicBezTo>
                      <a:pt x="4" y="25"/>
                      <a:pt x="2" y="24"/>
                      <a:pt x="1" y="21"/>
                    </a:cubicBezTo>
                    <a:cubicBezTo>
                      <a:pt x="0" y="17"/>
                      <a:pt x="2" y="14"/>
                      <a:pt x="6" y="13"/>
                    </a:cubicBezTo>
                    <a:cubicBezTo>
                      <a:pt x="17" y="10"/>
                      <a:pt x="28" y="5"/>
                      <a:pt x="35" y="1"/>
                    </a:cubicBezTo>
                    <a:cubicBezTo>
                      <a:pt x="38" y="0"/>
                      <a:pt x="42" y="1"/>
                      <a:pt x="44" y="4"/>
                    </a:cubicBezTo>
                    <a:cubicBezTo>
                      <a:pt x="45" y="7"/>
                      <a:pt x="44" y="11"/>
                      <a:pt x="41" y="12"/>
                    </a:cubicBezTo>
                    <a:cubicBezTo>
                      <a:pt x="33" y="16"/>
                      <a:pt x="21" y="22"/>
                      <a:pt x="9" y="25"/>
                    </a:cubicBezTo>
                    <a:cubicBezTo>
                      <a:pt x="8" y="25"/>
                      <a:pt x="8" y="25"/>
                      <a:pt x="7" y="25"/>
                    </a:cubicBezTo>
                    <a:close/>
                    <a:moveTo>
                      <a:pt x="7" y="25"/>
                    </a:moveTo>
                    <a:cubicBezTo>
                      <a:pt x="7" y="25"/>
                      <a:pt x="7" y="25"/>
                      <a:pt x="7" y="2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0" name="Freeform 9"/>
              <p:cNvSpPr>
                <a:spLocks noEditPoints="1"/>
              </p:cNvSpPr>
              <p:nvPr/>
            </p:nvSpPr>
            <p:spPr bwMode="auto">
              <a:xfrm>
                <a:off x="3738" y="1989"/>
                <a:ext cx="211" cy="132"/>
              </a:xfrm>
              <a:custGeom>
                <a:avLst/>
                <a:gdLst>
                  <a:gd name="T0" fmla="*/ 7 w 118"/>
                  <a:gd name="T1" fmla="*/ 74 h 74"/>
                  <a:gd name="T2" fmla="*/ 2 w 118"/>
                  <a:gd name="T3" fmla="*/ 71 h 74"/>
                  <a:gd name="T4" fmla="*/ 3 w 118"/>
                  <a:gd name="T5" fmla="*/ 63 h 74"/>
                  <a:gd name="T6" fmla="*/ 45 w 118"/>
                  <a:gd name="T7" fmla="*/ 27 h 74"/>
                  <a:gd name="T8" fmla="*/ 94 w 118"/>
                  <a:gd name="T9" fmla="*/ 5 h 74"/>
                  <a:gd name="T10" fmla="*/ 117 w 118"/>
                  <a:gd name="T11" fmla="*/ 27 h 74"/>
                  <a:gd name="T12" fmla="*/ 113 w 118"/>
                  <a:gd name="T13" fmla="*/ 34 h 74"/>
                  <a:gd name="T14" fmla="*/ 105 w 118"/>
                  <a:gd name="T15" fmla="*/ 30 h 74"/>
                  <a:gd name="T16" fmla="*/ 90 w 118"/>
                  <a:gd name="T17" fmla="*/ 17 h 74"/>
                  <a:gd name="T18" fmla="*/ 54 w 118"/>
                  <a:gd name="T19" fmla="*/ 35 h 74"/>
                  <a:gd name="T20" fmla="*/ 10 w 118"/>
                  <a:gd name="T21" fmla="*/ 73 h 74"/>
                  <a:gd name="T22" fmla="*/ 7 w 118"/>
                  <a:gd name="T23" fmla="*/ 74 h 74"/>
                  <a:gd name="T24" fmla="*/ 7 w 118"/>
                  <a:gd name="T25" fmla="*/ 74 h 74"/>
                  <a:gd name="T26" fmla="*/ 7 w 118"/>
                  <a:gd name="T27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8" h="74">
                    <a:moveTo>
                      <a:pt x="7" y="74"/>
                    </a:moveTo>
                    <a:cubicBezTo>
                      <a:pt x="5" y="74"/>
                      <a:pt x="3" y="73"/>
                      <a:pt x="2" y="71"/>
                    </a:cubicBezTo>
                    <a:cubicBezTo>
                      <a:pt x="0" y="69"/>
                      <a:pt x="0" y="65"/>
                      <a:pt x="3" y="63"/>
                    </a:cubicBezTo>
                    <a:cubicBezTo>
                      <a:pt x="25" y="48"/>
                      <a:pt x="45" y="27"/>
                      <a:pt x="45" y="27"/>
                    </a:cubicBezTo>
                    <a:cubicBezTo>
                      <a:pt x="61" y="8"/>
                      <a:pt x="79" y="0"/>
                      <a:pt x="94" y="5"/>
                    </a:cubicBezTo>
                    <a:cubicBezTo>
                      <a:pt x="109" y="9"/>
                      <a:pt x="115" y="19"/>
                      <a:pt x="117" y="27"/>
                    </a:cubicBezTo>
                    <a:cubicBezTo>
                      <a:pt x="118" y="30"/>
                      <a:pt x="116" y="33"/>
                      <a:pt x="113" y="34"/>
                    </a:cubicBezTo>
                    <a:cubicBezTo>
                      <a:pt x="110" y="35"/>
                      <a:pt x="106" y="34"/>
                      <a:pt x="105" y="30"/>
                    </a:cubicBezTo>
                    <a:cubicBezTo>
                      <a:pt x="103" y="24"/>
                      <a:pt x="98" y="19"/>
                      <a:pt x="90" y="17"/>
                    </a:cubicBezTo>
                    <a:cubicBezTo>
                      <a:pt x="79" y="13"/>
                      <a:pt x="64" y="24"/>
                      <a:pt x="54" y="35"/>
                    </a:cubicBezTo>
                    <a:cubicBezTo>
                      <a:pt x="52" y="38"/>
                      <a:pt x="32" y="58"/>
                      <a:pt x="10" y="73"/>
                    </a:cubicBezTo>
                    <a:cubicBezTo>
                      <a:pt x="9" y="74"/>
                      <a:pt x="8" y="74"/>
                      <a:pt x="7" y="74"/>
                    </a:cubicBezTo>
                    <a:close/>
                    <a:moveTo>
                      <a:pt x="7" y="74"/>
                    </a:moveTo>
                    <a:cubicBezTo>
                      <a:pt x="7" y="74"/>
                      <a:pt x="7" y="74"/>
                      <a:pt x="7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1" name="Freeform 10"/>
              <p:cNvSpPr>
                <a:spLocks noEditPoints="1"/>
              </p:cNvSpPr>
              <p:nvPr/>
            </p:nvSpPr>
            <p:spPr bwMode="auto">
              <a:xfrm>
                <a:off x="3677" y="2071"/>
                <a:ext cx="269" cy="203"/>
              </a:xfrm>
              <a:custGeom>
                <a:avLst/>
                <a:gdLst>
                  <a:gd name="T0" fmla="*/ 7 w 150"/>
                  <a:gd name="T1" fmla="*/ 114 h 114"/>
                  <a:gd name="T2" fmla="*/ 1 w 150"/>
                  <a:gd name="T3" fmla="*/ 110 h 114"/>
                  <a:gd name="T4" fmla="*/ 4 w 150"/>
                  <a:gd name="T5" fmla="*/ 102 h 114"/>
                  <a:gd name="T6" fmla="*/ 82 w 150"/>
                  <a:gd name="T7" fmla="*/ 58 h 114"/>
                  <a:gd name="T8" fmla="*/ 138 w 150"/>
                  <a:gd name="T9" fmla="*/ 5 h 114"/>
                  <a:gd name="T10" fmla="*/ 146 w 150"/>
                  <a:gd name="T11" fmla="*/ 1 h 114"/>
                  <a:gd name="T12" fmla="*/ 149 w 150"/>
                  <a:gd name="T13" fmla="*/ 9 h 114"/>
                  <a:gd name="T14" fmla="*/ 89 w 150"/>
                  <a:gd name="T15" fmla="*/ 69 h 114"/>
                  <a:gd name="T16" fmla="*/ 9 w 150"/>
                  <a:gd name="T17" fmla="*/ 113 h 114"/>
                  <a:gd name="T18" fmla="*/ 7 w 150"/>
                  <a:gd name="T19" fmla="*/ 114 h 114"/>
                  <a:gd name="T20" fmla="*/ 7 w 150"/>
                  <a:gd name="T21" fmla="*/ 114 h 114"/>
                  <a:gd name="T22" fmla="*/ 7 w 150"/>
                  <a:gd name="T23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0" h="114">
                    <a:moveTo>
                      <a:pt x="7" y="114"/>
                    </a:moveTo>
                    <a:cubicBezTo>
                      <a:pt x="4" y="114"/>
                      <a:pt x="2" y="113"/>
                      <a:pt x="1" y="110"/>
                    </a:cubicBezTo>
                    <a:cubicBezTo>
                      <a:pt x="0" y="107"/>
                      <a:pt x="1" y="103"/>
                      <a:pt x="4" y="102"/>
                    </a:cubicBezTo>
                    <a:cubicBezTo>
                      <a:pt x="31" y="91"/>
                      <a:pt x="68" y="68"/>
                      <a:pt x="82" y="58"/>
                    </a:cubicBezTo>
                    <a:cubicBezTo>
                      <a:pt x="112" y="39"/>
                      <a:pt x="131" y="20"/>
                      <a:pt x="138" y="5"/>
                    </a:cubicBezTo>
                    <a:cubicBezTo>
                      <a:pt x="139" y="2"/>
                      <a:pt x="143" y="0"/>
                      <a:pt x="146" y="1"/>
                    </a:cubicBezTo>
                    <a:cubicBezTo>
                      <a:pt x="149" y="3"/>
                      <a:pt x="150" y="6"/>
                      <a:pt x="149" y="9"/>
                    </a:cubicBezTo>
                    <a:cubicBezTo>
                      <a:pt x="140" y="33"/>
                      <a:pt x="111" y="54"/>
                      <a:pt x="89" y="69"/>
                    </a:cubicBezTo>
                    <a:cubicBezTo>
                      <a:pt x="74" y="78"/>
                      <a:pt x="36" y="102"/>
                      <a:pt x="9" y="113"/>
                    </a:cubicBezTo>
                    <a:cubicBezTo>
                      <a:pt x="8" y="114"/>
                      <a:pt x="8" y="114"/>
                      <a:pt x="7" y="114"/>
                    </a:cubicBezTo>
                    <a:close/>
                    <a:moveTo>
                      <a:pt x="7" y="114"/>
                    </a:moveTo>
                    <a:cubicBezTo>
                      <a:pt x="7" y="114"/>
                      <a:pt x="7" y="114"/>
                      <a:pt x="7" y="1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2" name="Freeform 11"/>
              <p:cNvSpPr>
                <a:spLocks noEditPoints="1"/>
              </p:cNvSpPr>
              <p:nvPr/>
            </p:nvSpPr>
            <p:spPr bwMode="auto">
              <a:xfrm>
                <a:off x="3766" y="1946"/>
                <a:ext cx="112" cy="73"/>
              </a:xfrm>
              <a:custGeom>
                <a:avLst/>
                <a:gdLst>
                  <a:gd name="T0" fmla="*/ 15 w 62"/>
                  <a:gd name="T1" fmla="*/ 35 h 41"/>
                  <a:gd name="T2" fmla="*/ 33 w 62"/>
                  <a:gd name="T3" fmla="*/ 21 h 41"/>
                  <a:gd name="T4" fmla="*/ 56 w 62"/>
                  <a:gd name="T5" fmla="*/ 13 h 41"/>
                  <a:gd name="T6" fmla="*/ 62 w 62"/>
                  <a:gd name="T7" fmla="*/ 7 h 41"/>
                  <a:gd name="T8" fmla="*/ 56 w 62"/>
                  <a:gd name="T9" fmla="*/ 0 h 41"/>
                  <a:gd name="T10" fmla="*/ 6 w 62"/>
                  <a:gd name="T11" fmla="*/ 26 h 41"/>
                  <a:gd name="T12" fmla="*/ 15 w 62"/>
                  <a:gd name="T13" fmla="*/ 35 h 41"/>
                  <a:gd name="T14" fmla="*/ 15 w 62"/>
                  <a:gd name="T15" fmla="*/ 35 h 41"/>
                  <a:gd name="T16" fmla="*/ 15 w 62"/>
                  <a:gd name="T17" fmla="*/ 3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41">
                    <a:moveTo>
                      <a:pt x="15" y="35"/>
                    </a:moveTo>
                    <a:cubicBezTo>
                      <a:pt x="20" y="30"/>
                      <a:pt x="26" y="25"/>
                      <a:pt x="33" y="21"/>
                    </a:cubicBezTo>
                    <a:cubicBezTo>
                      <a:pt x="40" y="17"/>
                      <a:pt x="48" y="14"/>
                      <a:pt x="56" y="13"/>
                    </a:cubicBezTo>
                    <a:cubicBezTo>
                      <a:pt x="59" y="13"/>
                      <a:pt x="62" y="10"/>
                      <a:pt x="62" y="7"/>
                    </a:cubicBezTo>
                    <a:cubicBezTo>
                      <a:pt x="62" y="4"/>
                      <a:pt x="59" y="0"/>
                      <a:pt x="56" y="0"/>
                    </a:cubicBezTo>
                    <a:cubicBezTo>
                      <a:pt x="36" y="3"/>
                      <a:pt x="20" y="13"/>
                      <a:pt x="6" y="26"/>
                    </a:cubicBezTo>
                    <a:cubicBezTo>
                      <a:pt x="0" y="32"/>
                      <a:pt x="9" y="41"/>
                      <a:pt x="15" y="35"/>
                    </a:cubicBezTo>
                    <a:close/>
                    <a:moveTo>
                      <a:pt x="15" y="35"/>
                    </a:moveTo>
                    <a:cubicBezTo>
                      <a:pt x="15" y="35"/>
                      <a:pt x="15" y="35"/>
                      <a:pt x="15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3" name="Freeform 12"/>
              <p:cNvSpPr>
                <a:spLocks noEditPoints="1"/>
              </p:cNvSpPr>
              <p:nvPr/>
            </p:nvSpPr>
            <p:spPr bwMode="auto">
              <a:xfrm>
                <a:off x="3661" y="2023"/>
                <a:ext cx="105" cy="78"/>
              </a:xfrm>
              <a:custGeom>
                <a:avLst/>
                <a:gdLst>
                  <a:gd name="T0" fmla="*/ 8 w 59"/>
                  <a:gd name="T1" fmla="*/ 43 h 44"/>
                  <a:gd name="T2" fmla="*/ 32 w 59"/>
                  <a:gd name="T3" fmla="*/ 32 h 44"/>
                  <a:gd name="T4" fmla="*/ 54 w 59"/>
                  <a:gd name="T5" fmla="*/ 14 h 44"/>
                  <a:gd name="T6" fmla="*/ 45 w 59"/>
                  <a:gd name="T7" fmla="*/ 6 h 44"/>
                  <a:gd name="T8" fmla="*/ 26 w 59"/>
                  <a:gd name="T9" fmla="*/ 21 h 44"/>
                  <a:gd name="T10" fmla="*/ 5 w 59"/>
                  <a:gd name="T11" fmla="*/ 31 h 44"/>
                  <a:gd name="T12" fmla="*/ 1 w 59"/>
                  <a:gd name="T13" fmla="*/ 39 h 44"/>
                  <a:gd name="T14" fmla="*/ 8 w 59"/>
                  <a:gd name="T15" fmla="*/ 43 h 44"/>
                  <a:gd name="T16" fmla="*/ 8 w 59"/>
                  <a:gd name="T17" fmla="*/ 43 h 44"/>
                  <a:gd name="T18" fmla="*/ 8 w 59"/>
                  <a:gd name="T1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44">
                    <a:moveTo>
                      <a:pt x="8" y="43"/>
                    </a:moveTo>
                    <a:cubicBezTo>
                      <a:pt x="17" y="41"/>
                      <a:pt x="24" y="36"/>
                      <a:pt x="32" y="32"/>
                    </a:cubicBezTo>
                    <a:cubicBezTo>
                      <a:pt x="40" y="28"/>
                      <a:pt x="47" y="21"/>
                      <a:pt x="54" y="14"/>
                    </a:cubicBezTo>
                    <a:cubicBezTo>
                      <a:pt x="59" y="9"/>
                      <a:pt x="50" y="0"/>
                      <a:pt x="45" y="6"/>
                    </a:cubicBezTo>
                    <a:cubicBezTo>
                      <a:pt x="39" y="12"/>
                      <a:pt x="33" y="17"/>
                      <a:pt x="26" y="21"/>
                    </a:cubicBezTo>
                    <a:cubicBezTo>
                      <a:pt x="19" y="25"/>
                      <a:pt x="12" y="29"/>
                      <a:pt x="5" y="31"/>
                    </a:cubicBezTo>
                    <a:cubicBezTo>
                      <a:pt x="2" y="32"/>
                      <a:pt x="0" y="36"/>
                      <a:pt x="1" y="39"/>
                    </a:cubicBezTo>
                    <a:cubicBezTo>
                      <a:pt x="1" y="42"/>
                      <a:pt x="5" y="44"/>
                      <a:pt x="8" y="43"/>
                    </a:cubicBezTo>
                    <a:close/>
                    <a:moveTo>
                      <a:pt x="8" y="43"/>
                    </a:moveTo>
                    <a:cubicBezTo>
                      <a:pt x="8" y="43"/>
                      <a:pt x="8" y="43"/>
                      <a:pt x="8" y="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4" name="Freeform 13"/>
              <p:cNvSpPr>
                <a:spLocks noEditPoints="1"/>
              </p:cNvSpPr>
              <p:nvPr/>
            </p:nvSpPr>
            <p:spPr bwMode="auto">
              <a:xfrm>
                <a:off x="3824" y="2046"/>
                <a:ext cx="75" cy="78"/>
              </a:xfrm>
              <a:custGeom>
                <a:avLst/>
                <a:gdLst>
                  <a:gd name="T0" fmla="*/ 7 w 42"/>
                  <a:gd name="T1" fmla="*/ 44 h 44"/>
                  <a:gd name="T2" fmla="*/ 3 w 42"/>
                  <a:gd name="T3" fmla="*/ 42 h 44"/>
                  <a:gd name="T4" fmla="*/ 3 w 42"/>
                  <a:gd name="T5" fmla="*/ 33 h 44"/>
                  <a:gd name="T6" fmla="*/ 30 w 42"/>
                  <a:gd name="T7" fmla="*/ 4 h 44"/>
                  <a:gd name="T8" fmla="*/ 39 w 42"/>
                  <a:gd name="T9" fmla="*/ 2 h 44"/>
                  <a:gd name="T10" fmla="*/ 40 w 42"/>
                  <a:gd name="T11" fmla="*/ 11 h 44"/>
                  <a:gd name="T12" fmla="*/ 11 w 42"/>
                  <a:gd name="T13" fmla="*/ 43 h 44"/>
                  <a:gd name="T14" fmla="*/ 7 w 42"/>
                  <a:gd name="T15" fmla="*/ 44 h 44"/>
                  <a:gd name="T16" fmla="*/ 7 w 42"/>
                  <a:gd name="T17" fmla="*/ 44 h 44"/>
                  <a:gd name="T18" fmla="*/ 7 w 42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" h="44">
                    <a:moveTo>
                      <a:pt x="7" y="44"/>
                    </a:moveTo>
                    <a:cubicBezTo>
                      <a:pt x="6" y="44"/>
                      <a:pt x="4" y="44"/>
                      <a:pt x="3" y="42"/>
                    </a:cubicBezTo>
                    <a:cubicBezTo>
                      <a:pt x="0" y="40"/>
                      <a:pt x="1" y="36"/>
                      <a:pt x="3" y="33"/>
                    </a:cubicBezTo>
                    <a:cubicBezTo>
                      <a:pt x="14" y="24"/>
                      <a:pt x="23" y="14"/>
                      <a:pt x="30" y="4"/>
                    </a:cubicBezTo>
                    <a:cubicBezTo>
                      <a:pt x="32" y="1"/>
                      <a:pt x="36" y="0"/>
                      <a:pt x="39" y="2"/>
                    </a:cubicBezTo>
                    <a:cubicBezTo>
                      <a:pt x="42" y="4"/>
                      <a:pt x="42" y="8"/>
                      <a:pt x="40" y="11"/>
                    </a:cubicBezTo>
                    <a:cubicBezTo>
                      <a:pt x="33" y="22"/>
                      <a:pt x="23" y="33"/>
                      <a:pt x="11" y="43"/>
                    </a:cubicBezTo>
                    <a:cubicBezTo>
                      <a:pt x="10" y="44"/>
                      <a:pt x="9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5" name="Freeform 14"/>
              <p:cNvSpPr>
                <a:spLocks noEditPoints="1"/>
              </p:cNvSpPr>
              <p:nvPr/>
            </p:nvSpPr>
            <p:spPr bwMode="auto">
              <a:xfrm>
                <a:off x="3662" y="2139"/>
                <a:ext cx="139" cy="78"/>
              </a:xfrm>
              <a:custGeom>
                <a:avLst/>
                <a:gdLst>
                  <a:gd name="T0" fmla="*/ 7 w 77"/>
                  <a:gd name="T1" fmla="*/ 44 h 44"/>
                  <a:gd name="T2" fmla="*/ 1 w 77"/>
                  <a:gd name="T3" fmla="*/ 40 h 44"/>
                  <a:gd name="T4" fmla="*/ 5 w 77"/>
                  <a:gd name="T5" fmla="*/ 32 h 44"/>
                  <a:gd name="T6" fmla="*/ 5 w 77"/>
                  <a:gd name="T7" fmla="*/ 32 h 44"/>
                  <a:gd name="T8" fmla="*/ 47 w 77"/>
                  <a:gd name="T9" fmla="*/ 13 h 44"/>
                  <a:gd name="T10" fmla="*/ 67 w 77"/>
                  <a:gd name="T11" fmla="*/ 1 h 44"/>
                  <a:gd name="T12" fmla="*/ 75 w 77"/>
                  <a:gd name="T13" fmla="*/ 3 h 44"/>
                  <a:gd name="T14" fmla="*/ 74 w 77"/>
                  <a:gd name="T15" fmla="*/ 12 h 44"/>
                  <a:gd name="T16" fmla="*/ 53 w 77"/>
                  <a:gd name="T17" fmla="*/ 24 h 44"/>
                  <a:gd name="T18" fmla="*/ 9 w 77"/>
                  <a:gd name="T19" fmla="*/ 44 h 44"/>
                  <a:gd name="T20" fmla="*/ 9 w 77"/>
                  <a:gd name="T21" fmla="*/ 44 h 44"/>
                  <a:gd name="T22" fmla="*/ 7 w 77"/>
                  <a:gd name="T23" fmla="*/ 44 h 44"/>
                  <a:gd name="T24" fmla="*/ 7 w 77"/>
                  <a:gd name="T25" fmla="*/ 44 h 44"/>
                  <a:gd name="T26" fmla="*/ 7 w 77"/>
                  <a:gd name="T2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7" h="44">
                    <a:moveTo>
                      <a:pt x="7" y="44"/>
                    </a:moveTo>
                    <a:cubicBezTo>
                      <a:pt x="4" y="44"/>
                      <a:pt x="2" y="43"/>
                      <a:pt x="1" y="40"/>
                    </a:cubicBezTo>
                    <a:cubicBezTo>
                      <a:pt x="0" y="37"/>
                      <a:pt x="2" y="33"/>
                      <a:pt x="5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11" y="30"/>
                      <a:pt x="28" y="24"/>
                      <a:pt x="47" y="13"/>
                    </a:cubicBezTo>
                    <a:cubicBezTo>
                      <a:pt x="54" y="9"/>
                      <a:pt x="61" y="5"/>
                      <a:pt x="67" y="1"/>
                    </a:cubicBezTo>
                    <a:cubicBezTo>
                      <a:pt x="70" y="0"/>
                      <a:pt x="73" y="0"/>
                      <a:pt x="75" y="3"/>
                    </a:cubicBezTo>
                    <a:cubicBezTo>
                      <a:pt x="77" y="6"/>
                      <a:pt x="76" y="10"/>
                      <a:pt x="74" y="12"/>
                    </a:cubicBezTo>
                    <a:cubicBezTo>
                      <a:pt x="67" y="16"/>
                      <a:pt x="60" y="20"/>
                      <a:pt x="53" y="24"/>
                    </a:cubicBezTo>
                    <a:cubicBezTo>
                      <a:pt x="33" y="35"/>
                      <a:pt x="16" y="41"/>
                      <a:pt x="9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8" y="44"/>
                      <a:pt x="8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6" name="Freeform 15"/>
              <p:cNvSpPr>
                <a:spLocks noEditPoints="1"/>
              </p:cNvSpPr>
              <p:nvPr/>
            </p:nvSpPr>
            <p:spPr bwMode="auto">
              <a:xfrm>
                <a:off x="3801" y="2215"/>
                <a:ext cx="190" cy="89"/>
              </a:xfrm>
              <a:custGeom>
                <a:avLst/>
                <a:gdLst>
                  <a:gd name="T0" fmla="*/ 99 w 106"/>
                  <a:gd name="T1" fmla="*/ 50 h 50"/>
                  <a:gd name="T2" fmla="*/ 97 w 106"/>
                  <a:gd name="T3" fmla="*/ 49 h 50"/>
                  <a:gd name="T4" fmla="*/ 64 w 106"/>
                  <a:gd name="T5" fmla="*/ 30 h 50"/>
                  <a:gd name="T6" fmla="*/ 36 w 106"/>
                  <a:gd name="T7" fmla="*/ 14 h 50"/>
                  <a:gd name="T8" fmla="*/ 10 w 106"/>
                  <a:gd name="T9" fmla="*/ 29 h 50"/>
                  <a:gd name="T10" fmla="*/ 1 w 106"/>
                  <a:gd name="T11" fmla="*/ 27 h 50"/>
                  <a:gd name="T12" fmla="*/ 3 w 106"/>
                  <a:gd name="T13" fmla="*/ 18 h 50"/>
                  <a:gd name="T14" fmla="*/ 34 w 106"/>
                  <a:gd name="T15" fmla="*/ 2 h 50"/>
                  <a:gd name="T16" fmla="*/ 71 w 106"/>
                  <a:gd name="T17" fmla="*/ 20 h 50"/>
                  <a:gd name="T18" fmla="*/ 101 w 106"/>
                  <a:gd name="T19" fmla="*/ 37 h 50"/>
                  <a:gd name="T20" fmla="*/ 105 w 106"/>
                  <a:gd name="T21" fmla="*/ 45 h 50"/>
                  <a:gd name="T22" fmla="*/ 99 w 106"/>
                  <a:gd name="T23" fmla="*/ 50 h 50"/>
                  <a:gd name="T24" fmla="*/ 99 w 106"/>
                  <a:gd name="T25" fmla="*/ 50 h 50"/>
                  <a:gd name="T26" fmla="*/ 99 w 106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6" h="50">
                    <a:moveTo>
                      <a:pt x="99" y="50"/>
                    </a:moveTo>
                    <a:cubicBezTo>
                      <a:pt x="98" y="50"/>
                      <a:pt x="97" y="49"/>
                      <a:pt x="97" y="49"/>
                    </a:cubicBezTo>
                    <a:cubicBezTo>
                      <a:pt x="86" y="46"/>
                      <a:pt x="75" y="38"/>
                      <a:pt x="64" y="30"/>
                    </a:cubicBezTo>
                    <a:cubicBezTo>
                      <a:pt x="54" y="23"/>
                      <a:pt x="41" y="13"/>
                      <a:pt x="36" y="14"/>
                    </a:cubicBezTo>
                    <a:cubicBezTo>
                      <a:pt x="31" y="15"/>
                      <a:pt x="15" y="25"/>
                      <a:pt x="10" y="29"/>
                    </a:cubicBezTo>
                    <a:cubicBezTo>
                      <a:pt x="7" y="30"/>
                      <a:pt x="3" y="30"/>
                      <a:pt x="1" y="27"/>
                    </a:cubicBezTo>
                    <a:cubicBezTo>
                      <a:pt x="0" y="24"/>
                      <a:pt x="0" y="20"/>
                      <a:pt x="3" y="18"/>
                    </a:cubicBezTo>
                    <a:cubicBezTo>
                      <a:pt x="20" y="8"/>
                      <a:pt x="28" y="3"/>
                      <a:pt x="34" y="2"/>
                    </a:cubicBezTo>
                    <a:cubicBezTo>
                      <a:pt x="44" y="0"/>
                      <a:pt x="57" y="9"/>
                      <a:pt x="71" y="20"/>
                    </a:cubicBezTo>
                    <a:cubicBezTo>
                      <a:pt x="82" y="27"/>
                      <a:pt x="92" y="35"/>
                      <a:pt x="101" y="37"/>
                    </a:cubicBezTo>
                    <a:cubicBezTo>
                      <a:pt x="104" y="39"/>
                      <a:pt x="106" y="42"/>
                      <a:pt x="105" y="45"/>
                    </a:cubicBezTo>
                    <a:cubicBezTo>
                      <a:pt x="104" y="48"/>
                      <a:pt x="101" y="50"/>
                      <a:pt x="99" y="50"/>
                    </a:cubicBezTo>
                    <a:close/>
                    <a:moveTo>
                      <a:pt x="99" y="50"/>
                    </a:moveTo>
                    <a:cubicBezTo>
                      <a:pt x="99" y="50"/>
                      <a:pt x="99" y="50"/>
                      <a:pt x="99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7" name="Freeform 16"/>
              <p:cNvSpPr>
                <a:spLocks noEditPoints="1"/>
              </p:cNvSpPr>
              <p:nvPr/>
            </p:nvSpPr>
            <p:spPr bwMode="auto">
              <a:xfrm>
                <a:off x="3702" y="2260"/>
                <a:ext cx="100" cy="66"/>
              </a:xfrm>
              <a:custGeom>
                <a:avLst/>
                <a:gdLst>
                  <a:gd name="T0" fmla="*/ 7 w 56"/>
                  <a:gd name="T1" fmla="*/ 37 h 37"/>
                  <a:gd name="T2" fmla="*/ 1 w 56"/>
                  <a:gd name="T3" fmla="*/ 33 h 37"/>
                  <a:gd name="T4" fmla="*/ 5 w 56"/>
                  <a:gd name="T5" fmla="*/ 25 h 37"/>
                  <a:gd name="T6" fmla="*/ 45 w 56"/>
                  <a:gd name="T7" fmla="*/ 2 h 37"/>
                  <a:gd name="T8" fmla="*/ 54 w 56"/>
                  <a:gd name="T9" fmla="*/ 4 h 37"/>
                  <a:gd name="T10" fmla="*/ 52 w 56"/>
                  <a:gd name="T11" fmla="*/ 12 h 37"/>
                  <a:gd name="T12" fmla="*/ 9 w 56"/>
                  <a:gd name="T13" fmla="*/ 37 h 37"/>
                  <a:gd name="T14" fmla="*/ 7 w 56"/>
                  <a:gd name="T15" fmla="*/ 37 h 37"/>
                  <a:gd name="T16" fmla="*/ 7 w 56"/>
                  <a:gd name="T17" fmla="*/ 37 h 37"/>
                  <a:gd name="T18" fmla="*/ 7 w 56"/>
                  <a:gd name="T1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37">
                    <a:moveTo>
                      <a:pt x="7" y="37"/>
                    </a:moveTo>
                    <a:cubicBezTo>
                      <a:pt x="4" y="37"/>
                      <a:pt x="2" y="35"/>
                      <a:pt x="1" y="33"/>
                    </a:cubicBezTo>
                    <a:cubicBezTo>
                      <a:pt x="0" y="29"/>
                      <a:pt x="2" y="26"/>
                      <a:pt x="5" y="25"/>
                    </a:cubicBezTo>
                    <a:cubicBezTo>
                      <a:pt x="13" y="23"/>
                      <a:pt x="31" y="11"/>
                      <a:pt x="45" y="2"/>
                    </a:cubicBezTo>
                    <a:cubicBezTo>
                      <a:pt x="48" y="0"/>
                      <a:pt x="52" y="1"/>
                      <a:pt x="54" y="4"/>
                    </a:cubicBezTo>
                    <a:cubicBezTo>
                      <a:pt x="56" y="6"/>
                      <a:pt x="55" y="10"/>
                      <a:pt x="52" y="12"/>
                    </a:cubicBezTo>
                    <a:cubicBezTo>
                      <a:pt x="32" y="25"/>
                      <a:pt x="17" y="35"/>
                      <a:pt x="9" y="37"/>
                    </a:cubicBezTo>
                    <a:cubicBezTo>
                      <a:pt x="8" y="37"/>
                      <a:pt x="7" y="37"/>
                      <a:pt x="7" y="37"/>
                    </a:cubicBezTo>
                    <a:close/>
                    <a:moveTo>
                      <a:pt x="7" y="37"/>
                    </a:moveTo>
                    <a:cubicBezTo>
                      <a:pt x="7" y="37"/>
                      <a:pt x="7" y="37"/>
                      <a:pt x="7" y="3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8" name="Freeform 17"/>
              <p:cNvSpPr>
                <a:spLocks noEditPoints="1"/>
              </p:cNvSpPr>
              <p:nvPr/>
            </p:nvSpPr>
            <p:spPr bwMode="auto">
              <a:xfrm>
                <a:off x="3906" y="2319"/>
                <a:ext cx="56" cy="39"/>
              </a:xfrm>
              <a:custGeom>
                <a:avLst/>
                <a:gdLst>
                  <a:gd name="T0" fmla="*/ 24 w 31"/>
                  <a:gd name="T1" fmla="*/ 22 h 22"/>
                  <a:gd name="T2" fmla="*/ 22 w 31"/>
                  <a:gd name="T3" fmla="*/ 21 h 22"/>
                  <a:gd name="T4" fmla="*/ 4 w 31"/>
                  <a:gd name="T5" fmla="*/ 12 h 22"/>
                  <a:gd name="T6" fmla="*/ 2 w 31"/>
                  <a:gd name="T7" fmla="*/ 4 h 22"/>
                  <a:gd name="T8" fmla="*/ 11 w 31"/>
                  <a:gd name="T9" fmla="*/ 1 h 22"/>
                  <a:gd name="T10" fmla="*/ 26 w 31"/>
                  <a:gd name="T11" fmla="*/ 10 h 22"/>
                  <a:gd name="T12" fmla="*/ 30 w 31"/>
                  <a:gd name="T13" fmla="*/ 18 h 22"/>
                  <a:gd name="T14" fmla="*/ 24 w 31"/>
                  <a:gd name="T15" fmla="*/ 22 h 22"/>
                  <a:gd name="T16" fmla="*/ 24 w 31"/>
                  <a:gd name="T17" fmla="*/ 22 h 22"/>
                  <a:gd name="T18" fmla="*/ 24 w 31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22">
                    <a:moveTo>
                      <a:pt x="24" y="22"/>
                    </a:moveTo>
                    <a:cubicBezTo>
                      <a:pt x="23" y="22"/>
                      <a:pt x="23" y="22"/>
                      <a:pt x="22" y="21"/>
                    </a:cubicBezTo>
                    <a:cubicBezTo>
                      <a:pt x="17" y="20"/>
                      <a:pt x="10" y="16"/>
                      <a:pt x="4" y="12"/>
                    </a:cubicBezTo>
                    <a:cubicBezTo>
                      <a:pt x="1" y="10"/>
                      <a:pt x="0" y="6"/>
                      <a:pt x="2" y="4"/>
                    </a:cubicBezTo>
                    <a:cubicBezTo>
                      <a:pt x="4" y="1"/>
                      <a:pt x="8" y="0"/>
                      <a:pt x="11" y="1"/>
                    </a:cubicBezTo>
                    <a:cubicBezTo>
                      <a:pt x="16" y="5"/>
                      <a:pt x="22" y="8"/>
                      <a:pt x="26" y="10"/>
                    </a:cubicBezTo>
                    <a:cubicBezTo>
                      <a:pt x="29" y="11"/>
                      <a:pt x="31" y="15"/>
                      <a:pt x="30" y="18"/>
                    </a:cubicBezTo>
                    <a:cubicBezTo>
                      <a:pt x="29" y="20"/>
                      <a:pt x="27" y="22"/>
                      <a:pt x="24" y="22"/>
                    </a:cubicBezTo>
                    <a:close/>
                    <a:moveTo>
                      <a:pt x="24" y="22"/>
                    </a:moveTo>
                    <a:cubicBezTo>
                      <a:pt x="24" y="22"/>
                      <a:pt x="24" y="22"/>
                      <a:pt x="24" y="2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69" name="Freeform 18"/>
              <p:cNvSpPr>
                <a:spLocks noEditPoints="1"/>
              </p:cNvSpPr>
              <p:nvPr/>
            </p:nvSpPr>
            <p:spPr bwMode="auto">
              <a:xfrm>
                <a:off x="3741" y="2287"/>
                <a:ext cx="165" cy="89"/>
              </a:xfrm>
              <a:custGeom>
                <a:avLst/>
                <a:gdLst>
                  <a:gd name="T0" fmla="*/ 7 w 92"/>
                  <a:gd name="T1" fmla="*/ 50 h 50"/>
                  <a:gd name="T2" fmla="*/ 2 w 92"/>
                  <a:gd name="T3" fmla="*/ 47 h 50"/>
                  <a:gd name="T4" fmla="*/ 4 w 92"/>
                  <a:gd name="T5" fmla="*/ 39 h 50"/>
                  <a:gd name="T6" fmla="*/ 12 w 92"/>
                  <a:gd name="T7" fmla="*/ 33 h 50"/>
                  <a:gd name="T8" fmla="*/ 63 w 92"/>
                  <a:gd name="T9" fmla="*/ 1 h 50"/>
                  <a:gd name="T10" fmla="*/ 88 w 92"/>
                  <a:gd name="T11" fmla="*/ 10 h 50"/>
                  <a:gd name="T12" fmla="*/ 90 w 92"/>
                  <a:gd name="T13" fmla="*/ 19 h 50"/>
                  <a:gd name="T14" fmla="*/ 81 w 92"/>
                  <a:gd name="T15" fmla="*/ 21 h 50"/>
                  <a:gd name="T16" fmla="*/ 65 w 92"/>
                  <a:gd name="T17" fmla="*/ 13 h 50"/>
                  <a:gd name="T18" fmla="*/ 19 w 92"/>
                  <a:gd name="T19" fmla="*/ 43 h 50"/>
                  <a:gd name="T20" fmla="*/ 11 w 92"/>
                  <a:gd name="T21" fmla="*/ 49 h 50"/>
                  <a:gd name="T22" fmla="*/ 7 w 92"/>
                  <a:gd name="T23" fmla="*/ 50 h 50"/>
                  <a:gd name="T24" fmla="*/ 7 w 92"/>
                  <a:gd name="T25" fmla="*/ 50 h 50"/>
                  <a:gd name="T26" fmla="*/ 7 w 92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50">
                    <a:moveTo>
                      <a:pt x="7" y="50"/>
                    </a:moveTo>
                    <a:cubicBezTo>
                      <a:pt x="5" y="50"/>
                      <a:pt x="3" y="49"/>
                      <a:pt x="2" y="47"/>
                    </a:cubicBezTo>
                    <a:cubicBezTo>
                      <a:pt x="0" y="45"/>
                      <a:pt x="1" y="41"/>
                      <a:pt x="4" y="39"/>
                    </a:cubicBezTo>
                    <a:cubicBezTo>
                      <a:pt x="6" y="37"/>
                      <a:pt x="9" y="35"/>
                      <a:pt x="12" y="33"/>
                    </a:cubicBezTo>
                    <a:cubicBezTo>
                      <a:pt x="39" y="13"/>
                      <a:pt x="55" y="2"/>
                      <a:pt x="63" y="1"/>
                    </a:cubicBezTo>
                    <a:cubicBezTo>
                      <a:pt x="68" y="0"/>
                      <a:pt x="75" y="3"/>
                      <a:pt x="88" y="10"/>
                    </a:cubicBezTo>
                    <a:cubicBezTo>
                      <a:pt x="91" y="12"/>
                      <a:pt x="92" y="16"/>
                      <a:pt x="90" y="19"/>
                    </a:cubicBezTo>
                    <a:cubicBezTo>
                      <a:pt x="88" y="22"/>
                      <a:pt x="84" y="23"/>
                      <a:pt x="81" y="21"/>
                    </a:cubicBezTo>
                    <a:cubicBezTo>
                      <a:pt x="69" y="14"/>
                      <a:pt x="66" y="13"/>
                      <a:pt x="65" y="13"/>
                    </a:cubicBezTo>
                    <a:cubicBezTo>
                      <a:pt x="58" y="14"/>
                      <a:pt x="30" y="35"/>
                      <a:pt x="19" y="43"/>
                    </a:cubicBezTo>
                    <a:cubicBezTo>
                      <a:pt x="16" y="45"/>
                      <a:pt x="13" y="48"/>
                      <a:pt x="11" y="49"/>
                    </a:cubicBezTo>
                    <a:cubicBezTo>
                      <a:pt x="10" y="50"/>
                      <a:pt x="9" y="50"/>
                      <a:pt x="7" y="50"/>
                    </a:cubicBezTo>
                    <a:close/>
                    <a:moveTo>
                      <a:pt x="7" y="50"/>
                    </a:moveTo>
                    <a:cubicBezTo>
                      <a:pt x="7" y="50"/>
                      <a:pt x="7" y="50"/>
                      <a:pt x="7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70" name="Freeform 20"/>
              <p:cNvSpPr>
                <a:spLocks noEditPoints="1"/>
              </p:cNvSpPr>
              <p:nvPr/>
            </p:nvSpPr>
            <p:spPr bwMode="auto">
              <a:xfrm>
                <a:off x="3949" y="2108"/>
                <a:ext cx="72" cy="77"/>
              </a:xfrm>
              <a:custGeom>
                <a:avLst/>
                <a:gdLst>
                  <a:gd name="T0" fmla="*/ 1 w 40"/>
                  <a:gd name="T1" fmla="*/ 11 h 43"/>
                  <a:gd name="T2" fmla="*/ 30 w 40"/>
                  <a:gd name="T3" fmla="*/ 41 h 43"/>
                  <a:gd name="T4" fmla="*/ 38 w 40"/>
                  <a:gd name="T5" fmla="*/ 39 h 43"/>
                  <a:gd name="T6" fmla="*/ 36 w 40"/>
                  <a:gd name="T7" fmla="*/ 31 h 43"/>
                  <a:gd name="T8" fmla="*/ 21 w 40"/>
                  <a:gd name="T9" fmla="*/ 23 h 43"/>
                  <a:gd name="T10" fmla="*/ 13 w 40"/>
                  <a:gd name="T11" fmla="*/ 7 h 43"/>
                  <a:gd name="T12" fmla="*/ 1 w 40"/>
                  <a:gd name="T13" fmla="*/ 11 h 43"/>
                  <a:gd name="T14" fmla="*/ 1 w 40"/>
                  <a:gd name="T15" fmla="*/ 11 h 43"/>
                  <a:gd name="T16" fmla="*/ 1 w 40"/>
                  <a:gd name="T17" fmla="*/ 1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43">
                    <a:moveTo>
                      <a:pt x="1" y="11"/>
                    </a:moveTo>
                    <a:cubicBezTo>
                      <a:pt x="4" y="27"/>
                      <a:pt x="15" y="36"/>
                      <a:pt x="30" y="41"/>
                    </a:cubicBezTo>
                    <a:cubicBezTo>
                      <a:pt x="33" y="43"/>
                      <a:pt x="36" y="42"/>
                      <a:pt x="38" y="39"/>
                    </a:cubicBezTo>
                    <a:cubicBezTo>
                      <a:pt x="40" y="37"/>
                      <a:pt x="39" y="32"/>
                      <a:pt x="36" y="31"/>
                    </a:cubicBezTo>
                    <a:cubicBezTo>
                      <a:pt x="31" y="29"/>
                      <a:pt x="25" y="26"/>
                      <a:pt x="21" y="23"/>
                    </a:cubicBezTo>
                    <a:cubicBezTo>
                      <a:pt x="16" y="19"/>
                      <a:pt x="14" y="13"/>
                      <a:pt x="13" y="7"/>
                    </a:cubicBezTo>
                    <a:cubicBezTo>
                      <a:pt x="12" y="0"/>
                      <a:pt x="0" y="3"/>
                      <a:pt x="1" y="11"/>
                    </a:cubicBezTo>
                    <a:close/>
                    <a:moveTo>
                      <a:pt x="1" y="11"/>
                    </a:moveTo>
                    <a:cubicBezTo>
                      <a:pt x="1" y="11"/>
                      <a:pt x="1" y="11"/>
                      <a:pt x="1" y="1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71" name="Freeform 21"/>
              <p:cNvSpPr>
                <a:spLocks noEditPoints="1"/>
              </p:cNvSpPr>
              <p:nvPr/>
            </p:nvSpPr>
            <p:spPr bwMode="auto">
              <a:xfrm>
                <a:off x="3906" y="2160"/>
                <a:ext cx="99" cy="86"/>
              </a:xfrm>
              <a:custGeom>
                <a:avLst/>
                <a:gdLst>
                  <a:gd name="T0" fmla="*/ 1 w 55"/>
                  <a:gd name="T1" fmla="*/ 8 h 48"/>
                  <a:gd name="T2" fmla="*/ 44 w 55"/>
                  <a:gd name="T3" fmla="*/ 46 h 48"/>
                  <a:gd name="T4" fmla="*/ 48 w 55"/>
                  <a:gd name="T5" fmla="*/ 34 h 48"/>
                  <a:gd name="T6" fmla="*/ 35 w 55"/>
                  <a:gd name="T7" fmla="*/ 28 h 48"/>
                  <a:gd name="T8" fmla="*/ 13 w 55"/>
                  <a:gd name="T9" fmla="*/ 5 h 48"/>
                  <a:gd name="T10" fmla="*/ 6 w 55"/>
                  <a:gd name="T11" fmla="*/ 1 h 48"/>
                  <a:gd name="T12" fmla="*/ 1 w 55"/>
                  <a:gd name="T13" fmla="*/ 8 h 48"/>
                  <a:gd name="T14" fmla="*/ 1 w 55"/>
                  <a:gd name="T15" fmla="*/ 8 h 48"/>
                  <a:gd name="T16" fmla="*/ 1 w 55"/>
                  <a:gd name="T17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48">
                    <a:moveTo>
                      <a:pt x="1" y="8"/>
                    </a:moveTo>
                    <a:cubicBezTo>
                      <a:pt x="9" y="27"/>
                      <a:pt x="26" y="40"/>
                      <a:pt x="44" y="46"/>
                    </a:cubicBezTo>
                    <a:cubicBezTo>
                      <a:pt x="52" y="48"/>
                      <a:pt x="55" y="36"/>
                      <a:pt x="48" y="34"/>
                    </a:cubicBezTo>
                    <a:cubicBezTo>
                      <a:pt x="43" y="33"/>
                      <a:pt x="40" y="31"/>
                      <a:pt x="35" y="28"/>
                    </a:cubicBezTo>
                    <a:cubicBezTo>
                      <a:pt x="26" y="23"/>
                      <a:pt x="17" y="15"/>
                      <a:pt x="13" y="5"/>
                    </a:cubicBezTo>
                    <a:cubicBezTo>
                      <a:pt x="12" y="2"/>
                      <a:pt x="9" y="0"/>
                      <a:pt x="6" y="1"/>
                    </a:cubicBezTo>
                    <a:cubicBezTo>
                      <a:pt x="3" y="2"/>
                      <a:pt x="0" y="5"/>
                      <a:pt x="1" y="8"/>
                    </a:cubicBezTo>
                    <a:close/>
                    <a:moveTo>
                      <a:pt x="1" y="8"/>
                    </a:moveTo>
                    <a:cubicBezTo>
                      <a:pt x="1" y="8"/>
                      <a:pt x="1" y="8"/>
                      <a:pt x="1" y="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</p:grpSp>
        <p:grpSp>
          <p:nvGrpSpPr>
            <p:cNvPr id="74" name="Group 15"/>
            <p:cNvGrpSpPr>
              <a:grpSpLocks noChangeAspect="1"/>
            </p:cNvGrpSpPr>
            <p:nvPr/>
          </p:nvGrpSpPr>
          <p:grpSpPr bwMode="auto">
            <a:xfrm>
              <a:off x="702225" y="267251"/>
              <a:ext cx="94846" cy="95277"/>
              <a:chOff x="4843" y="2141"/>
              <a:chExt cx="220" cy="22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75" name="Freeform 16"/>
              <p:cNvSpPr>
                <a:spLocks/>
              </p:cNvSpPr>
              <p:nvPr/>
            </p:nvSpPr>
            <p:spPr bwMode="auto">
              <a:xfrm>
                <a:off x="4843" y="2298"/>
                <a:ext cx="184" cy="64"/>
              </a:xfrm>
              <a:custGeom>
                <a:avLst/>
                <a:gdLst>
                  <a:gd name="T0" fmla="*/ 584 w 1371"/>
                  <a:gd name="T1" fmla="*/ 473 h 473"/>
                  <a:gd name="T2" fmla="*/ 489 w 1371"/>
                  <a:gd name="T3" fmla="*/ 464 h 473"/>
                  <a:gd name="T4" fmla="*/ 142 w 1371"/>
                  <a:gd name="T5" fmla="*/ 375 h 473"/>
                  <a:gd name="T6" fmla="*/ 18 w 1371"/>
                  <a:gd name="T7" fmla="*/ 273 h 473"/>
                  <a:gd name="T8" fmla="*/ 0 w 1371"/>
                  <a:gd name="T9" fmla="*/ 213 h 473"/>
                  <a:gd name="T10" fmla="*/ 0 w 1371"/>
                  <a:gd name="T11" fmla="*/ 17 h 473"/>
                  <a:gd name="T12" fmla="*/ 13 w 1371"/>
                  <a:gd name="T13" fmla="*/ 8 h 473"/>
                  <a:gd name="T14" fmla="*/ 285 w 1371"/>
                  <a:gd name="T15" fmla="*/ 107 h 473"/>
                  <a:gd name="T16" fmla="*/ 769 w 1371"/>
                  <a:gd name="T17" fmla="*/ 141 h 473"/>
                  <a:gd name="T18" fmla="*/ 1176 w 1371"/>
                  <a:gd name="T19" fmla="*/ 85 h 473"/>
                  <a:gd name="T20" fmla="*/ 1352 w 1371"/>
                  <a:gd name="T21" fmla="*/ 10 h 473"/>
                  <a:gd name="T22" fmla="*/ 1365 w 1371"/>
                  <a:gd name="T23" fmla="*/ 5 h 473"/>
                  <a:gd name="T24" fmla="*/ 1369 w 1371"/>
                  <a:gd name="T25" fmla="*/ 20 h 473"/>
                  <a:gd name="T26" fmla="*/ 1369 w 1371"/>
                  <a:gd name="T27" fmla="*/ 218 h 473"/>
                  <a:gd name="T28" fmla="*/ 1333 w 1371"/>
                  <a:gd name="T29" fmla="*/ 298 h 473"/>
                  <a:gd name="T30" fmla="*/ 1178 w 1371"/>
                  <a:gd name="T31" fmla="*/ 396 h 473"/>
                  <a:gd name="T32" fmla="*/ 876 w 1371"/>
                  <a:gd name="T33" fmla="*/ 464 h 473"/>
                  <a:gd name="T34" fmla="*/ 786 w 1371"/>
                  <a:gd name="T35" fmla="*/ 473 h 473"/>
                  <a:gd name="T36" fmla="*/ 584 w 1371"/>
                  <a:gd name="T37" fmla="*/ 473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71" h="473">
                    <a:moveTo>
                      <a:pt x="584" y="473"/>
                    </a:moveTo>
                    <a:cubicBezTo>
                      <a:pt x="552" y="470"/>
                      <a:pt x="520" y="467"/>
                      <a:pt x="489" y="464"/>
                    </a:cubicBezTo>
                    <a:cubicBezTo>
                      <a:pt x="369" y="450"/>
                      <a:pt x="252" y="427"/>
                      <a:pt x="142" y="375"/>
                    </a:cubicBezTo>
                    <a:cubicBezTo>
                      <a:pt x="93" y="351"/>
                      <a:pt x="47" y="322"/>
                      <a:pt x="18" y="273"/>
                    </a:cubicBezTo>
                    <a:cubicBezTo>
                      <a:pt x="7" y="255"/>
                      <a:pt x="0" y="235"/>
                      <a:pt x="0" y="213"/>
                    </a:cubicBezTo>
                    <a:cubicBezTo>
                      <a:pt x="1" y="148"/>
                      <a:pt x="1" y="82"/>
                      <a:pt x="0" y="17"/>
                    </a:cubicBezTo>
                    <a:cubicBezTo>
                      <a:pt x="0" y="8"/>
                      <a:pt x="1" y="0"/>
                      <a:pt x="13" y="8"/>
                    </a:cubicBezTo>
                    <a:cubicBezTo>
                      <a:pt x="97" y="61"/>
                      <a:pt x="190" y="87"/>
                      <a:pt x="285" y="107"/>
                    </a:cubicBezTo>
                    <a:cubicBezTo>
                      <a:pt x="445" y="140"/>
                      <a:pt x="607" y="146"/>
                      <a:pt x="769" y="141"/>
                    </a:cubicBezTo>
                    <a:cubicBezTo>
                      <a:pt x="906" y="137"/>
                      <a:pt x="1043" y="123"/>
                      <a:pt x="1176" y="85"/>
                    </a:cubicBezTo>
                    <a:cubicBezTo>
                      <a:pt x="1238" y="67"/>
                      <a:pt x="1298" y="45"/>
                      <a:pt x="1352" y="10"/>
                    </a:cubicBezTo>
                    <a:cubicBezTo>
                      <a:pt x="1356" y="8"/>
                      <a:pt x="1360" y="3"/>
                      <a:pt x="1365" y="5"/>
                    </a:cubicBezTo>
                    <a:cubicBezTo>
                      <a:pt x="1371" y="8"/>
                      <a:pt x="1369" y="15"/>
                      <a:pt x="1369" y="20"/>
                    </a:cubicBezTo>
                    <a:cubicBezTo>
                      <a:pt x="1369" y="86"/>
                      <a:pt x="1369" y="152"/>
                      <a:pt x="1369" y="218"/>
                    </a:cubicBezTo>
                    <a:cubicBezTo>
                      <a:pt x="1368" y="249"/>
                      <a:pt x="1353" y="275"/>
                      <a:pt x="1333" y="298"/>
                    </a:cubicBezTo>
                    <a:cubicBezTo>
                      <a:pt x="1291" y="346"/>
                      <a:pt x="1236" y="373"/>
                      <a:pt x="1178" y="396"/>
                    </a:cubicBezTo>
                    <a:cubicBezTo>
                      <a:pt x="1081" y="434"/>
                      <a:pt x="979" y="453"/>
                      <a:pt x="876" y="464"/>
                    </a:cubicBezTo>
                    <a:cubicBezTo>
                      <a:pt x="846" y="467"/>
                      <a:pt x="816" y="470"/>
                      <a:pt x="786" y="473"/>
                    </a:cubicBezTo>
                    <a:cubicBezTo>
                      <a:pt x="718" y="473"/>
                      <a:pt x="651" y="473"/>
                      <a:pt x="584" y="4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Freeform 17"/>
              <p:cNvSpPr>
                <a:spLocks/>
              </p:cNvSpPr>
              <p:nvPr/>
            </p:nvSpPr>
            <p:spPr bwMode="auto">
              <a:xfrm>
                <a:off x="4894" y="2141"/>
                <a:ext cx="169" cy="56"/>
              </a:xfrm>
              <a:custGeom>
                <a:avLst/>
                <a:gdLst>
                  <a:gd name="T0" fmla="*/ 1263 w 1263"/>
                  <a:gd name="T1" fmla="*/ 314 h 416"/>
                  <a:gd name="T2" fmla="*/ 1114 w 1263"/>
                  <a:gd name="T3" fmla="*/ 395 h 416"/>
                  <a:gd name="T4" fmla="*/ 1056 w 1263"/>
                  <a:gd name="T5" fmla="*/ 413 h 416"/>
                  <a:gd name="T6" fmla="*/ 1042 w 1263"/>
                  <a:gd name="T7" fmla="*/ 403 h 416"/>
                  <a:gd name="T8" fmla="*/ 943 w 1263"/>
                  <a:gd name="T9" fmla="*/ 233 h 416"/>
                  <a:gd name="T10" fmla="*/ 696 w 1263"/>
                  <a:gd name="T11" fmla="*/ 132 h 416"/>
                  <a:gd name="T12" fmla="*/ 462 w 1263"/>
                  <a:gd name="T13" fmla="*/ 99 h 416"/>
                  <a:gd name="T14" fmla="*/ 243 w 1263"/>
                  <a:gd name="T15" fmla="*/ 97 h 416"/>
                  <a:gd name="T16" fmla="*/ 15 w 1263"/>
                  <a:gd name="T17" fmla="*/ 124 h 416"/>
                  <a:gd name="T18" fmla="*/ 0 w 1263"/>
                  <a:gd name="T19" fmla="*/ 122 h 416"/>
                  <a:gd name="T20" fmla="*/ 47 w 1263"/>
                  <a:gd name="T21" fmla="*/ 96 h 416"/>
                  <a:gd name="T22" fmla="*/ 354 w 1263"/>
                  <a:gd name="T23" fmla="*/ 15 h 416"/>
                  <a:gd name="T24" fmla="*/ 648 w 1263"/>
                  <a:gd name="T25" fmla="*/ 3 h 416"/>
                  <a:gd name="T26" fmla="*/ 1057 w 1263"/>
                  <a:gd name="T27" fmla="*/ 72 h 416"/>
                  <a:gd name="T28" fmla="*/ 1213 w 1263"/>
                  <a:gd name="T29" fmla="*/ 162 h 416"/>
                  <a:gd name="T30" fmla="*/ 1263 w 1263"/>
                  <a:gd name="T31" fmla="*/ 237 h 416"/>
                  <a:gd name="T32" fmla="*/ 1263 w 1263"/>
                  <a:gd name="T33" fmla="*/ 314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63" h="416">
                    <a:moveTo>
                      <a:pt x="1263" y="314"/>
                    </a:moveTo>
                    <a:cubicBezTo>
                      <a:pt x="1221" y="355"/>
                      <a:pt x="1168" y="375"/>
                      <a:pt x="1114" y="395"/>
                    </a:cubicBezTo>
                    <a:cubicBezTo>
                      <a:pt x="1095" y="402"/>
                      <a:pt x="1075" y="407"/>
                      <a:pt x="1056" y="413"/>
                    </a:cubicBezTo>
                    <a:cubicBezTo>
                      <a:pt x="1046" y="416"/>
                      <a:pt x="1041" y="413"/>
                      <a:pt x="1042" y="403"/>
                    </a:cubicBezTo>
                    <a:cubicBezTo>
                      <a:pt x="1048" y="323"/>
                      <a:pt x="1001" y="274"/>
                      <a:pt x="943" y="233"/>
                    </a:cubicBezTo>
                    <a:cubicBezTo>
                      <a:pt x="868" y="181"/>
                      <a:pt x="783" y="153"/>
                      <a:pt x="696" y="132"/>
                    </a:cubicBezTo>
                    <a:cubicBezTo>
                      <a:pt x="619" y="114"/>
                      <a:pt x="541" y="105"/>
                      <a:pt x="462" y="99"/>
                    </a:cubicBezTo>
                    <a:cubicBezTo>
                      <a:pt x="389" y="94"/>
                      <a:pt x="316" y="95"/>
                      <a:pt x="243" y="97"/>
                    </a:cubicBezTo>
                    <a:cubicBezTo>
                      <a:pt x="166" y="100"/>
                      <a:pt x="90" y="109"/>
                      <a:pt x="15" y="124"/>
                    </a:cubicBezTo>
                    <a:cubicBezTo>
                      <a:pt x="11" y="124"/>
                      <a:pt x="7" y="126"/>
                      <a:pt x="0" y="122"/>
                    </a:cubicBezTo>
                    <a:cubicBezTo>
                      <a:pt x="17" y="113"/>
                      <a:pt x="31" y="104"/>
                      <a:pt x="47" y="96"/>
                    </a:cubicBezTo>
                    <a:cubicBezTo>
                      <a:pt x="144" y="51"/>
                      <a:pt x="248" y="29"/>
                      <a:pt x="354" y="15"/>
                    </a:cubicBezTo>
                    <a:cubicBezTo>
                      <a:pt x="452" y="2"/>
                      <a:pt x="550" y="0"/>
                      <a:pt x="648" y="3"/>
                    </a:cubicBezTo>
                    <a:cubicBezTo>
                      <a:pt x="787" y="7"/>
                      <a:pt x="925" y="23"/>
                      <a:pt x="1057" y="72"/>
                    </a:cubicBezTo>
                    <a:cubicBezTo>
                      <a:pt x="1114" y="93"/>
                      <a:pt x="1168" y="120"/>
                      <a:pt x="1213" y="162"/>
                    </a:cubicBezTo>
                    <a:cubicBezTo>
                      <a:pt x="1236" y="183"/>
                      <a:pt x="1251" y="209"/>
                      <a:pt x="1263" y="237"/>
                    </a:cubicBezTo>
                    <a:cubicBezTo>
                      <a:pt x="1263" y="262"/>
                      <a:pt x="1263" y="288"/>
                      <a:pt x="1263" y="3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Freeform 18"/>
              <p:cNvSpPr>
                <a:spLocks/>
              </p:cNvSpPr>
              <p:nvPr/>
            </p:nvSpPr>
            <p:spPr bwMode="auto">
              <a:xfrm>
                <a:off x="5034" y="2192"/>
                <a:ext cx="29" cy="48"/>
              </a:xfrm>
              <a:custGeom>
                <a:avLst/>
                <a:gdLst>
                  <a:gd name="T0" fmla="*/ 221 w 221"/>
                  <a:gd name="T1" fmla="*/ 259 h 360"/>
                  <a:gd name="T2" fmla="*/ 52 w 221"/>
                  <a:gd name="T3" fmla="*/ 345 h 360"/>
                  <a:gd name="T4" fmla="*/ 13 w 221"/>
                  <a:gd name="T5" fmla="*/ 357 h 360"/>
                  <a:gd name="T6" fmla="*/ 0 w 221"/>
                  <a:gd name="T7" fmla="*/ 347 h 360"/>
                  <a:gd name="T8" fmla="*/ 0 w 221"/>
                  <a:gd name="T9" fmla="*/ 338 h 360"/>
                  <a:gd name="T10" fmla="*/ 0 w 221"/>
                  <a:gd name="T11" fmla="*/ 106 h 360"/>
                  <a:gd name="T12" fmla="*/ 19 w 221"/>
                  <a:gd name="T13" fmla="*/ 80 h 360"/>
                  <a:gd name="T14" fmla="*/ 215 w 221"/>
                  <a:gd name="T15" fmla="*/ 1 h 360"/>
                  <a:gd name="T16" fmla="*/ 221 w 221"/>
                  <a:gd name="T17" fmla="*/ 0 h 360"/>
                  <a:gd name="T18" fmla="*/ 221 w 221"/>
                  <a:gd name="T19" fmla="*/ 259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1" h="360">
                    <a:moveTo>
                      <a:pt x="221" y="259"/>
                    </a:moveTo>
                    <a:cubicBezTo>
                      <a:pt x="172" y="302"/>
                      <a:pt x="113" y="326"/>
                      <a:pt x="52" y="345"/>
                    </a:cubicBezTo>
                    <a:cubicBezTo>
                      <a:pt x="39" y="349"/>
                      <a:pt x="26" y="353"/>
                      <a:pt x="13" y="357"/>
                    </a:cubicBezTo>
                    <a:cubicBezTo>
                      <a:pt x="4" y="360"/>
                      <a:pt x="0" y="356"/>
                      <a:pt x="0" y="347"/>
                    </a:cubicBezTo>
                    <a:cubicBezTo>
                      <a:pt x="0" y="344"/>
                      <a:pt x="0" y="341"/>
                      <a:pt x="0" y="338"/>
                    </a:cubicBezTo>
                    <a:cubicBezTo>
                      <a:pt x="0" y="260"/>
                      <a:pt x="0" y="183"/>
                      <a:pt x="0" y="106"/>
                    </a:cubicBezTo>
                    <a:cubicBezTo>
                      <a:pt x="0" y="91"/>
                      <a:pt x="4" y="84"/>
                      <a:pt x="19" y="80"/>
                    </a:cubicBezTo>
                    <a:cubicBezTo>
                      <a:pt x="87" y="62"/>
                      <a:pt x="154" y="39"/>
                      <a:pt x="215" y="1"/>
                    </a:cubicBezTo>
                    <a:cubicBezTo>
                      <a:pt x="217" y="0"/>
                      <a:pt x="219" y="0"/>
                      <a:pt x="221" y="0"/>
                    </a:cubicBezTo>
                    <a:cubicBezTo>
                      <a:pt x="221" y="86"/>
                      <a:pt x="221" y="172"/>
                      <a:pt x="221" y="2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 19"/>
              <p:cNvSpPr>
                <a:spLocks/>
              </p:cNvSpPr>
              <p:nvPr/>
            </p:nvSpPr>
            <p:spPr bwMode="auto">
              <a:xfrm>
                <a:off x="5034" y="2235"/>
                <a:ext cx="29" cy="49"/>
              </a:xfrm>
              <a:custGeom>
                <a:avLst/>
                <a:gdLst>
                  <a:gd name="T0" fmla="*/ 221 w 221"/>
                  <a:gd name="T1" fmla="*/ 262 h 362"/>
                  <a:gd name="T2" fmla="*/ 19 w 221"/>
                  <a:gd name="T3" fmla="*/ 357 h 362"/>
                  <a:gd name="T4" fmla="*/ 0 w 221"/>
                  <a:gd name="T5" fmla="*/ 344 h 362"/>
                  <a:gd name="T6" fmla="*/ 0 w 221"/>
                  <a:gd name="T7" fmla="*/ 111 h 362"/>
                  <a:gd name="T8" fmla="*/ 17 w 221"/>
                  <a:gd name="T9" fmla="*/ 87 h 362"/>
                  <a:gd name="T10" fmla="*/ 179 w 221"/>
                  <a:gd name="T11" fmla="*/ 23 h 362"/>
                  <a:gd name="T12" fmla="*/ 221 w 221"/>
                  <a:gd name="T13" fmla="*/ 0 h 362"/>
                  <a:gd name="T14" fmla="*/ 221 w 221"/>
                  <a:gd name="T15" fmla="*/ 2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1" h="362">
                    <a:moveTo>
                      <a:pt x="221" y="262"/>
                    </a:moveTo>
                    <a:cubicBezTo>
                      <a:pt x="162" y="311"/>
                      <a:pt x="91" y="336"/>
                      <a:pt x="19" y="357"/>
                    </a:cubicBezTo>
                    <a:cubicBezTo>
                      <a:pt x="2" y="362"/>
                      <a:pt x="0" y="361"/>
                      <a:pt x="0" y="344"/>
                    </a:cubicBezTo>
                    <a:cubicBezTo>
                      <a:pt x="0" y="266"/>
                      <a:pt x="0" y="188"/>
                      <a:pt x="0" y="111"/>
                    </a:cubicBezTo>
                    <a:cubicBezTo>
                      <a:pt x="0" y="97"/>
                      <a:pt x="5" y="91"/>
                      <a:pt x="17" y="87"/>
                    </a:cubicBezTo>
                    <a:cubicBezTo>
                      <a:pt x="72" y="68"/>
                      <a:pt x="128" y="51"/>
                      <a:pt x="179" y="23"/>
                    </a:cubicBezTo>
                    <a:cubicBezTo>
                      <a:pt x="193" y="16"/>
                      <a:pt x="207" y="8"/>
                      <a:pt x="221" y="0"/>
                    </a:cubicBezTo>
                    <a:cubicBezTo>
                      <a:pt x="221" y="87"/>
                      <a:pt x="221" y="175"/>
                      <a:pt x="221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20"/>
              <p:cNvSpPr>
                <a:spLocks/>
              </p:cNvSpPr>
              <p:nvPr/>
            </p:nvSpPr>
            <p:spPr bwMode="auto">
              <a:xfrm>
                <a:off x="5034" y="2279"/>
                <a:ext cx="29" cy="54"/>
              </a:xfrm>
              <a:custGeom>
                <a:avLst/>
                <a:gdLst>
                  <a:gd name="T0" fmla="*/ 216 w 216"/>
                  <a:gd name="T1" fmla="*/ 237 h 402"/>
                  <a:gd name="T2" fmla="*/ 39 w 216"/>
                  <a:gd name="T3" fmla="*/ 388 h 402"/>
                  <a:gd name="T4" fmla="*/ 10 w 216"/>
                  <a:gd name="T5" fmla="*/ 400 h 402"/>
                  <a:gd name="T6" fmla="*/ 4 w 216"/>
                  <a:gd name="T7" fmla="*/ 393 h 402"/>
                  <a:gd name="T8" fmla="*/ 23 w 216"/>
                  <a:gd name="T9" fmla="*/ 269 h 402"/>
                  <a:gd name="T10" fmla="*/ 23 w 216"/>
                  <a:gd name="T11" fmla="*/ 106 h 402"/>
                  <a:gd name="T12" fmla="*/ 33 w 216"/>
                  <a:gd name="T13" fmla="*/ 84 h 402"/>
                  <a:gd name="T14" fmla="*/ 211 w 216"/>
                  <a:gd name="T15" fmla="*/ 1 h 402"/>
                  <a:gd name="T16" fmla="*/ 216 w 216"/>
                  <a:gd name="T17" fmla="*/ 0 h 402"/>
                  <a:gd name="T18" fmla="*/ 216 w 216"/>
                  <a:gd name="T19" fmla="*/ 237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6" h="402">
                    <a:moveTo>
                      <a:pt x="216" y="237"/>
                    </a:moveTo>
                    <a:cubicBezTo>
                      <a:pt x="185" y="320"/>
                      <a:pt x="113" y="355"/>
                      <a:pt x="39" y="388"/>
                    </a:cubicBezTo>
                    <a:cubicBezTo>
                      <a:pt x="30" y="393"/>
                      <a:pt x="20" y="396"/>
                      <a:pt x="10" y="400"/>
                    </a:cubicBezTo>
                    <a:cubicBezTo>
                      <a:pt x="3" y="402"/>
                      <a:pt x="0" y="399"/>
                      <a:pt x="4" y="393"/>
                    </a:cubicBezTo>
                    <a:cubicBezTo>
                      <a:pt x="28" y="354"/>
                      <a:pt x="23" y="311"/>
                      <a:pt x="23" y="269"/>
                    </a:cubicBezTo>
                    <a:cubicBezTo>
                      <a:pt x="23" y="214"/>
                      <a:pt x="23" y="160"/>
                      <a:pt x="23" y="106"/>
                    </a:cubicBezTo>
                    <a:cubicBezTo>
                      <a:pt x="23" y="97"/>
                      <a:pt x="23" y="89"/>
                      <a:pt x="33" y="84"/>
                    </a:cubicBezTo>
                    <a:cubicBezTo>
                      <a:pt x="93" y="57"/>
                      <a:pt x="152" y="29"/>
                      <a:pt x="211" y="1"/>
                    </a:cubicBezTo>
                    <a:cubicBezTo>
                      <a:pt x="213" y="0"/>
                      <a:pt x="214" y="0"/>
                      <a:pt x="216" y="0"/>
                    </a:cubicBezTo>
                    <a:cubicBezTo>
                      <a:pt x="216" y="79"/>
                      <a:pt x="216" y="158"/>
                      <a:pt x="216" y="2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21"/>
              <p:cNvSpPr>
                <a:spLocks/>
              </p:cNvSpPr>
              <p:nvPr/>
            </p:nvSpPr>
            <p:spPr bwMode="auto">
              <a:xfrm>
                <a:off x="4843" y="2161"/>
                <a:ext cx="184" cy="63"/>
              </a:xfrm>
              <a:custGeom>
                <a:avLst/>
                <a:gdLst>
                  <a:gd name="T0" fmla="*/ 689 w 1377"/>
                  <a:gd name="T1" fmla="*/ 0 h 468"/>
                  <a:gd name="T2" fmla="*/ 1073 w 1377"/>
                  <a:gd name="T3" fmla="*/ 42 h 468"/>
                  <a:gd name="T4" fmla="*/ 1298 w 1377"/>
                  <a:gd name="T5" fmla="*/ 141 h 468"/>
                  <a:gd name="T6" fmla="*/ 1369 w 1377"/>
                  <a:gd name="T7" fmla="*/ 235 h 468"/>
                  <a:gd name="T8" fmla="*/ 1372 w 1377"/>
                  <a:gd name="T9" fmla="*/ 308 h 468"/>
                  <a:gd name="T10" fmla="*/ 1350 w 1377"/>
                  <a:gd name="T11" fmla="*/ 330 h 468"/>
                  <a:gd name="T12" fmla="*/ 1252 w 1377"/>
                  <a:gd name="T13" fmla="*/ 383 h 468"/>
                  <a:gd name="T14" fmla="*/ 965 w 1377"/>
                  <a:gd name="T15" fmla="*/ 450 h 468"/>
                  <a:gd name="T16" fmla="*/ 703 w 1377"/>
                  <a:gd name="T17" fmla="*/ 468 h 468"/>
                  <a:gd name="T18" fmla="*/ 472 w 1377"/>
                  <a:gd name="T19" fmla="*/ 457 h 468"/>
                  <a:gd name="T20" fmla="*/ 204 w 1377"/>
                  <a:gd name="T21" fmla="*/ 409 h 468"/>
                  <a:gd name="T22" fmla="*/ 30 w 1377"/>
                  <a:gd name="T23" fmla="*/ 333 h 468"/>
                  <a:gd name="T24" fmla="*/ 4 w 1377"/>
                  <a:gd name="T25" fmla="*/ 284 h 468"/>
                  <a:gd name="T26" fmla="*/ 75 w 1377"/>
                  <a:gd name="T27" fmla="*/ 143 h 468"/>
                  <a:gd name="T28" fmla="*/ 304 w 1377"/>
                  <a:gd name="T29" fmla="*/ 42 h 468"/>
                  <a:gd name="T30" fmla="*/ 584 w 1377"/>
                  <a:gd name="T31" fmla="*/ 3 h 468"/>
                  <a:gd name="T32" fmla="*/ 689 w 1377"/>
                  <a:gd name="T33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7" h="468">
                    <a:moveTo>
                      <a:pt x="689" y="0"/>
                    </a:moveTo>
                    <a:cubicBezTo>
                      <a:pt x="819" y="0"/>
                      <a:pt x="947" y="10"/>
                      <a:pt x="1073" y="42"/>
                    </a:cubicBezTo>
                    <a:cubicBezTo>
                      <a:pt x="1153" y="62"/>
                      <a:pt x="1231" y="90"/>
                      <a:pt x="1298" y="141"/>
                    </a:cubicBezTo>
                    <a:cubicBezTo>
                      <a:pt x="1331" y="165"/>
                      <a:pt x="1357" y="195"/>
                      <a:pt x="1369" y="235"/>
                    </a:cubicBezTo>
                    <a:cubicBezTo>
                      <a:pt x="1377" y="259"/>
                      <a:pt x="1373" y="283"/>
                      <a:pt x="1372" y="308"/>
                    </a:cubicBezTo>
                    <a:cubicBezTo>
                      <a:pt x="1371" y="318"/>
                      <a:pt x="1359" y="324"/>
                      <a:pt x="1350" y="330"/>
                    </a:cubicBezTo>
                    <a:cubicBezTo>
                      <a:pt x="1320" y="353"/>
                      <a:pt x="1287" y="369"/>
                      <a:pt x="1252" y="383"/>
                    </a:cubicBezTo>
                    <a:cubicBezTo>
                      <a:pt x="1159" y="418"/>
                      <a:pt x="1063" y="437"/>
                      <a:pt x="965" y="450"/>
                    </a:cubicBezTo>
                    <a:cubicBezTo>
                      <a:pt x="878" y="462"/>
                      <a:pt x="791" y="467"/>
                      <a:pt x="703" y="468"/>
                    </a:cubicBezTo>
                    <a:cubicBezTo>
                      <a:pt x="626" y="468"/>
                      <a:pt x="549" y="465"/>
                      <a:pt x="472" y="457"/>
                    </a:cubicBezTo>
                    <a:cubicBezTo>
                      <a:pt x="381" y="448"/>
                      <a:pt x="292" y="434"/>
                      <a:pt x="204" y="409"/>
                    </a:cubicBezTo>
                    <a:cubicBezTo>
                      <a:pt x="143" y="391"/>
                      <a:pt x="83" y="370"/>
                      <a:pt x="30" y="333"/>
                    </a:cubicBezTo>
                    <a:cubicBezTo>
                      <a:pt x="12" y="321"/>
                      <a:pt x="5" y="307"/>
                      <a:pt x="4" y="284"/>
                    </a:cubicBezTo>
                    <a:cubicBezTo>
                      <a:pt x="0" y="222"/>
                      <a:pt x="30" y="179"/>
                      <a:pt x="75" y="143"/>
                    </a:cubicBezTo>
                    <a:cubicBezTo>
                      <a:pt x="143" y="90"/>
                      <a:pt x="222" y="63"/>
                      <a:pt x="304" y="42"/>
                    </a:cubicBezTo>
                    <a:cubicBezTo>
                      <a:pt x="396" y="19"/>
                      <a:pt x="489" y="7"/>
                      <a:pt x="584" y="3"/>
                    </a:cubicBezTo>
                    <a:cubicBezTo>
                      <a:pt x="619" y="1"/>
                      <a:pt x="654" y="1"/>
                      <a:pt x="68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Freeform 22"/>
              <p:cNvSpPr>
                <a:spLocks/>
              </p:cNvSpPr>
              <p:nvPr/>
            </p:nvSpPr>
            <p:spPr bwMode="auto">
              <a:xfrm>
                <a:off x="4843" y="2211"/>
                <a:ext cx="184" cy="56"/>
              </a:xfrm>
              <a:custGeom>
                <a:avLst/>
                <a:gdLst>
                  <a:gd name="T0" fmla="*/ 1 w 1370"/>
                  <a:gd name="T1" fmla="*/ 131 h 418"/>
                  <a:gd name="T2" fmla="*/ 1 w 1370"/>
                  <a:gd name="T3" fmla="*/ 15 h 418"/>
                  <a:gd name="T4" fmla="*/ 14 w 1370"/>
                  <a:gd name="T5" fmla="*/ 7 h 418"/>
                  <a:gd name="T6" fmla="*/ 261 w 1370"/>
                  <a:gd name="T7" fmla="*/ 96 h 418"/>
                  <a:gd name="T8" fmla="*/ 523 w 1370"/>
                  <a:gd name="T9" fmla="*/ 133 h 418"/>
                  <a:gd name="T10" fmla="*/ 761 w 1370"/>
                  <a:gd name="T11" fmla="*/ 138 h 418"/>
                  <a:gd name="T12" fmla="*/ 1236 w 1370"/>
                  <a:gd name="T13" fmla="*/ 62 h 418"/>
                  <a:gd name="T14" fmla="*/ 1354 w 1370"/>
                  <a:gd name="T15" fmla="*/ 8 h 418"/>
                  <a:gd name="T16" fmla="*/ 1370 w 1370"/>
                  <a:gd name="T17" fmla="*/ 17 h 418"/>
                  <a:gd name="T18" fmla="*/ 1370 w 1370"/>
                  <a:gd name="T19" fmla="*/ 245 h 418"/>
                  <a:gd name="T20" fmla="*/ 1357 w 1370"/>
                  <a:gd name="T21" fmla="*/ 270 h 418"/>
                  <a:gd name="T22" fmla="*/ 1220 w 1370"/>
                  <a:gd name="T23" fmla="*/ 341 h 418"/>
                  <a:gd name="T24" fmla="*/ 890 w 1370"/>
                  <a:gd name="T25" fmla="*/ 406 h 418"/>
                  <a:gd name="T26" fmla="*/ 610 w 1370"/>
                  <a:gd name="T27" fmla="*/ 415 h 418"/>
                  <a:gd name="T28" fmla="*/ 160 w 1370"/>
                  <a:gd name="T29" fmla="*/ 344 h 418"/>
                  <a:gd name="T30" fmla="*/ 21 w 1370"/>
                  <a:gd name="T31" fmla="*/ 277 h 418"/>
                  <a:gd name="T32" fmla="*/ 1 w 1370"/>
                  <a:gd name="T33" fmla="*/ 237 h 418"/>
                  <a:gd name="T34" fmla="*/ 1 w 1370"/>
                  <a:gd name="T35" fmla="*/ 131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70" h="418">
                    <a:moveTo>
                      <a:pt x="1" y="131"/>
                    </a:moveTo>
                    <a:cubicBezTo>
                      <a:pt x="2" y="92"/>
                      <a:pt x="2" y="54"/>
                      <a:pt x="1" y="15"/>
                    </a:cubicBezTo>
                    <a:cubicBezTo>
                      <a:pt x="1" y="5"/>
                      <a:pt x="4" y="0"/>
                      <a:pt x="14" y="7"/>
                    </a:cubicBezTo>
                    <a:cubicBezTo>
                      <a:pt x="90" y="54"/>
                      <a:pt x="175" y="78"/>
                      <a:pt x="261" y="96"/>
                    </a:cubicBezTo>
                    <a:cubicBezTo>
                      <a:pt x="347" y="115"/>
                      <a:pt x="435" y="126"/>
                      <a:pt x="523" y="133"/>
                    </a:cubicBezTo>
                    <a:cubicBezTo>
                      <a:pt x="603" y="139"/>
                      <a:pt x="682" y="141"/>
                      <a:pt x="761" y="138"/>
                    </a:cubicBezTo>
                    <a:cubicBezTo>
                      <a:pt x="923" y="131"/>
                      <a:pt x="1082" y="113"/>
                      <a:pt x="1236" y="62"/>
                    </a:cubicBezTo>
                    <a:cubicBezTo>
                      <a:pt x="1277" y="48"/>
                      <a:pt x="1317" y="31"/>
                      <a:pt x="1354" y="8"/>
                    </a:cubicBezTo>
                    <a:cubicBezTo>
                      <a:pt x="1367" y="0"/>
                      <a:pt x="1370" y="1"/>
                      <a:pt x="1370" y="17"/>
                    </a:cubicBezTo>
                    <a:cubicBezTo>
                      <a:pt x="1370" y="93"/>
                      <a:pt x="1370" y="169"/>
                      <a:pt x="1370" y="245"/>
                    </a:cubicBezTo>
                    <a:cubicBezTo>
                      <a:pt x="1370" y="256"/>
                      <a:pt x="1366" y="264"/>
                      <a:pt x="1357" y="270"/>
                    </a:cubicBezTo>
                    <a:cubicBezTo>
                      <a:pt x="1316" y="304"/>
                      <a:pt x="1269" y="324"/>
                      <a:pt x="1220" y="341"/>
                    </a:cubicBezTo>
                    <a:cubicBezTo>
                      <a:pt x="1113" y="377"/>
                      <a:pt x="1002" y="396"/>
                      <a:pt x="890" y="406"/>
                    </a:cubicBezTo>
                    <a:cubicBezTo>
                      <a:pt x="797" y="415"/>
                      <a:pt x="704" y="418"/>
                      <a:pt x="610" y="415"/>
                    </a:cubicBezTo>
                    <a:cubicBezTo>
                      <a:pt x="458" y="409"/>
                      <a:pt x="307" y="392"/>
                      <a:pt x="160" y="344"/>
                    </a:cubicBezTo>
                    <a:cubicBezTo>
                      <a:pt x="111" y="328"/>
                      <a:pt x="64" y="308"/>
                      <a:pt x="21" y="277"/>
                    </a:cubicBezTo>
                    <a:cubicBezTo>
                      <a:pt x="7" y="267"/>
                      <a:pt x="0" y="255"/>
                      <a:pt x="1" y="237"/>
                    </a:cubicBezTo>
                    <a:cubicBezTo>
                      <a:pt x="3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 23"/>
              <p:cNvSpPr>
                <a:spLocks/>
              </p:cNvSpPr>
              <p:nvPr/>
            </p:nvSpPr>
            <p:spPr bwMode="auto">
              <a:xfrm>
                <a:off x="4843" y="2255"/>
                <a:ext cx="184" cy="56"/>
              </a:xfrm>
              <a:custGeom>
                <a:avLst/>
                <a:gdLst>
                  <a:gd name="T0" fmla="*/ 1 w 1370"/>
                  <a:gd name="T1" fmla="*/ 131 h 419"/>
                  <a:gd name="T2" fmla="*/ 1 w 1370"/>
                  <a:gd name="T3" fmla="*/ 14 h 419"/>
                  <a:gd name="T4" fmla="*/ 14 w 1370"/>
                  <a:gd name="T5" fmla="*/ 7 h 419"/>
                  <a:gd name="T6" fmla="*/ 307 w 1370"/>
                  <a:gd name="T7" fmla="*/ 107 h 419"/>
                  <a:gd name="T8" fmla="*/ 615 w 1370"/>
                  <a:gd name="T9" fmla="*/ 138 h 419"/>
                  <a:gd name="T10" fmla="*/ 1137 w 1370"/>
                  <a:gd name="T11" fmla="*/ 91 h 419"/>
                  <a:gd name="T12" fmla="*/ 1357 w 1370"/>
                  <a:gd name="T13" fmla="*/ 6 h 419"/>
                  <a:gd name="T14" fmla="*/ 1370 w 1370"/>
                  <a:gd name="T15" fmla="*/ 14 h 419"/>
                  <a:gd name="T16" fmla="*/ 1370 w 1370"/>
                  <a:gd name="T17" fmla="*/ 248 h 419"/>
                  <a:gd name="T18" fmla="*/ 1355 w 1370"/>
                  <a:gd name="T19" fmla="*/ 272 h 419"/>
                  <a:gd name="T20" fmla="*/ 1238 w 1370"/>
                  <a:gd name="T21" fmla="*/ 334 h 419"/>
                  <a:gd name="T22" fmla="*/ 943 w 1370"/>
                  <a:gd name="T23" fmla="*/ 401 h 419"/>
                  <a:gd name="T24" fmla="*/ 637 w 1370"/>
                  <a:gd name="T25" fmla="*/ 416 h 419"/>
                  <a:gd name="T26" fmla="*/ 167 w 1370"/>
                  <a:gd name="T27" fmla="*/ 347 h 419"/>
                  <a:gd name="T28" fmla="*/ 21 w 1370"/>
                  <a:gd name="T29" fmla="*/ 277 h 419"/>
                  <a:gd name="T30" fmla="*/ 1 w 1370"/>
                  <a:gd name="T31" fmla="*/ 238 h 419"/>
                  <a:gd name="T32" fmla="*/ 1 w 1370"/>
                  <a:gd name="T33" fmla="*/ 131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0" h="419">
                    <a:moveTo>
                      <a:pt x="1" y="131"/>
                    </a:moveTo>
                    <a:cubicBezTo>
                      <a:pt x="1" y="92"/>
                      <a:pt x="2" y="53"/>
                      <a:pt x="1" y="14"/>
                    </a:cubicBezTo>
                    <a:cubicBezTo>
                      <a:pt x="1" y="3"/>
                      <a:pt x="4" y="1"/>
                      <a:pt x="14" y="7"/>
                    </a:cubicBezTo>
                    <a:cubicBezTo>
                      <a:pt x="104" y="62"/>
                      <a:pt x="205" y="88"/>
                      <a:pt x="307" y="107"/>
                    </a:cubicBezTo>
                    <a:cubicBezTo>
                      <a:pt x="409" y="127"/>
                      <a:pt x="512" y="135"/>
                      <a:pt x="615" y="138"/>
                    </a:cubicBezTo>
                    <a:cubicBezTo>
                      <a:pt x="791" y="143"/>
                      <a:pt x="966" y="133"/>
                      <a:pt x="1137" y="91"/>
                    </a:cubicBezTo>
                    <a:cubicBezTo>
                      <a:pt x="1214" y="73"/>
                      <a:pt x="1289" y="49"/>
                      <a:pt x="1357" y="6"/>
                    </a:cubicBezTo>
                    <a:cubicBezTo>
                      <a:pt x="1367" y="0"/>
                      <a:pt x="1370" y="4"/>
                      <a:pt x="1370" y="14"/>
                    </a:cubicBezTo>
                    <a:cubicBezTo>
                      <a:pt x="1370" y="92"/>
                      <a:pt x="1370" y="170"/>
                      <a:pt x="1370" y="248"/>
                    </a:cubicBezTo>
                    <a:cubicBezTo>
                      <a:pt x="1370" y="260"/>
                      <a:pt x="1363" y="266"/>
                      <a:pt x="1355" y="272"/>
                    </a:cubicBezTo>
                    <a:cubicBezTo>
                      <a:pt x="1320" y="301"/>
                      <a:pt x="1280" y="319"/>
                      <a:pt x="1238" y="334"/>
                    </a:cubicBezTo>
                    <a:cubicBezTo>
                      <a:pt x="1143" y="370"/>
                      <a:pt x="1044" y="389"/>
                      <a:pt x="943" y="401"/>
                    </a:cubicBezTo>
                    <a:cubicBezTo>
                      <a:pt x="841" y="413"/>
                      <a:pt x="739" y="419"/>
                      <a:pt x="637" y="416"/>
                    </a:cubicBezTo>
                    <a:cubicBezTo>
                      <a:pt x="477" y="411"/>
                      <a:pt x="320" y="395"/>
                      <a:pt x="167" y="347"/>
                    </a:cubicBezTo>
                    <a:cubicBezTo>
                      <a:pt x="115" y="330"/>
                      <a:pt x="65" y="310"/>
                      <a:pt x="21" y="277"/>
                    </a:cubicBezTo>
                    <a:cubicBezTo>
                      <a:pt x="7" y="267"/>
                      <a:pt x="0" y="256"/>
                      <a:pt x="1" y="238"/>
                    </a:cubicBezTo>
                    <a:cubicBezTo>
                      <a:pt x="2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83" name="Рисунок 82"/>
            <p:cNvPicPr>
              <a:picLocks noChangeAspect="1"/>
            </p:cNvPicPr>
            <p:nvPr userDrawn="1"/>
          </p:nvPicPr>
          <p:blipFill>
            <a:blip r:embed="rId6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964" y="255927"/>
              <a:ext cx="132047" cy="120941"/>
            </a:xfrm>
            <a:prstGeom prst="rect">
              <a:avLst/>
            </a:prstGeom>
          </p:spPr>
        </p:pic>
        <p:sp>
          <p:nvSpPr>
            <p:cNvPr id="84" name="Freeform 413"/>
            <p:cNvSpPr>
              <a:spLocks noEditPoints="1"/>
            </p:cNvSpPr>
            <p:nvPr userDrawn="1"/>
          </p:nvSpPr>
          <p:spPr bwMode="auto">
            <a:xfrm>
              <a:off x="467432" y="411832"/>
              <a:ext cx="136834" cy="109909"/>
            </a:xfrm>
            <a:custGeom>
              <a:avLst/>
              <a:gdLst/>
              <a:ahLst/>
              <a:cxnLst>
                <a:cxn ang="0">
                  <a:pos x="235" y="365"/>
                </a:cxn>
                <a:cxn ang="0">
                  <a:pos x="246" y="344"/>
                </a:cxn>
                <a:cxn ang="0">
                  <a:pos x="226" y="329"/>
                </a:cxn>
                <a:cxn ang="0">
                  <a:pos x="217" y="320"/>
                </a:cxn>
                <a:cxn ang="0">
                  <a:pos x="206" y="328"/>
                </a:cxn>
                <a:cxn ang="0">
                  <a:pos x="142" y="348"/>
                </a:cxn>
                <a:cxn ang="0">
                  <a:pos x="31" y="237"/>
                </a:cxn>
                <a:cxn ang="0">
                  <a:pos x="106" y="133"/>
                </a:cxn>
                <a:cxn ang="0">
                  <a:pos x="106" y="132"/>
                </a:cxn>
                <a:cxn ang="0">
                  <a:pos x="144" y="127"/>
                </a:cxn>
                <a:cxn ang="0">
                  <a:pos x="201" y="141"/>
                </a:cxn>
                <a:cxn ang="0">
                  <a:pos x="132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6" y="104"/>
                </a:cxn>
                <a:cxn ang="0">
                  <a:pos x="49" y="130"/>
                </a:cxn>
                <a:cxn ang="0">
                  <a:pos x="49" y="129"/>
                </a:cxn>
                <a:cxn ang="0">
                  <a:pos x="0" y="237"/>
                </a:cxn>
                <a:cxn ang="0">
                  <a:pos x="142" y="380"/>
                </a:cxn>
                <a:cxn ang="0">
                  <a:pos x="214" y="360"/>
                </a:cxn>
                <a:cxn ang="0">
                  <a:pos x="231" y="371"/>
                </a:cxn>
                <a:cxn ang="0">
                  <a:pos x="235" y="365"/>
                </a:cxn>
                <a:cxn ang="0">
                  <a:pos x="453" y="183"/>
                </a:cxn>
                <a:cxn ang="0">
                  <a:pos x="454" y="175"/>
                </a:cxn>
                <a:cxn ang="0">
                  <a:pos x="348" y="70"/>
                </a:cxn>
                <a:cxn ang="0">
                  <a:pos x="327" y="72"/>
                </a:cxn>
                <a:cxn ang="0">
                  <a:pos x="212" y="0"/>
                </a:cxn>
                <a:cxn ang="0">
                  <a:pos x="90" y="89"/>
                </a:cxn>
                <a:cxn ang="0">
                  <a:pos x="125" y="86"/>
                </a:cxn>
                <a:cxn ang="0">
                  <a:pos x="212" y="32"/>
                </a:cxn>
                <a:cxn ang="0">
                  <a:pos x="302" y="96"/>
                </a:cxn>
                <a:cxn ang="0">
                  <a:pos x="308" y="112"/>
                </a:cxn>
                <a:cxn ang="0">
                  <a:pos x="323" y="106"/>
                </a:cxn>
                <a:cxn ang="0">
                  <a:pos x="348" y="101"/>
                </a:cxn>
                <a:cxn ang="0">
                  <a:pos x="422" y="175"/>
                </a:cxn>
                <a:cxn ang="0">
                  <a:pos x="420" y="192"/>
                </a:cxn>
                <a:cxn ang="0">
                  <a:pos x="416" y="209"/>
                </a:cxn>
                <a:cxn ang="0">
                  <a:pos x="434" y="211"/>
                </a:cxn>
                <a:cxn ang="0">
                  <a:pos x="492" y="275"/>
                </a:cxn>
                <a:cxn ang="0">
                  <a:pos x="428" y="338"/>
                </a:cxn>
                <a:cxn ang="0">
                  <a:pos x="394" y="329"/>
                </a:cxn>
                <a:cxn ang="0">
                  <a:pos x="384" y="322"/>
                </a:cxn>
                <a:cxn ang="0">
                  <a:pos x="375" y="330"/>
                </a:cxn>
                <a:cxn ang="0">
                  <a:pos x="358" y="343"/>
                </a:cxn>
                <a:cxn ang="0">
                  <a:pos x="352" y="359"/>
                </a:cxn>
                <a:cxn ang="0">
                  <a:pos x="342" y="384"/>
                </a:cxn>
                <a:cxn ang="0">
                  <a:pos x="387" y="361"/>
                </a:cxn>
                <a:cxn ang="0">
                  <a:pos x="428" y="370"/>
                </a:cxn>
                <a:cxn ang="0">
                  <a:pos x="523" y="275"/>
                </a:cxn>
                <a:cxn ang="0">
                  <a:pos x="453" y="183"/>
                </a:cxn>
                <a:cxn ang="0">
                  <a:pos x="383" y="292"/>
                </a:cxn>
                <a:cxn ang="0">
                  <a:pos x="313" y="171"/>
                </a:cxn>
                <a:cxn ang="0">
                  <a:pos x="244" y="292"/>
                </a:cxn>
                <a:cxn ang="0">
                  <a:pos x="282" y="292"/>
                </a:cxn>
                <a:cxn ang="0">
                  <a:pos x="220" y="420"/>
                </a:cxn>
                <a:cxn ang="0">
                  <a:pos x="297" y="420"/>
                </a:cxn>
                <a:cxn ang="0">
                  <a:pos x="343" y="292"/>
                </a:cxn>
                <a:cxn ang="0">
                  <a:pos x="383" y="292"/>
                </a:cxn>
              </a:cxnLst>
              <a:rect l="0" t="0" r="r" b="b"/>
              <a:pathLst>
                <a:path w="523" h="420">
                  <a:moveTo>
                    <a:pt x="235" y="365"/>
                  </a:moveTo>
                  <a:cubicBezTo>
                    <a:pt x="239" y="358"/>
                    <a:pt x="243" y="351"/>
                    <a:pt x="246" y="344"/>
                  </a:cubicBezTo>
                  <a:cubicBezTo>
                    <a:pt x="239" y="340"/>
                    <a:pt x="232" y="335"/>
                    <a:pt x="226" y="329"/>
                  </a:cubicBezTo>
                  <a:cubicBezTo>
                    <a:pt x="217" y="320"/>
                    <a:pt x="217" y="320"/>
                    <a:pt x="217" y="320"/>
                  </a:cubicBezTo>
                  <a:cubicBezTo>
                    <a:pt x="206" y="328"/>
                    <a:pt x="206" y="328"/>
                    <a:pt x="206" y="328"/>
                  </a:cubicBezTo>
                  <a:cubicBezTo>
                    <a:pt x="187" y="341"/>
                    <a:pt x="165" y="348"/>
                    <a:pt x="142" y="348"/>
                  </a:cubicBezTo>
                  <a:cubicBezTo>
                    <a:pt x="81" y="348"/>
                    <a:pt x="31" y="299"/>
                    <a:pt x="31" y="237"/>
                  </a:cubicBezTo>
                  <a:cubicBezTo>
                    <a:pt x="31" y="190"/>
                    <a:pt x="61" y="148"/>
                    <a:pt x="106" y="133"/>
                  </a:cubicBezTo>
                  <a:cubicBezTo>
                    <a:pt x="106" y="132"/>
                    <a:pt x="106" y="132"/>
                    <a:pt x="106" y="132"/>
                  </a:cubicBezTo>
                  <a:cubicBezTo>
                    <a:pt x="117" y="129"/>
                    <a:pt x="129" y="127"/>
                    <a:pt x="144" y="127"/>
                  </a:cubicBezTo>
                  <a:cubicBezTo>
                    <a:pt x="167" y="127"/>
                    <a:pt x="187" y="132"/>
                    <a:pt x="201" y="141"/>
                  </a:cubicBezTo>
                  <a:cubicBezTo>
                    <a:pt x="208" y="131"/>
                    <a:pt x="195" y="103"/>
                    <a:pt x="132" y="103"/>
                  </a:cubicBezTo>
                  <a:cubicBezTo>
                    <a:pt x="127" y="103"/>
                    <a:pt x="123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8" y="103"/>
                    <a:pt x="117" y="104"/>
                    <a:pt x="116" y="104"/>
                  </a:cubicBezTo>
                  <a:cubicBezTo>
                    <a:pt x="77" y="107"/>
                    <a:pt x="49" y="130"/>
                    <a:pt x="49" y="130"/>
                  </a:cubicBezTo>
                  <a:cubicBezTo>
                    <a:pt x="49" y="129"/>
                    <a:pt x="49" y="129"/>
                    <a:pt x="49" y="129"/>
                  </a:cubicBezTo>
                  <a:cubicBezTo>
                    <a:pt x="18" y="156"/>
                    <a:pt x="0" y="195"/>
                    <a:pt x="0" y="237"/>
                  </a:cubicBezTo>
                  <a:cubicBezTo>
                    <a:pt x="0" y="316"/>
                    <a:pt x="63" y="380"/>
                    <a:pt x="142" y="380"/>
                  </a:cubicBezTo>
                  <a:cubicBezTo>
                    <a:pt x="168" y="380"/>
                    <a:pt x="192" y="373"/>
                    <a:pt x="214" y="360"/>
                  </a:cubicBezTo>
                  <a:cubicBezTo>
                    <a:pt x="220" y="364"/>
                    <a:pt x="225" y="368"/>
                    <a:pt x="231" y="371"/>
                  </a:cubicBezTo>
                  <a:lnTo>
                    <a:pt x="235" y="365"/>
                  </a:lnTo>
                  <a:close/>
                  <a:moveTo>
                    <a:pt x="453" y="183"/>
                  </a:moveTo>
                  <a:cubicBezTo>
                    <a:pt x="454" y="180"/>
                    <a:pt x="454" y="178"/>
                    <a:pt x="454" y="175"/>
                  </a:cubicBezTo>
                  <a:cubicBezTo>
                    <a:pt x="454" y="117"/>
                    <a:pt x="407" y="70"/>
                    <a:pt x="348" y="70"/>
                  </a:cubicBezTo>
                  <a:cubicBezTo>
                    <a:pt x="341" y="70"/>
                    <a:pt x="334" y="71"/>
                    <a:pt x="327" y="72"/>
                  </a:cubicBezTo>
                  <a:cubicBezTo>
                    <a:pt x="305" y="29"/>
                    <a:pt x="261" y="0"/>
                    <a:pt x="212" y="0"/>
                  </a:cubicBezTo>
                  <a:cubicBezTo>
                    <a:pt x="155" y="0"/>
                    <a:pt x="106" y="37"/>
                    <a:pt x="90" y="89"/>
                  </a:cubicBezTo>
                  <a:cubicBezTo>
                    <a:pt x="103" y="86"/>
                    <a:pt x="116" y="85"/>
                    <a:pt x="125" y="86"/>
                  </a:cubicBezTo>
                  <a:cubicBezTo>
                    <a:pt x="141" y="53"/>
                    <a:pt x="174" y="32"/>
                    <a:pt x="212" y="32"/>
                  </a:cubicBezTo>
                  <a:cubicBezTo>
                    <a:pt x="253" y="32"/>
                    <a:pt x="289" y="58"/>
                    <a:pt x="302" y="96"/>
                  </a:cubicBezTo>
                  <a:cubicBezTo>
                    <a:pt x="308" y="112"/>
                    <a:pt x="308" y="112"/>
                    <a:pt x="308" y="112"/>
                  </a:cubicBezTo>
                  <a:cubicBezTo>
                    <a:pt x="323" y="106"/>
                    <a:pt x="323" y="106"/>
                    <a:pt x="323" y="106"/>
                  </a:cubicBezTo>
                  <a:cubicBezTo>
                    <a:pt x="331" y="103"/>
                    <a:pt x="340" y="101"/>
                    <a:pt x="348" y="101"/>
                  </a:cubicBezTo>
                  <a:cubicBezTo>
                    <a:pt x="389" y="101"/>
                    <a:pt x="422" y="135"/>
                    <a:pt x="422" y="175"/>
                  </a:cubicBezTo>
                  <a:cubicBezTo>
                    <a:pt x="422" y="181"/>
                    <a:pt x="421" y="186"/>
                    <a:pt x="420" y="192"/>
                  </a:cubicBezTo>
                  <a:cubicBezTo>
                    <a:pt x="416" y="209"/>
                    <a:pt x="416" y="209"/>
                    <a:pt x="416" y="209"/>
                  </a:cubicBezTo>
                  <a:cubicBezTo>
                    <a:pt x="434" y="211"/>
                    <a:pt x="434" y="211"/>
                    <a:pt x="434" y="211"/>
                  </a:cubicBezTo>
                  <a:cubicBezTo>
                    <a:pt x="467" y="214"/>
                    <a:pt x="492" y="242"/>
                    <a:pt x="492" y="275"/>
                  </a:cubicBezTo>
                  <a:cubicBezTo>
                    <a:pt x="492" y="310"/>
                    <a:pt x="463" y="338"/>
                    <a:pt x="428" y="338"/>
                  </a:cubicBezTo>
                  <a:cubicBezTo>
                    <a:pt x="416" y="338"/>
                    <a:pt x="404" y="335"/>
                    <a:pt x="394" y="329"/>
                  </a:cubicBezTo>
                  <a:cubicBezTo>
                    <a:pt x="384" y="322"/>
                    <a:pt x="384" y="322"/>
                    <a:pt x="384" y="322"/>
                  </a:cubicBezTo>
                  <a:cubicBezTo>
                    <a:pt x="375" y="330"/>
                    <a:pt x="375" y="330"/>
                    <a:pt x="375" y="330"/>
                  </a:cubicBezTo>
                  <a:cubicBezTo>
                    <a:pt x="370" y="335"/>
                    <a:pt x="364" y="339"/>
                    <a:pt x="358" y="343"/>
                  </a:cubicBezTo>
                  <a:cubicBezTo>
                    <a:pt x="356" y="348"/>
                    <a:pt x="354" y="354"/>
                    <a:pt x="352" y="359"/>
                  </a:cubicBezTo>
                  <a:cubicBezTo>
                    <a:pt x="349" y="367"/>
                    <a:pt x="346" y="376"/>
                    <a:pt x="342" y="384"/>
                  </a:cubicBezTo>
                  <a:cubicBezTo>
                    <a:pt x="358" y="379"/>
                    <a:pt x="374" y="371"/>
                    <a:pt x="387" y="361"/>
                  </a:cubicBezTo>
                  <a:cubicBezTo>
                    <a:pt x="400" y="367"/>
                    <a:pt x="414" y="370"/>
                    <a:pt x="428" y="370"/>
                  </a:cubicBezTo>
                  <a:cubicBezTo>
                    <a:pt x="481" y="370"/>
                    <a:pt x="523" y="327"/>
                    <a:pt x="523" y="275"/>
                  </a:cubicBezTo>
                  <a:cubicBezTo>
                    <a:pt x="523" y="231"/>
                    <a:pt x="494" y="194"/>
                    <a:pt x="453" y="183"/>
                  </a:cubicBezTo>
                  <a:close/>
                  <a:moveTo>
                    <a:pt x="383" y="292"/>
                  </a:moveTo>
                  <a:cubicBezTo>
                    <a:pt x="313" y="171"/>
                    <a:pt x="313" y="171"/>
                    <a:pt x="313" y="171"/>
                  </a:cubicBezTo>
                  <a:cubicBezTo>
                    <a:pt x="244" y="292"/>
                    <a:pt x="244" y="292"/>
                    <a:pt x="244" y="292"/>
                  </a:cubicBezTo>
                  <a:cubicBezTo>
                    <a:pt x="282" y="292"/>
                    <a:pt x="282" y="292"/>
                    <a:pt x="282" y="292"/>
                  </a:cubicBezTo>
                  <a:cubicBezTo>
                    <a:pt x="274" y="341"/>
                    <a:pt x="252" y="385"/>
                    <a:pt x="220" y="420"/>
                  </a:cubicBezTo>
                  <a:cubicBezTo>
                    <a:pt x="297" y="420"/>
                    <a:pt x="297" y="420"/>
                    <a:pt x="297" y="420"/>
                  </a:cubicBezTo>
                  <a:cubicBezTo>
                    <a:pt x="321" y="382"/>
                    <a:pt x="338" y="338"/>
                    <a:pt x="343" y="292"/>
                  </a:cubicBezTo>
                  <a:lnTo>
                    <a:pt x="383" y="29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</p:grpSp>
      <p:sp>
        <p:nvSpPr>
          <p:cNvPr id="72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11790055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7854356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ur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5FCFC23A-FBBD-1442-BC6B-7AACBBDF17DB}"/>
              </a:ext>
            </a:extLst>
          </p:cNvPr>
          <p:cNvGrpSpPr/>
          <p:nvPr userDrawn="1"/>
        </p:nvGrpSpPr>
        <p:grpSpPr>
          <a:xfrm>
            <a:off x="0" y="-18879"/>
            <a:ext cx="12192000" cy="675904"/>
            <a:chOff x="0" y="4267200"/>
            <a:chExt cx="12192000" cy="675904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A96D3F2C-5F04-B84F-B9D5-D61433C77E05}"/>
                </a:ext>
              </a:extLst>
            </p:cNvPr>
            <p:cNvSpPr/>
            <p:nvPr userDrawn="1"/>
          </p:nvSpPr>
          <p:spPr>
            <a:xfrm>
              <a:off x="122213" y="4435305"/>
              <a:ext cx="11951853" cy="4294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dist="88900" dir="5400000" sx="97000" sy="97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xmlns="" id="{4BCEF6D8-1372-DA4D-AAD1-0712D4C4C8D4}"/>
                </a:ext>
              </a:extLst>
            </p:cNvPr>
            <p:cNvSpPr/>
            <p:nvPr userDrawn="1"/>
          </p:nvSpPr>
          <p:spPr>
            <a:xfrm>
              <a:off x="0" y="4267200"/>
              <a:ext cx="12192000" cy="675904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/>
            </a:p>
          </p:txBody>
        </p:sp>
      </p:grpSp>
      <p:grpSp>
        <p:nvGrpSpPr>
          <p:cNvPr id="59" name="Группа 58"/>
          <p:cNvGrpSpPr/>
          <p:nvPr userDrawn="1"/>
        </p:nvGrpSpPr>
        <p:grpSpPr>
          <a:xfrm>
            <a:off x="1026696" y="85663"/>
            <a:ext cx="482547" cy="471819"/>
            <a:chOff x="5348707" y="4513334"/>
            <a:chExt cx="686676" cy="671411"/>
          </a:xfrm>
        </p:grpSpPr>
        <p:sp>
          <p:nvSpPr>
            <p:cNvPr id="60" name="Oval 5">
              <a:extLst>
                <a:ext uri="{FF2B5EF4-FFF2-40B4-BE49-F238E27FC236}">
                  <a16:creationId xmlns:a16="http://schemas.microsoft.com/office/drawing/2014/main" xmlns="" id="{3DF6420D-E176-5C42-ABBA-A6D11E2EA40A}"/>
                </a:ext>
              </a:extLst>
            </p:cNvPr>
            <p:cNvSpPr/>
            <p:nvPr/>
          </p:nvSpPr>
          <p:spPr>
            <a:xfrm>
              <a:off x="5348707" y="4513334"/>
              <a:ext cx="686676" cy="671411"/>
            </a:xfrm>
            <a:prstGeom prst="ellipse">
              <a:avLst/>
            </a:prstGeom>
            <a:solidFill>
              <a:schemeClr val="accent6"/>
            </a:solidFill>
            <a:ln w="127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lIns="96746" tIns="48373" rIns="96746" bIns="48373" rtlCol="0" anchor="ctr"/>
            <a:lstStyle/>
            <a:p>
              <a:pPr algn="ctr" defTabSz="967502">
                <a:defRPr/>
              </a:pPr>
              <a:endParaRPr lang="en-US" sz="1481" kern="0" dirty="0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1" name="Freeform 5"/>
            <p:cNvSpPr>
              <a:spLocks noEditPoints="1"/>
            </p:cNvSpPr>
            <p:nvPr/>
          </p:nvSpPr>
          <p:spPr bwMode="auto">
            <a:xfrm>
              <a:off x="5505895" y="4638991"/>
              <a:ext cx="363780" cy="421308"/>
            </a:xfrm>
            <a:custGeom>
              <a:avLst/>
              <a:gdLst>
                <a:gd name="T0" fmla="*/ 247 w 247"/>
                <a:gd name="T1" fmla="*/ 30 h 287"/>
                <a:gd name="T2" fmla="*/ 236 w 247"/>
                <a:gd name="T3" fmla="*/ 22 h 287"/>
                <a:gd name="T4" fmla="*/ 199 w 247"/>
                <a:gd name="T5" fmla="*/ 27 h 287"/>
                <a:gd name="T6" fmla="*/ 129 w 247"/>
                <a:gd name="T7" fmla="*/ 0 h 287"/>
                <a:gd name="T8" fmla="*/ 119 w 247"/>
                <a:gd name="T9" fmla="*/ 0 h 287"/>
                <a:gd name="T10" fmla="*/ 48 w 247"/>
                <a:gd name="T11" fmla="*/ 27 h 287"/>
                <a:gd name="T12" fmla="*/ 12 w 247"/>
                <a:gd name="T13" fmla="*/ 22 h 287"/>
                <a:gd name="T14" fmla="*/ 1 w 247"/>
                <a:gd name="T15" fmla="*/ 30 h 287"/>
                <a:gd name="T16" fmla="*/ 0 w 247"/>
                <a:gd name="T17" fmla="*/ 47 h 287"/>
                <a:gd name="T18" fmla="*/ 122 w 247"/>
                <a:gd name="T19" fmla="*/ 287 h 287"/>
                <a:gd name="T20" fmla="*/ 126 w 247"/>
                <a:gd name="T21" fmla="*/ 287 h 287"/>
                <a:gd name="T22" fmla="*/ 247 w 247"/>
                <a:gd name="T23" fmla="*/ 47 h 287"/>
                <a:gd name="T24" fmla="*/ 247 w 247"/>
                <a:gd name="T25" fmla="*/ 30 h 287"/>
                <a:gd name="T26" fmla="*/ 124 w 247"/>
                <a:gd name="T27" fmla="*/ 270 h 287"/>
                <a:gd name="T28" fmla="*/ 27 w 247"/>
                <a:gd name="T29" fmla="*/ 146 h 287"/>
                <a:gd name="T30" fmla="*/ 129 w 247"/>
                <a:gd name="T31" fmla="*/ 146 h 287"/>
                <a:gd name="T32" fmla="*/ 129 w 247"/>
                <a:gd name="T33" fmla="*/ 21 h 287"/>
                <a:gd name="T34" fmla="*/ 199 w 247"/>
                <a:gd name="T35" fmla="*/ 45 h 287"/>
                <a:gd name="T36" fmla="*/ 230 w 247"/>
                <a:gd name="T37" fmla="*/ 41 h 287"/>
                <a:gd name="T38" fmla="*/ 230 w 247"/>
                <a:gd name="T39" fmla="*/ 47 h 287"/>
                <a:gd name="T40" fmla="*/ 220 w 247"/>
                <a:gd name="T41" fmla="*/ 146 h 287"/>
                <a:gd name="T42" fmla="*/ 129 w 247"/>
                <a:gd name="T43" fmla="*/ 146 h 287"/>
                <a:gd name="T44" fmla="*/ 129 w 247"/>
                <a:gd name="T45" fmla="*/ 268 h 287"/>
                <a:gd name="T46" fmla="*/ 124 w 247"/>
                <a:gd name="T47" fmla="*/ 27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7" h="287">
                  <a:moveTo>
                    <a:pt x="247" y="30"/>
                  </a:moveTo>
                  <a:cubicBezTo>
                    <a:pt x="236" y="22"/>
                    <a:pt x="236" y="22"/>
                    <a:pt x="236" y="22"/>
                  </a:cubicBezTo>
                  <a:cubicBezTo>
                    <a:pt x="224" y="25"/>
                    <a:pt x="212" y="27"/>
                    <a:pt x="199" y="27"/>
                  </a:cubicBezTo>
                  <a:cubicBezTo>
                    <a:pt x="177" y="27"/>
                    <a:pt x="154" y="18"/>
                    <a:pt x="129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94" y="18"/>
                    <a:pt x="70" y="27"/>
                    <a:pt x="48" y="27"/>
                  </a:cubicBezTo>
                  <a:cubicBezTo>
                    <a:pt x="36" y="27"/>
                    <a:pt x="24" y="25"/>
                    <a:pt x="12" y="22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1" y="36"/>
                    <a:pt x="0" y="42"/>
                    <a:pt x="0" y="47"/>
                  </a:cubicBezTo>
                  <a:cubicBezTo>
                    <a:pt x="0" y="230"/>
                    <a:pt x="76" y="276"/>
                    <a:pt x="122" y="287"/>
                  </a:cubicBezTo>
                  <a:cubicBezTo>
                    <a:pt x="126" y="287"/>
                    <a:pt x="126" y="287"/>
                    <a:pt x="126" y="287"/>
                  </a:cubicBezTo>
                  <a:cubicBezTo>
                    <a:pt x="171" y="276"/>
                    <a:pt x="247" y="230"/>
                    <a:pt x="247" y="47"/>
                  </a:cubicBezTo>
                  <a:cubicBezTo>
                    <a:pt x="247" y="42"/>
                    <a:pt x="247" y="36"/>
                    <a:pt x="247" y="30"/>
                  </a:cubicBezTo>
                  <a:close/>
                  <a:moveTo>
                    <a:pt x="124" y="270"/>
                  </a:moveTo>
                  <a:cubicBezTo>
                    <a:pt x="76" y="257"/>
                    <a:pt x="43" y="214"/>
                    <a:pt x="27" y="146"/>
                  </a:cubicBezTo>
                  <a:cubicBezTo>
                    <a:pt x="129" y="146"/>
                    <a:pt x="129" y="146"/>
                    <a:pt x="129" y="146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53" y="37"/>
                    <a:pt x="177" y="45"/>
                    <a:pt x="199" y="45"/>
                  </a:cubicBezTo>
                  <a:cubicBezTo>
                    <a:pt x="210" y="45"/>
                    <a:pt x="220" y="43"/>
                    <a:pt x="230" y="41"/>
                  </a:cubicBezTo>
                  <a:cubicBezTo>
                    <a:pt x="230" y="43"/>
                    <a:pt x="230" y="45"/>
                    <a:pt x="230" y="47"/>
                  </a:cubicBezTo>
                  <a:cubicBezTo>
                    <a:pt x="230" y="84"/>
                    <a:pt x="227" y="117"/>
                    <a:pt x="220" y="146"/>
                  </a:cubicBezTo>
                  <a:cubicBezTo>
                    <a:pt x="129" y="146"/>
                    <a:pt x="129" y="146"/>
                    <a:pt x="129" y="146"/>
                  </a:cubicBezTo>
                  <a:cubicBezTo>
                    <a:pt x="129" y="268"/>
                    <a:pt x="129" y="268"/>
                    <a:pt x="129" y="268"/>
                  </a:cubicBezTo>
                  <a:cubicBezTo>
                    <a:pt x="127" y="269"/>
                    <a:pt x="125" y="269"/>
                    <a:pt x="124" y="270"/>
                  </a:cubicBezTo>
                  <a:close/>
                </a:path>
              </a:pathLst>
            </a:custGeom>
            <a:solidFill>
              <a:schemeClr val="accent4"/>
            </a:solidFill>
            <a:ln w="22225"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</p:grp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3E5CDD5-3156-47A9-A019-94E8642F4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7" y="162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38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F3E5CDD5-3156-47A9-A019-94E8642F4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62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"/>
          <p:cNvSpPr>
            <a:spLocks noGrp="1"/>
          </p:cNvSpPr>
          <p:nvPr>
            <p:ph type="title" hasCustomPrompt="1"/>
          </p:nvPr>
        </p:nvSpPr>
        <p:spPr>
          <a:xfrm>
            <a:off x="1602515" y="177110"/>
            <a:ext cx="9905376" cy="30780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000" kern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45780014-60AD-4D4C-B6BB-A0DF121B2FEB}"/>
              </a:ext>
            </a:extLst>
          </p:cNvPr>
          <p:cNvSpPr>
            <a:spLocks/>
          </p:cNvSpPr>
          <p:nvPr userDrawn="1"/>
        </p:nvSpPr>
        <p:spPr bwMode="auto">
          <a:xfrm>
            <a:off x="11662261" y="161564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102572" tIns="102572" rIns="102572" bIns="102572" rtlCol="0" anchor="ctr"/>
          <a:lstStyle/>
          <a:p>
            <a:pPr marL="0" marR="0" lvl="0" indent="0" algn="ctr" defTabSz="121866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>
              <a:ln>
                <a:noFill/>
              </a:ln>
              <a:solidFill>
                <a:srgbClr val="787E7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87759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  <p:grpSp>
        <p:nvGrpSpPr>
          <p:cNvPr id="4" name="Группа 3"/>
          <p:cNvGrpSpPr/>
          <p:nvPr userDrawn="1"/>
        </p:nvGrpSpPr>
        <p:grpSpPr>
          <a:xfrm>
            <a:off x="146651" y="90377"/>
            <a:ext cx="802256" cy="446347"/>
            <a:chOff x="146650" y="90376"/>
            <a:chExt cx="802256" cy="446347"/>
          </a:xfrm>
        </p:grpSpPr>
        <p:grpSp>
          <p:nvGrpSpPr>
            <p:cNvPr id="79" name="Группа 78"/>
            <p:cNvGrpSpPr/>
            <p:nvPr userDrawn="1"/>
          </p:nvGrpSpPr>
          <p:grpSpPr>
            <a:xfrm>
              <a:off x="146650" y="90376"/>
              <a:ext cx="802256" cy="446347"/>
              <a:chOff x="3215754" y="3239215"/>
              <a:chExt cx="5277696" cy="2936328"/>
            </a:xfrm>
            <a:solidFill>
              <a:schemeClr val="accent6"/>
            </a:solidFill>
          </p:grpSpPr>
          <p:sp>
            <p:nvSpPr>
              <p:cNvPr id="114" name="Round Diagonal Corner Rectangle 73"/>
              <p:cNvSpPr/>
              <p:nvPr/>
            </p:nvSpPr>
            <p:spPr>
              <a:xfrm rot="16200000" flipV="1">
                <a:off x="4045695" y="2409275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6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115" name="Round Diagonal Corner Rectangle 73"/>
              <p:cNvSpPr/>
              <p:nvPr/>
            </p:nvSpPr>
            <p:spPr>
              <a:xfrm rot="16200000" flipV="1">
                <a:off x="6763017" y="2409276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116" name="Round Diagonal Corner Rectangle 73"/>
              <p:cNvSpPr/>
              <p:nvPr/>
            </p:nvSpPr>
            <p:spPr>
              <a:xfrm rot="16200000" flipV="1">
                <a:off x="4045695" y="3427192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117" name="Round Diagonal Corner Rectangle 73"/>
              <p:cNvSpPr/>
              <p:nvPr/>
            </p:nvSpPr>
            <p:spPr>
              <a:xfrm rot="16200000" flipV="1">
                <a:off x="6763017" y="3427193"/>
                <a:ext cx="900494" cy="2560373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grpFill/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  <p:sp>
            <p:nvSpPr>
              <p:cNvPr id="118" name="Round Diagonal Corner Rectangle 73"/>
              <p:cNvSpPr/>
              <p:nvPr/>
            </p:nvSpPr>
            <p:spPr>
              <a:xfrm rot="16200000" flipV="1">
                <a:off x="5404355" y="3086448"/>
                <a:ext cx="900494" cy="5277695"/>
              </a:xfrm>
              <a:prstGeom prst="round2DiagRect">
                <a:avLst>
                  <a:gd name="adj1" fmla="val 50000"/>
                  <a:gd name="adj2" fmla="val 0"/>
                </a:avLst>
              </a:prstGeom>
              <a:solidFill>
                <a:schemeClr val="accent6"/>
              </a:solidFill>
              <a:ln w="95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sz="1800" dirty="0"/>
              </a:p>
            </p:txBody>
          </p:sp>
        </p:grpSp>
        <p:grpSp>
          <p:nvGrpSpPr>
            <p:cNvPr id="80" name="Group 2"/>
            <p:cNvGrpSpPr/>
            <p:nvPr userDrawn="1"/>
          </p:nvGrpSpPr>
          <p:grpSpPr>
            <a:xfrm>
              <a:off x="298733" y="103728"/>
              <a:ext cx="90401" cy="105401"/>
              <a:chOff x="6670675" y="3513137"/>
              <a:chExt cx="1071561" cy="1249363"/>
            </a:xfrm>
            <a:solidFill>
              <a:schemeClr val="accent6">
                <a:lumMod val="60000"/>
                <a:lumOff val="40000"/>
              </a:schemeClr>
            </a:solidFill>
          </p:grpSpPr>
          <p:grpSp>
            <p:nvGrpSpPr>
              <p:cNvPr id="109" name="Group 115"/>
              <p:cNvGrpSpPr/>
              <p:nvPr/>
            </p:nvGrpSpPr>
            <p:grpSpPr>
              <a:xfrm>
                <a:off x="6670675" y="3513137"/>
                <a:ext cx="700087" cy="1249363"/>
                <a:chOff x="-2524125" y="-798513"/>
                <a:chExt cx="700087" cy="1249363"/>
              </a:xfrm>
              <a:grpFill/>
            </p:grpSpPr>
            <p:sp>
              <p:nvSpPr>
                <p:cNvPr id="111" name="Oval 273"/>
                <p:cNvSpPr>
                  <a:spLocks noChangeArrowheads="1"/>
                </p:cNvSpPr>
                <p:nvPr/>
              </p:nvSpPr>
              <p:spPr bwMode="auto">
                <a:xfrm>
                  <a:off x="-2268538" y="-798513"/>
                  <a:ext cx="200025" cy="238125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112" name="Freeform 274"/>
                <p:cNvSpPr>
                  <a:spLocks noEditPoints="1"/>
                </p:cNvSpPr>
                <p:nvPr/>
              </p:nvSpPr>
              <p:spPr bwMode="auto">
                <a:xfrm>
                  <a:off x="-2524125" y="-536575"/>
                  <a:ext cx="700087" cy="987425"/>
                </a:xfrm>
                <a:custGeom>
                  <a:avLst/>
                  <a:gdLst/>
                  <a:ahLst/>
                  <a:cxnLst>
                    <a:cxn ang="0">
                      <a:pos x="123" y="27"/>
                    </a:cxn>
                    <a:cxn ang="0">
                      <a:pos x="122" y="26"/>
                    </a:cxn>
                    <a:cxn ang="0">
                      <a:pos x="116" y="22"/>
                    </a:cxn>
                    <a:cxn ang="0">
                      <a:pos x="91" y="3"/>
                    </a:cxn>
                    <a:cxn ang="0">
                      <a:pos x="85" y="1"/>
                    </a:cxn>
                    <a:cxn ang="0">
                      <a:pos x="77" y="1"/>
                    </a:cxn>
                    <a:cxn ang="0">
                      <a:pos x="75" y="11"/>
                    </a:cxn>
                    <a:cxn ang="0">
                      <a:pos x="68" y="43"/>
                    </a:cxn>
                    <a:cxn ang="0">
                      <a:pos x="68" y="7"/>
                    </a:cxn>
                    <a:cxn ang="0">
                      <a:pos x="59" y="0"/>
                    </a:cxn>
                    <a:cxn ang="0">
                      <a:pos x="59" y="9"/>
                    </a:cxn>
                    <a:cxn ang="0">
                      <a:pos x="46" y="18"/>
                    </a:cxn>
                    <a:cxn ang="0">
                      <a:pos x="41" y="7"/>
                    </a:cxn>
                    <a:cxn ang="0">
                      <a:pos x="48" y="0"/>
                    </a:cxn>
                    <a:cxn ang="0">
                      <a:pos x="39" y="1"/>
                    </a:cxn>
                    <a:cxn ang="0">
                      <a:pos x="3" y="36"/>
                    </a:cxn>
                    <a:cxn ang="0">
                      <a:pos x="3" y="36"/>
                    </a:cxn>
                    <a:cxn ang="0">
                      <a:pos x="1" y="49"/>
                    </a:cxn>
                    <a:cxn ang="0">
                      <a:pos x="1" y="49"/>
                    </a:cxn>
                    <a:cxn ang="0">
                      <a:pos x="2" y="51"/>
                    </a:cxn>
                    <a:cxn ang="0">
                      <a:pos x="6" y="58"/>
                    </a:cxn>
                    <a:cxn ang="0">
                      <a:pos x="20" y="86"/>
                    </a:cxn>
                    <a:cxn ang="0">
                      <a:pos x="33" y="91"/>
                    </a:cxn>
                    <a:cxn ang="0">
                      <a:pos x="35" y="92"/>
                    </a:cxn>
                    <a:cxn ang="0">
                      <a:pos x="61" y="174"/>
                    </a:cxn>
                    <a:cxn ang="0">
                      <a:pos x="57" y="112"/>
                    </a:cxn>
                    <a:cxn ang="0">
                      <a:pos x="91" y="34"/>
                    </a:cxn>
                    <a:cxn ang="0">
                      <a:pos x="95" y="32"/>
                    </a:cxn>
                    <a:cxn ang="0">
                      <a:pos x="77" y="46"/>
                    </a:cxn>
                    <a:cxn ang="0">
                      <a:pos x="91" y="34"/>
                    </a:cxn>
                    <a:cxn ang="0">
                      <a:pos x="31" y="56"/>
                    </a:cxn>
                    <a:cxn ang="0">
                      <a:pos x="24" y="44"/>
                    </a:cxn>
                    <a:cxn ang="0">
                      <a:pos x="34" y="61"/>
                    </a:cxn>
                  </a:cxnLst>
                  <a:rect l="0" t="0" r="r" b="b"/>
                  <a:pathLst>
                    <a:path w="123" h="174">
                      <a:moveTo>
                        <a:pt x="122" y="42"/>
                      </a:moveTo>
                      <a:cubicBezTo>
                        <a:pt x="122" y="35"/>
                        <a:pt x="123" y="24"/>
                        <a:pt x="123" y="27"/>
                      </a:cubicBezTo>
                      <a:cubicBezTo>
                        <a:pt x="123" y="26"/>
                        <a:pt x="123" y="26"/>
                        <a:pt x="123" y="26"/>
                      </a:cubicBezTo>
                      <a:cubicBezTo>
                        <a:pt x="122" y="26"/>
                        <a:pt x="122" y="26"/>
                        <a:pt x="122" y="26"/>
                      </a:cubicBezTo>
                      <a:cubicBezTo>
                        <a:pt x="120" y="25"/>
                        <a:pt x="120" y="25"/>
                        <a:pt x="120" y="25"/>
                      </a:cubicBezTo>
                      <a:cubicBezTo>
                        <a:pt x="116" y="22"/>
                        <a:pt x="116" y="22"/>
                        <a:pt x="116" y="22"/>
                      </a:cubicBezTo>
                      <a:cubicBezTo>
                        <a:pt x="108" y="15"/>
                        <a:pt x="108" y="15"/>
                        <a:pt x="108" y="15"/>
                      </a:cubicBezTo>
                      <a:cubicBezTo>
                        <a:pt x="91" y="3"/>
                        <a:pt x="91" y="3"/>
                        <a:pt x="91" y="3"/>
                      </a:cubicBezTo>
                      <a:cubicBezTo>
                        <a:pt x="90" y="2"/>
                        <a:pt x="88" y="1"/>
                        <a:pt x="86" y="1"/>
                      </a:cubicBezTo>
                      <a:cubicBezTo>
                        <a:pt x="85" y="1"/>
                        <a:pt x="85" y="1"/>
                        <a:pt x="85" y="1"/>
                      </a:cubicBezTo>
                      <a:cubicBezTo>
                        <a:pt x="83" y="1"/>
                        <a:pt x="80" y="1"/>
                        <a:pt x="77" y="0"/>
                      </a:cubicBez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84" y="7"/>
                        <a:pt x="84" y="7"/>
                        <a:pt x="84" y="7"/>
                      </a:cubicBezTo>
                      <a:cubicBezTo>
                        <a:pt x="75" y="11"/>
                        <a:pt x="75" y="11"/>
                        <a:pt x="75" y="11"/>
                      </a:cubicBezTo>
                      <a:cubicBezTo>
                        <a:pt x="80" y="18"/>
                        <a:pt x="80" y="18"/>
                        <a:pt x="80" y="18"/>
                      </a:cubicBezTo>
                      <a:cubicBezTo>
                        <a:pt x="68" y="43"/>
                        <a:pt x="68" y="43"/>
                        <a:pt x="68" y="43"/>
                      </a:cubicBezTo>
                      <a:cubicBezTo>
                        <a:pt x="67" y="9"/>
                        <a:pt x="67" y="9"/>
                        <a:pt x="67" y="9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7" y="7"/>
                        <a:pt x="57" y="7"/>
                        <a:pt x="57" y="7"/>
                      </a:cubicBezTo>
                      <a:cubicBezTo>
                        <a:pt x="59" y="9"/>
                        <a:pt x="59" y="9"/>
                        <a:pt x="59" y="9"/>
                      </a:cubicBezTo>
                      <a:cubicBezTo>
                        <a:pt x="57" y="43"/>
                        <a:pt x="57" y="43"/>
                        <a:pt x="57" y="43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50" y="11"/>
                        <a:pt x="50" y="11"/>
                        <a:pt x="50" y="11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8" y="1"/>
                        <a:pt x="48" y="1"/>
                        <a:pt x="48" y="1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5" y="1"/>
                        <a:pt x="43" y="1"/>
                        <a:pt x="40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6" y="1"/>
                        <a:pt x="34" y="3"/>
                        <a:pt x="32" y="5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0" y="61"/>
                        <a:pt x="2" y="43"/>
                        <a:pt x="1" y="48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1" y="49"/>
                        <a:pt x="1" y="49"/>
                        <a:pt x="1" y="49"/>
                      </a:cubicBezTo>
                      <a:cubicBezTo>
                        <a:pt x="2" y="49"/>
                        <a:pt x="2" y="49"/>
                        <a:pt x="2" y="49"/>
                      </a:cubicBezTo>
                      <a:cubicBezTo>
                        <a:pt x="2" y="51"/>
                        <a:pt x="2" y="51"/>
                        <a:pt x="2" y="51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6" y="58"/>
                        <a:pt x="6" y="58"/>
                        <a:pt x="6" y="58"/>
                      </a:cubicBezTo>
                      <a:cubicBezTo>
                        <a:pt x="11" y="67"/>
                        <a:pt x="11" y="67"/>
                        <a:pt x="11" y="67"/>
                      </a:cubicBezTo>
                      <a:cubicBezTo>
                        <a:pt x="20" y="86"/>
                        <a:pt x="20" y="86"/>
                        <a:pt x="20" y="86"/>
                      </a:cubicBezTo>
                      <a:cubicBezTo>
                        <a:pt x="25" y="84"/>
                        <a:pt x="29" y="82"/>
                        <a:pt x="33" y="79"/>
                      </a:cubicBezTo>
                      <a:cubicBezTo>
                        <a:pt x="33" y="83"/>
                        <a:pt x="33" y="87"/>
                        <a:pt x="33" y="91"/>
                      </a:cubicBezTo>
                      <a:cubicBezTo>
                        <a:pt x="33" y="92"/>
                        <a:pt x="33" y="92"/>
                        <a:pt x="33" y="92"/>
                      </a:cubicBezTo>
                      <a:cubicBezTo>
                        <a:pt x="35" y="92"/>
                        <a:pt x="35" y="92"/>
                        <a:pt x="35" y="92"/>
                      </a:cubicBezTo>
                      <a:cubicBezTo>
                        <a:pt x="38" y="174"/>
                        <a:pt x="38" y="174"/>
                        <a:pt x="38" y="174"/>
                      </a:cubicBezTo>
                      <a:cubicBezTo>
                        <a:pt x="61" y="174"/>
                        <a:pt x="61" y="174"/>
                        <a:pt x="61" y="174"/>
                      </a:cubicBezTo>
                      <a:cubicBezTo>
                        <a:pt x="62" y="163"/>
                        <a:pt x="62" y="150"/>
                        <a:pt x="62" y="137"/>
                      </a:cubicBezTo>
                      <a:cubicBezTo>
                        <a:pt x="59" y="129"/>
                        <a:pt x="57" y="121"/>
                        <a:pt x="57" y="112"/>
                      </a:cubicBezTo>
                      <a:cubicBezTo>
                        <a:pt x="57" y="75"/>
                        <a:pt x="86" y="45"/>
                        <a:pt x="122" y="42"/>
                      </a:cubicBezTo>
                      <a:close/>
                      <a:moveTo>
                        <a:pt x="91" y="34"/>
                      </a:moveTo>
                      <a:cubicBezTo>
                        <a:pt x="91" y="32"/>
                        <a:pt x="91" y="30"/>
                        <a:pt x="90" y="28"/>
                      </a:cubicBezTo>
                      <a:cubicBezTo>
                        <a:pt x="95" y="32"/>
                        <a:pt x="95" y="32"/>
                        <a:pt x="95" y="32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ubicBezTo>
                        <a:pt x="77" y="46"/>
                        <a:pt x="77" y="46"/>
                        <a:pt x="77" y="46"/>
                      </a:cubicBezTo>
                      <a:cubicBezTo>
                        <a:pt x="75" y="43"/>
                        <a:pt x="75" y="43"/>
                        <a:pt x="75" y="43"/>
                      </a:cubicBezTo>
                      <a:lnTo>
                        <a:pt x="91" y="34"/>
                      </a:lnTo>
                      <a:close/>
                      <a:moveTo>
                        <a:pt x="34" y="61"/>
                      </a:moveTo>
                      <a:cubicBezTo>
                        <a:pt x="31" y="56"/>
                        <a:pt x="31" y="56"/>
                        <a:pt x="31" y="56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4" y="44"/>
                        <a:pt x="24" y="44"/>
                        <a:pt x="24" y="44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cubicBezTo>
                        <a:pt x="34" y="41"/>
                        <a:pt x="34" y="51"/>
                        <a:pt x="34" y="6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  <p:sp>
              <p:nvSpPr>
                <p:cNvPr id="113" name="Freeform 275"/>
                <p:cNvSpPr>
                  <a:spLocks/>
                </p:cNvSpPr>
                <p:nvPr/>
              </p:nvSpPr>
              <p:spPr bwMode="auto">
                <a:xfrm>
                  <a:off x="-2154238" y="287337"/>
                  <a:ext cx="141287" cy="1635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" y="29"/>
                    </a:cxn>
                    <a:cxn ang="0">
                      <a:pos x="25" y="29"/>
                    </a:cxn>
                    <a:cxn ang="0">
                      <a:pos x="25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5" h="29">
                      <a:moveTo>
                        <a:pt x="0" y="0"/>
                      </a:move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25" y="29"/>
                        <a:pt x="25" y="29"/>
                        <a:pt x="25" y="29"/>
                      </a:cubicBezTo>
                      <a:cubicBezTo>
                        <a:pt x="25" y="28"/>
                        <a:pt x="25" y="27"/>
                        <a:pt x="25" y="26"/>
                      </a:cubicBezTo>
                      <a:cubicBezTo>
                        <a:pt x="15" y="19"/>
                        <a:pt x="6" y="10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</p:grpSp>
          <p:sp>
            <p:nvSpPr>
              <p:cNvPr id="110" name="Freeform 209"/>
              <p:cNvSpPr>
                <a:spLocks noEditPoints="1"/>
              </p:cNvSpPr>
              <p:nvPr/>
            </p:nvSpPr>
            <p:spPr bwMode="auto">
              <a:xfrm>
                <a:off x="7032625" y="4046538"/>
                <a:ext cx="709611" cy="709611"/>
              </a:xfrm>
              <a:custGeom>
                <a:avLst/>
                <a:gdLst/>
                <a:ahLst/>
                <a:cxnLst>
                  <a:cxn ang="0">
                    <a:pos x="114" y="40"/>
                  </a:cxn>
                  <a:cxn ang="0">
                    <a:pos x="109" y="41"/>
                  </a:cxn>
                  <a:cxn ang="0">
                    <a:pos x="103" y="34"/>
                  </a:cxn>
                  <a:cxn ang="0">
                    <a:pos x="109" y="25"/>
                  </a:cxn>
                  <a:cxn ang="0">
                    <a:pos x="96" y="16"/>
                  </a:cxn>
                  <a:cxn ang="0">
                    <a:pos x="88" y="19"/>
                  </a:cxn>
                  <a:cxn ang="0">
                    <a:pos x="87" y="10"/>
                  </a:cxn>
                  <a:cxn ang="0">
                    <a:pos x="74" y="2"/>
                  </a:cxn>
                  <a:cxn ang="0">
                    <a:pos x="70" y="3"/>
                  </a:cxn>
                  <a:cxn ang="0">
                    <a:pos x="59" y="10"/>
                  </a:cxn>
                  <a:cxn ang="0">
                    <a:pos x="55" y="0"/>
                  </a:cxn>
                  <a:cxn ang="0">
                    <a:pos x="47" y="2"/>
                  </a:cxn>
                  <a:cxn ang="0">
                    <a:pos x="45" y="2"/>
                  </a:cxn>
                  <a:cxn ang="0">
                    <a:pos x="40" y="6"/>
                  </a:cxn>
                  <a:cxn ang="0">
                    <a:pos x="34" y="16"/>
                  </a:cxn>
                  <a:cxn ang="0">
                    <a:pos x="26" y="11"/>
                  </a:cxn>
                  <a:cxn ang="0">
                    <a:pos x="16" y="19"/>
                  </a:cxn>
                  <a:cxn ang="0">
                    <a:pos x="21" y="29"/>
                  </a:cxn>
                  <a:cxn ang="0">
                    <a:pos x="14" y="34"/>
                  </a:cxn>
                  <a:cxn ang="0">
                    <a:pos x="6" y="34"/>
                  </a:cxn>
                  <a:cxn ang="0">
                    <a:pos x="2" y="46"/>
                  </a:cxn>
                  <a:cxn ang="0">
                    <a:pos x="10" y="52"/>
                  </a:cxn>
                  <a:cxn ang="0">
                    <a:pos x="3" y="61"/>
                  </a:cxn>
                  <a:cxn ang="0">
                    <a:pos x="2" y="77"/>
                  </a:cxn>
                  <a:cxn ang="0">
                    <a:pos x="13" y="78"/>
                  </a:cxn>
                  <a:cxn ang="0">
                    <a:pos x="11" y="89"/>
                  </a:cxn>
                  <a:cxn ang="0">
                    <a:pos x="19" y="103"/>
                  </a:cxn>
                  <a:cxn ang="0">
                    <a:pos x="29" y="99"/>
                  </a:cxn>
                  <a:cxn ang="0">
                    <a:pos x="33" y="110"/>
                  </a:cxn>
                  <a:cxn ang="0">
                    <a:pos x="46" y="118"/>
                  </a:cxn>
                  <a:cxn ang="0">
                    <a:pos x="52" y="109"/>
                  </a:cxn>
                  <a:cxn ang="0">
                    <a:pos x="61" y="117"/>
                  </a:cxn>
                  <a:cxn ang="0">
                    <a:pos x="77" y="117"/>
                  </a:cxn>
                  <a:cxn ang="0">
                    <a:pos x="78" y="106"/>
                  </a:cxn>
                  <a:cxn ang="0">
                    <a:pos x="90" y="108"/>
                  </a:cxn>
                  <a:cxn ang="0">
                    <a:pos x="103" y="101"/>
                  </a:cxn>
                  <a:cxn ang="0">
                    <a:pos x="99" y="91"/>
                  </a:cxn>
                  <a:cxn ang="0">
                    <a:pos x="110" y="87"/>
                  </a:cxn>
                  <a:cxn ang="0">
                    <a:pos x="118" y="73"/>
                  </a:cxn>
                  <a:cxn ang="0">
                    <a:pos x="109" y="67"/>
                  </a:cxn>
                  <a:cxn ang="0">
                    <a:pos x="117" y="58"/>
                  </a:cxn>
                  <a:cxn ang="0">
                    <a:pos x="117" y="44"/>
                  </a:cxn>
                  <a:cxn ang="0">
                    <a:pos x="23" y="67"/>
                  </a:cxn>
                  <a:cxn ang="0">
                    <a:pos x="24" y="47"/>
                  </a:cxn>
                  <a:cxn ang="0">
                    <a:pos x="50" y="23"/>
                  </a:cxn>
                  <a:cxn ang="0">
                    <a:pos x="51" y="39"/>
                  </a:cxn>
                  <a:cxn ang="0">
                    <a:pos x="47" y="41"/>
                  </a:cxn>
                  <a:cxn ang="0">
                    <a:pos x="37" y="60"/>
                  </a:cxn>
                  <a:cxn ang="0">
                    <a:pos x="66" y="97"/>
                  </a:cxn>
                  <a:cxn ang="0">
                    <a:pos x="48" y="79"/>
                  </a:cxn>
                  <a:cxn ang="0">
                    <a:pos x="68" y="81"/>
                  </a:cxn>
                  <a:cxn ang="0">
                    <a:pos x="66" y="97"/>
                  </a:cxn>
                  <a:cxn ang="0">
                    <a:pos x="82" y="64"/>
                  </a:cxn>
                  <a:cxn ang="0">
                    <a:pos x="74" y="42"/>
                  </a:cxn>
                  <a:cxn ang="0">
                    <a:pos x="74" y="25"/>
                  </a:cxn>
                  <a:cxn ang="0">
                    <a:pos x="89" y="36"/>
                  </a:cxn>
                  <a:cxn ang="0">
                    <a:pos x="97" y="53"/>
                  </a:cxn>
                </a:cxnLst>
                <a:rect l="0" t="0" r="r" b="b"/>
                <a:pathLst>
                  <a:path w="119" h="119">
                    <a:moveTo>
                      <a:pt x="117" y="42"/>
                    </a:moveTo>
                    <a:cubicBezTo>
                      <a:pt x="117" y="41"/>
                      <a:pt x="115" y="40"/>
                      <a:pt x="114" y="40"/>
                    </a:cubicBezTo>
                    <a:cubicBezTo>
                      <a:pt x="114" y="40"/>
                      <a:pt x="113" y="40"/>
                      <a:pt x="113" y="40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6" y="41"/>
                      <a:pt x="106" y="41"/>
                      <a:pt x="106" y="41"/>
                    </a:cubicBezTo>
                    <a:cubicBezTo>
                      <a:pt x="105" y="39"/>
                      <a:pt x="104" y="37"/>
                      <a:pt x="103" y="34"/>
                    </a:cubicBezTo>
                    <a:cubicBezTo>
                      <a:pt x="108" y="30"/>
                      <a:pt x="108" y="30"/>
                      <a:pt x="108" y="30"/>
                    </a:cubicBezTo>
                    <a:cubicBezTo>
                      <a:pt x="110" y="29"/>
                      <a:pt x="110" y="27"/>
                      <a:pt x="109" y="25"/>
                    </a:cubicBezTo>
                    <a:cubicBezTo>
                      <a:pt x="101" y="16"/>
                      <a:pt x="101" y="16"/>
                      <a:pt x="101" y="16"/>
                    </a:cubicBezTo>
                    <a:cubicBezTo>
                      <a:pt x="100" y="15"/>
                      <a:pt x="98" y="15"/>
                      <a:pt x="96" y="16"/>
                    </a:cubicBezTo>
                    <a:cubicBezTo>
                      <a:pt x="91" y="21"/>
                      <a:pt x="91" y="21"/>
                      <a:pt x="91" y="21"/>
                    </a:cubicBezTo>
                    <a:cubicBezTo>
                      <a:pt x="90" y="20"/>
                      <a:pt x="89" y="19"/>
                      <a:pt x="88" y="19"/>
                    </a:cubicBezTo>
                    <a:cubicBezTo>
                      <a:pt x="87" y="18"/>
                      <a:pt x="86" y="17"/>
                      <a:pt x="84" y="16"/>
                    </a:cubicBezTo>
                    <a:cubicBezTo>
                      <a:pt x="87" y="10"/>
                      <a:pt x="87" y="10"/>
                      <a:pt x="87" y="10"/>
                    </a:cubicBezTo>
                    <a:cubicBezTo>
                      <a:pt x="87" y="8"/>
                      <a:pt x="87" y="6"/>
                      <a:pt x="85" y="6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2" y="1"/>
                      <a:pt x="70" y="2"/>
                      <a:pt x="70" y="3"/>
                    </a:cubicBezTo>
                    <a:cubicBezTo>
                      <a:pt x="67" y="10"/>
                      <a:pt x="67" y="10"/>
                      <a:pt x="67" y="10"/>
                    </a:cubicBezTo>
                    <a:cubicBezTo>
                      <a:pt x="65" y="10"/>
                      <a:pt x="62" y="10"/>
                      <a:pt x="59" y="10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58" y="1"/>
                      <a:pt x="56" y="0"/>
                      <a:pt x="55" y="0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1" y="3"/>
                      <a:pt x="40" y="4"/>
                      <a:pt x="40" y="6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9" y="14"/>
                      <a:pt x="37" y="15"/>
                      <a:pt x="34" y="16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10"/>
                      <a:pt x="27" y="10"/>
                      <a:pt x="26" y="11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5" y="20"/>
                      <a:pt x="15" y="22"/>
                      <a:pt x="16" y="23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19" y="31"/>
                      <a:pt x="18" y="33"/>
                      <a:pt x="16" y="35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8" y="32"/>
                      <a:pt x="6" y="33"/>
                      <a:pt x="6" y="3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1" y="47"/>
                      <a:pt x="2" y="49"/>
                      <a:pt x="3" y="50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0" y="55"/>
                      <a:pt x="10" y="57"/>
                      <a:pt x="10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0" y="63"/>
                      <a:pt x="0" y="65"/>
                    </a:cubicBezTo>
                    <a:cubicBezTo>
                      <a:pt x="2" y="77"/>
                      <a:pt x="2" y="77"/>
                      <a:pt x="2" y="77"/>
                    </a:cubicBezTo>
                    <a:cubicBezTo>
                      <a:pt x="3" y="78"/>
                      <a:pt x="4" y="80"/>
                      <a:pt x="6" y="79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4" y="80"/>
                      <a:pt x="15" y="83"/>
                      <a:pt x="17" y="85"/>
                    </a:cubicBezTo>
                    <a:cubicBezTo>
                      <a:pt x="11" y="89"/>
                      <a:pt x="11" y="89"/>
                      <a:pt x="11" y="89"/>
                    </a:cubicBezTo>
                    <a:cubicBezTo>
                      <a:pt x="10" y="91"/>
                      <a:pt x="10" y="92"/>
                      <a:pt x="11" y="94"/>
                    </a:cubicBezTo>
                    <a:cubicBezTo>
                      <a:pt x="19" y="103"/>
                      <a:pt x="19" y="103"/>
                      <a:pt x="19" y="103"/>
                    </a:cubicBezTo>
                    <a:cubicBezTo>
                      <a:pt x="20" y="104"/>
                      <a:pt x="22" y="105"/>
                      <a:pt x="23" y="103"/>
                    </a:cubicBezTo>
                    <a:cubicBezTo>
                      <a:pt x="29" y="99"/>
                      <a:pt x="29" y="99"/>
                      <a:pt x="29" y="99"/>
                    </a:cubicBezTo>
                    <a:cubicBezTo>
                      <a:pt x="31" y="100"/>
                      <a:pt x="33" y="102"/>
                      <a:pt x="35" y="103"/>
                    </a:cubicBezTo>
                    <a:cubicBezTo>
                      <a:pt x="33" y="110"/>
                      <a:pt x="33" y="110"/>
                      <a:pt x="33" y="110"/>
                    </a:cubicBezTo>
                    <a:cubicBezTo>
                      <a:pt x="32" y="111"/>
                      <a:pt x="33" y="113"/>
                      <a:pt x="34" y="114"/>
                    </a:cubicBezTo>
                    <a:cubicBezTo>
                      <a:pt x="46" y="118"/>
                      <a:pt x="46" y="118"/>
                      <a:pt x="46" y="118"/>
                    </a:cubicBezTo>
                    <a:cubicBezTo>
                      <a:pt x="48" y="118"/>
                      <a:pt x="49" y="118"/>
                      <a:pt x="50" y="116"/>
                    </a:cubicBezTo>
                    <a:cubicBezTo>
                      <a:pt x="52" y="109"/>
                      <a:pt x="52" y="109"/>
                      <a:pt x="52" y="109"/>
                    </a:cubicBezTo>
                    <a:cubicBezTo>
                      <a:pt x="55" y="109"/>
                      <a:pt x="57" y="110"/>
                      <a:pt x="60" y="110"/>
                    </a:cubicBezTo>
                    <a:cubicBezTo>
                      <a:pt x="61" y="117"/>
                      <a:pt x="61" y="117"/>
                      <a:pt x="61" y="117"/>
                    </a:cubicBezTo>
                    <a:cubicBezTo>
                      <a:pt x="62" y="118"/>
                      <a:pt x="63" y="119"/>
                      <a:pt x="65" y="119"/>
                    </a:cubicBezTo>
                    <a:cubicBezTo>
                      <a:pt x="77" y="117"/>
                      <a:pt x="77" y="117"/>
                      <a:pt x="77" y="117"/>
                    </a:cubicBezTo>
                    <a:cubicBezTo>
                      <a:pt x="79" y="117"/>
                      <a:pt x="80" y="115"/>
                      <a:pt x="79" y="113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80" y="105"/>
                      <a:pt x="83" y="104"/>
                      <a:pt x="85" y="103"/>
                    </a:cubicBezTo>
                    <a:cubicBezTo>
                      <a:pt x="90" y="108"/>
                      <a:pt x="90" y="108"/>
                      <a:pt x="90" y="108"/>
                    </a:cubicBezTo>
                    <a:cubicBezTo>
                      <a:pt x="91" y="109"/>
                      <a:pt x="93" y="110"/>
                      <a:pt x="94" y="108"/>
                    </a:cubicBezTo>
                    <a:cubicBezTo>
                      <a:pt x="103" y="101"/>
                      <a:pt x="103" y="101"/>
                      <a:pt x="103" y="101"/>
                    </a:cubicBezTo>
                    <a:cubicBezTo>
                      <a:pt x="104" y="100"/>
                      <a:pt x="105" y="98"/>
                      <a:pt x="104" y="96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0" y="89"/>
                      <a:pt x="102" y="87"/>
                      <a:pt x="103" y="84"/>
                    </a:cubicBezTo>
                    <a:cubicBezTo>
                      <a:pt x="110" y="87"/>
                      <a:pt x="110" y="87"/>
                      <a:pt x="110" y="87"/>
                    </a:cubicBezTo>
                    <a:cubicBezTo>
                      <a:pt x="111" y="87"/>
                      <a:pt x="113" y="86"/>
                      <a:pt x="114" y="85"/>
                    </a:cubicBezTo>
                    <a:cubicBezTo>
                      <a:pt x="118" y="73"/>
                      <a:pt x="118" y="73"/>
                      <a:pt x="118" y="73"/>
                    </a:cubicBezTo>
                    <a:cubicBezTo>
                      <a:pt x="118" y="72"/>
                      <a:pt x="118" y="70"/>
                      <a:pt x="116" y="69"/>
                    </a:cubicBezTo>
                    <a:cubicBezTo>
                      <a:pt x="109" y="67"/>
                      <a:pt x="109" y="67"/>
                      <a:pt x="109" y="67"/>
                    </a:cubicBezTo>
                    <a:cubicBezTo>
                      <a:pt x="110" y="64"/>
                      <a:pt x="110" y="62"/>
                      <a:pt x="110" y="59"/>
                    </a:cubicBezTo>
                    <a:cubicBezTo>
                      <a:pt x="117" y="58"/>
                      <a:pt x="117" y="58"/>
                      <a:pt x="117" y="58"/>
                    </a:cubicBezTo>
                    <a:cubicBezTo>
                      <a:pt x="118" y="58"/>
                      <a:pt x="119" y="56"/>
                      <a:pt x="119" y="54"/>
                    </a:cubicBezTo>
                    <a:cubicBezTo>
                      <a:pt x="117" y="44"/>
                      <a:pt x="117" y="44"/>
                      <a:pt x="117" y="44"/>
                    </a:cubicBezTo>
                    <a:lnTo>
                      <a:pt x="117" y="42"/>
                    </a:lnTo>
                    <a:close/>
                    <a:moveTo>
                      <a:pt x="23" y="67"/>
                    </a:moveTo>
                    <a:cubicBezTo>
                      <a:pt x="23" y="66"/>
                      <a:pt x="23" y="66"/>
                      <a:pt x="23" y="66"/>
                    </a:cubicBezTo>
                    <a:cubicBezTo>
                      <a:pt x="22" y="60"/>
                      <a:pt x="22" y="53"/>
                      <a:pt x="24" y="47"/>
                    </a:cubicBezTo>
                    <a:cubicBezTo>
                      <a:pt x="28" y="37"/>
                      <a:pt x="36" y="28"/>
                      <a:pt x="47" y="24"/>
                    </a:cubicBezTo>
                    <a:cubicBezTo>
                      <a:pt x="48" y="24"/>
                      <a:pt x="49" y="24"/>
                      <a:pt x="50" y="23"/>
                    </a:cubicBezTo>
                    <a:cubicBezTo>
                      <a:pt x="51" y="23"/>
                      <a:pt x="52" y="23"/>
                      <a:pt x="52" y="23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49" y="39"/>
                      <a:pt x="48" y="40"/>
                      <a:pt x="47" y="41"/>
                    </a:cubicBezTo>
                    <a:cubicBezTo>
                      <a:pt x="42" y="44"/>
                      <a:pt x="39" y="50"/>
                      <a:pt x="38" y="56"/>
                    </a:cubicBezTo>
                    <a:cubicBezTo>
                      <a:pt x="37" y="57"/>
                      <a:pt x="37" y="59"/>
                      <a:pt x="37" y="60"/>
                    </a:cubicBezTo>
                    <a:lnTo>
                      <a:pt x="23" y="67"/>
                    </a:lnTo>
                    <a:close/>
                    <a:moveTo>
                      <a:pt x="66" y="97"/>
                    </a:moveTo>
                    <a:cubicBezTo>
                      <a:pt x="54" y="99"/>
                      <a:pt x="41" y="95"/>
                      <a:pt x="33" y="86"/>
                    </a:cubicBezTo>
                    <a:cubicBezTo>
                      <a:pt x="48" y="79"/>
                      <a:pt x="48" y="79"/>
                      <a:pt x="48" y="79"/>
                    </a:cubicBezTo>
                    <a:cubicBezTo>
                      <a:pt x="52" y="82"/>
                      <a:pt x="58" y="83"/>
                      <a:pt x="64" y="82"/>
                    </a:cubicBezTo>
                    <a:cubicBezTo>
                      <a:pt x="65" y="82"/>
                      <a:pt x="67" y="81"/>
                      <a:pt x="68" y="81"/>
                    </a:cubicBezTo>
                    <a:cubicBezTo>
                      <a:pt x="82" y="90"/>
                      <a:pt x="82" y="90"/>
                      <a:pt x="82" y="90"/>
                    </a:cubicBezTo>
                    <a:cubicBezTo>
                      <a:pt x="77" y="93"/>
                      <a:pt x="72" y="96"/>
                      <a:pt x="66" y="97"/>
                    </a:cubicBezTo>
                    <a:close/>
                    <a:moveTo>
                      <a:pt x="95" y="73"/>
                    </a:moveTo>
                    <a:cubicBezTo>
                      <a:pt x="82" y="64"/>
                      <a:pt x="82" y="64"/>
                      <a:pt x="82" y="64"/>
                    </a:cubicBezTo>
                    <a:cubicBezTo>
                      <a:pt x="82" y="62"/>
                      <a:pt x="83" y="59"/>
                      <a:pt x="82" y="56"/>
                    </a:cubicBezTo>
                    <a:cubicBezTo>
                      <a:pt x="81" y="50"/>
                      <a:pt x="78" y="45"/>
                      <a:pt x="74" y="42"/>
                    </a:cubicBezTo>
                    <a:cubicBezTo>
                      <a:pt x="73" y="42"/>
                      <a:pt x="73" y="41"/>
                      <a:pt x="72" y="41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74" y="25"/>
                      <a:pt x="74" y="25"/>
                      <a:pt x="74" y="25"/>
                    </a:cubicBezTo>
                    <a:cubicBezTo>
                      <a:pt x="80" y="27"/>
                      <a:pt x="85" y="31"/>
                      <a:pt x="89" y="36"/>
                    </a:cubicBezTo>
                    <a:cubicBezTo>
                      <a:pt x="91" y="38"/>
                      <a:pt x="93" y="41"/>
                      <a:pt x="94" y="44"/>
                    </a:cubicBezTo>
                    <a:cubicBezTo>
                      <a:pt x="95" y="47"/>
                      <a:pt x="96" y="50"/>
                      <a:pt x="97" y="53"/>
                    </a:cubicBezTo>
                    <a:cubicBezTo>
                      <a:pt x="98" y="60"/>
                      <a:pt x="97" y="67"/>
                      <a:pt x="95" y="7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</p:grpSp>
        <p:grpSp>
          <p:nvGrpSpPr>
            <p:cNvPr id="81" name="Group 4"/>
            <p:cNvGrpSpPr>
              <a:grpSpLocks noChangeAspect="1"/>
            </p:cNvGrpSpPr>
            <p:nvPr userDrawn="1"/>
          </p:nvGrpSpPr>
          <p:grpSpPr bwMode="auto">
            <a:xfrm>
              <a:off x="713661" y="113741"/>
              <a:ext cx="69318" cy="90152"/>
              <a:chOff x="3655" y="1900"/>
              <a:chExt cx="366" cy="476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93" name="Freeform 5"/>
              <p:cNvSpPr>
                <a:spLocks noEditPoints="1"/>
              </p:cNvSpPr>
              <p:nvPr/>
            </p:nvSpPr>
            <p:spPr bwMode="auto">
              <a:xfrm>
                <a:off x="3953" y="1971"/>
                <a:ext cx="68" cy="132"/>
              </a:xfrm>
              <a:custGeom>
                <a:avLst/>
                <a:gdLst>
                  <a:gd name="T0" fmla="*/ 31 w 38"/>
                  <a:gd name="T1" fmla="*/ 74 h 74"/>
                  <a:gd name="T2" fmla="*/ 27 w 38"/>
                  <a:gd name="T3" fmla="*/ 73 h 74"/>
                  <a:gd name="T4" fmla="*/ 18 w 38"/>
                  <a:gd name="T5" fmla="*/ 52 h 74"/>
                  <a:gd name="T6" fmla="*/ 17 w 38"/>
                  <a:gd name="T7" fmla="*/ 49 h 74"/>
                  <a:gd name="T8" fmla="*/ 2 w 38"/>
                  <a:gd name="T9" fmla="*/ 10 h 74"/>
                  <a:gd name="T10" fmla="*/ 4 w 38"/>
                  <a:gd name="T11" fmla="*/ 2 h 74"/>
                  <a:gd name="T12" fmla="*/ 12 w 38"/>
                  <a:gd name="T13" fmla="*/ 4 h 74"/>
                  <a:gd name="T14" fmla="*/ 29 w 38"/>
                  <a:gd name="T15" fmla="*/ 46 h 74"/>
                  <a:gd name="T16" fmla="*/ 29 w 38"/>
                  <a:gd name="T17" fmla="*/ 48 h 74"/>
                  <a:gd name="T18" fmla="*/ 30 w 38"/>
                  <a:gd name="T19" fmla="*/ 49 h 74"/>
                  <a:gd name="T20" fmla="*/ 34 w 38"/>
                  <a:gd name="T21" fmla="*/ 63 h 74"/>
                  <a:gd name="T22" fmla="*/ 36 w 38"/>
                  <a:gd name="T23" fmla="*/ 72 h 74"/>
                  <a:gd name="T24" fmla="*/ 31 w 38"/>
                  <a:gd name="T25" fmla="*/ 74 h 74"/>
                  <a:gd name="T26" fmla="*/ 31 w 38"/>
                  <a:gd name="T27" fmla="*/ 74 h 74"/>
                  <a:gd name="T28" fmla="*/ 31 w 38"/>
                  <a:gd name="T2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74">
                    <a:moveTo>
                      <a:pt x="31" y="74"/>
                    </a:moveTo>
                    <a:cubicBezTo>
                      <a:pt x="29" y="74"/>
                      <a:pt x="28" y="74"/>
                      <a:pt x="27" y="73"/>
                    </a:cubicBezTo>
                    <a:cubicBezTo>
                      <a:pt x="23" y="70"/>
                      <a:pt x="19" y="60"/>
                      <a:pt x="18" y="52"/>
                    </a:cubicBezTo>
                    <a:cubicBezTo>
                      <a:pt x="17" y="52"/>
                      <a:pt x="17" y="51"/>
                      <a:pt x="17" y="49"/>
                    </a:cubicBezTo>
                    <a:cubicBezTo>
                      <a:pt x="15" y="43"/>
                      <a:pt x="11" y="26"/>
                      <a:pt x="2" y="10"/>
                    </a:cubicBezTo>
                    <a:cubicBezTo>
                      <a:pt x="0" y="7"/>
                      <a:pt x="1" y="3"/>
                      <a:pt x="4" y="2"/>
                    </a:cubicBezTo>
                    <a:cubicBezTo>
                      <a:pt x="7" y="0"/>
                      <a:pt x="11" y="1"/>
                      <a:pt x="12" y="4"/>
                    </a:cubicBezTo>
                    <a:cubicBezTo>
                      <a:pt x="23" y="21"/>
                      <a:pt x="27" y="39"/>
                      <a:pt x="29" y="46"/>
                    </a:cubicBezTo>
                    <a:cubicBezTo>
                      <a:pt x="29" y="47"/>
                      <a:pt x="29" y="48"/>
                      <a:pt x="29" y="48"/>
                    </a:cubicBezTo>
                    <a:cubicBezTo>
                      <a:pt x="29" y="48"/>
                      <a:pt x="30" y="49"/>
                      <a:pt x="30" y="49"/>
                    </a:cubicBezTo>
                    <a:cubicBezTo>
                      <a:pt x="31" y="55"/>
                      <a:pt x="33" y="62"/>
                      <a:pt x="34" y="63"/>
                    </a:cubicBezTo>
                    <a:cubicBezTo>
                      <a:pt x="37" y="65"/>
                      <a:pt x="38" y="69"/>
                      <a:pt x="36" y="72"/>
                    </a:cubicBezTo>
                    <a:cubicBezTo>
                      <a:pt x="34" y="73"/>
                      <a:pt x="32" y="74"/>
                      <a:pt x="31" y="74"/>
                    </a:cubicBezTo>
                    <a:close/>
                    <a:moveTo>
                      <a:pt x="31" y="74"/>
                    </a:moveTo>
                    <a:cubicBezTo>
                      <a:pt x="31" y="74"/>
                      <a:pt x="31" y="74"/>
                      <a:pt x="31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94" name="Freeform 6"/>
              <p:cNvSpPr>
                <a:spLocks noEditPoints="1"/>
              </p:cNvSpPr>
              <p:nvPr/>
            </p:nvSpPr>
            <p:spPr bwMode="auto">
              <a:xfrm>
                <a:off x="3810" y="1900"/>
                <a:ext cx="143" cy="62"/>
              </a:xfrm>
              <a:custGeom>
                <a:avLst/>
                <a:gdLst>
                  <a:gd name="T0" fmla="*/ 74 w 80"/>
                  <a:gd name="T1" fmla="*/ 35 h 35"/>
                  <a:gd name="T2" fmla="*/ 69 w 80"/>
                  <a:gd name="T3" fmla="*/ 34 h 35"/>
                  <a:gd name="T4" fmla="*/ 25 w 80"/>
                  <a:gd name="T5" fmla="*/ 12 h 35"/>
                  <a:gd name="T6" fmla="*/ 8 w 80"/>
                  <a:gd name="T7" fmla="*/ 14 h 35"/>
                  <a:gd name="T8" fmla="*/ 1 w 80"/>
                  <a:gd name="T9" fmla="*/ 9 h 35"/>
                  <a:gd name="T10" fmla="*/ 6 w 80"/>
                  <a:gd name="T11" fmla="*/ 2 h 35"/>
                  <a:gd name="T12" fmla="*/ 26 w 80"/>
                  <a:gd name="T13" fmla="*/ 0 h 35"/>
                  <a:gd name="T14" fmla="*/ 26 w 80"/>
                  <a:gd name="T15" fmla="*/ 0 h 35"/>
                  <a:gd name="T16" fmla="*/ 78 w 80"/>
                  <a:gd name="T17" fmla="*/ 25 h 35"/>
                  <a:gd name="T18" fmla="*/ 78 w 80"/>
                  <a:gd name="T19" fmla="*/ 34 h 35"/>
                  <a:gd name="T20" fmla="*/ 74 w 80"/>
                  <a:gd name="T21" fmla="*/ 35 h 35"/>
                  <a:gd name="T22" fmla="*/ 74 w 80"/>
                  <a:gd name="T23" fmla="*/ 35 h 35"/>
                  <a:gd name="T24" fmla="*/ 74 w 80"/>
                  <a:gd name="T2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35">
                    <a:moveTo>
                      <a:pt x="74" y="35"/>
                    </a:moveTo>
                    <a:cubicBezTo>
                      <a:pt x="72" y="35"/>
                      <a:pt x="70" y="35"/>
                      <a:pt x="69" y="34"/>
                    </a:cubicBezTo>
                    <a:cubicBezTo>
                      <a:pt x="57" y="21"/>
                      <a:pt x="42" y="14"/>
                      <a:pt x="25" y="12"/>
                    </a:cubicBezTo>
                    <a:cubicBezTo>
                      <a:pt x="19" y="12"/>
                      <a:pt x="14" y="13"/>
                      <a:pt x="8" y="14"/>
                    </a:cubicBezTo>
                    <a:cubicBezTo>
                      <a:pt x="5" y="14"/>
                      <a:pt x="2" y="12"/>
                      <a:pt x="1" y="9"/>
                    </a:cubicBezTo>
                    <a:cubicBezTo>
                      <a:pt x="0" y="5"/>
                      <a:pt x="3" y="2"/>
                      <a:pt x="6" y="2"/>
                    </a:cubicBezTo>
                    <a:cubicBezTo>
                      <a:pt x="12" y="0"/>
                      <a:pt x="19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46" y="2"/>
                      <a:pt x="64" y="10"/>
                      <a:pt x="78" y="25"/>
                    </a:cubicBezTo>
                    <a:cubicBezTo>
                      <a:pt x="80" y="27"/>
                      <a:pt x="80" y="31"/>
                      <a:pt x="78" y="34"/>
                    </a:cubicBezTo>
                    <a:cubicBezTo>
                      <a:pt x="77" y="35"/>
                      <a:pt x="75" y="35"/>
                      <a:pt x="74" y="35"/>
                    </a:cubicBezTo>
                    <a:close/>
                    <a:moveTo>
                      <a:pt x="74" y="35"/>
                    </a:moveTo>
                    <a:cubicBezTo>
                      <a:pt x="74" y="35"/>
                      <a:pt x="74" y="35"/>
                      <a:pt x="74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95" name="Freeform 7"/>
              <p:cNvSpPr>
                <a:spLocks noEditPoints="1"/>
              </p:cNvSpPr>
              <p:nvPr/>
            </p:nvSpPr>
            <p:spPr bwMode="auto">
              <a:xfrm>
                <a:off x="3657" y="1927"/>
                <a:ext cx="120" cy="119"/>
              </a:xfrm>
              <a:custGeom>
                <a:avLst/>
                <a:gdLst>
                  <a:gd name="T0" fmla="*/ 6 w 67"/>
                  <a:gd name="T1" fmla="*/ 67 h 67"/>
                  <a:gd name="T2" fmla="*/ 5 w 67"/>
                  <a:gd name="T3" fmla="*/ 67 h 67"/>
                  <a:gd name="T4" fmla="*/ 0 w 67"/>
                  <a:gd name="T5" fmla="*/ 62 h 67"/>
                  <a:gd name="T6" fmla="*/ 3 w 67"/>
                  <a:gd name="T7" fmla="*/ 56 h 67"/>
                  <a:gd name="T8" fmla="*/ 4 w 67"/>
                  <a:gd name="T9" fmla="*/ 55 h 67"/>
                  <a:gd name="T10" fmla="*/ 14 w 67"/>
                  <a:gd name="T11" fmla="*/ 46 h 67"/>
                  <a:gd name="T12" fmla="*/ 15 w 67"/>
                  <a:gd name="T13" fmla="*/ 44 h 67"/>
                  <a:gd name="T14" fmla="*/ 24 w 67"/>
                  <a:gd name="T15" fmla="*/ 33 h 67"/>
                  <a:gd name="T16" fmla="*/ 56 w 67"/>
                  <a:gd name="T17" fmla="*/ 2 h 67"/>
                  <a:gd name="T18" fmla="*/ 65 w 67"/>
                  <a:gd name="T19" fmla="*/ 3 h 67"/>
                  <a:gd name="T20" fmla="*/ 63 w 67"/>
                  <a:gd name="T21" fmla="*/ 12 h 67"/>
                  <a:gd name="T22" fmla="*/ 33 w 67"/>
                  <a:gd name="T23" fmla="*/ 41 h 67"/>
                  <a:gd name="T24" fmla="*/ 25 w 67"/>
                  <a:gd name="T25" fmla="*/ 51 h 67"/>
                  <a:gd name="T26" fmla="*/ 24 w 67"/>
                  <a:gd name="T27" fmla="*/ 53 h 67"/>
                  <a:gd name="T28" fmla="*/ 14 w 67"/>
                  <a:gd name="T29" fmla="*/ 63 h 67"/>
                  <a:gd name="T30" fmla="*/ 6 w 67"/>
                  <a:gd name="T31" fmla="*/ 67 h 67"/>
                  <a:gd name="T32" fmla="*/ 6 w 67"/>
                  <a:gd name="T33" fmla="*/ 67 h 67"/>
                  <a:gd name="T34" fmla="*/ 6 w 67"/>
                  <a:gd name="T3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7" h="67">
                    <a:moveTo>
                      <a:pt x="6" y="67"/>
                    </a:moveTo>
                    <a:cubicBezTo>
                      <a:pt x="6" y="67"/>
                      <a:pt x="6" y="67"/>
                      <a:pt x="5" y="67"/>
                    </a:cubicBezTo>
                    <a:cubicBezTo>
                      <a:pt x="3" y="66"/>
                      <a:pt x="1" y="64"/>
                      <a:pt x="0" y="62"/>
                    </a:cubicBezTo>
                    <a:cubicBezTo>
                      <a:pt x="0" y="59"/>
                      <a:pt x="1" y="57"/>
                      <a:pt x="3" y="56"/>
                    </a:cubicBezTo>
                    <a:cubicBezTo>
                      <a:pt x="3" y="55"/>
                      <a:pt x="4" y="55"/>
                      <a:pt x="4" y="55"/>
                    </a:cubicBezTo>
                    <a:cubicBezTo>
                      <a:pt x="6" y="54"/>
                      <a:pt x="10" y="51"/>
                      <a:pt x="14" y="46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8" y="41"/>
                      <a:pt x="20" y="37"/>
                      <a:pt x="24" y="33"/>
                    </a:cubicBezTo>
                    <a:cubicBezTo>
                      <a:pt x="34" y="20"/>
                      <a:pt x="45" y="10"/>
                      <a:pt x="56" y="2"/>
                    </a:cubicBezTo>
                    <a:cubicBezTo>
                      <a:pt x="59" y="0"/>
                      <a:pt x="63" y="1"/>
                      <a:pt x="65" y="3"/>
                    </a:cubicBezTo>
                    <a:cubicBezTo>
                      <a:pt x="67" y="6"/>
                      <a:pt x="66" y="10"/>
                      <a:pt x="63" y="12"/>
                    </a:cubicBezTo>
                    <a:cubicBezTo>
                      <a:pt x="53" y="19"/>
                      <a:pt x="43" y="29"/>
                      <a:pt x="33" y="41"/>
                    </a:cubicBezTo>
                    <a:cubicBezTo>
                      <a:pt x="30" y="45"/>
                      <a:pt x="27" y="48"/>
                      <a:pt x="25" y="51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0" y="58"/>
                      <a:pt x="17" y="61"/>
                      <a:pt x="14" y="63"/>
                    </a:cubicBezTo>
                    <a:cubicBezTo>
                      <a:pt x="10" y="66"/>
                      <a:pt x="8" y="67"/>
                      <a:pt x="6" y="67"/>
                    </a:cubicBezTo>
                    <a:close/>
                    <a:moveTo>
                      <a:pt x="6" y="67"/>
                    </a:moveTo>
                    <a:cubicBezTo>
                      <a:pt x="6" y="67"/>
                      <a:pt x="6" y="67"/>
                      <a:pt x="6" y="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96" name="Freeform 8"/>
              <p:cNvSpPr>
                <a:spLocks noEditPoints="1"/>
              </p:cNvSpPr>
              <p:nvPr/>
            </p:nvSpPr>
            <p:spPr bwMode="auto">
              <a:xfrm>
                <a:off x="3655" y="2114"/>
                <a:ext cx="81" cy="44"/>
              </a:xfrm>
              <a:custGeom>
                <a:avLst/>
                <a:gdLst>
                  <a:gd name="T0" fmla="*/ 7 w 45"/>
                  <a:gd name="T1" fmla="*/ 25 h 25"/>
                  <a:gd name="T2" fmla="*/ 1 w 45"/>
                  <a:gd name="T3" fmla="*/ 21 h 25"/>
                  <a:gd name="T4" fmla="*/ 6 w 45"/>
                  <a:gd name="T5" fmla="*/ 13 h 25"/>
                  <a:gd name="T6" fmla="*/ 35 w 45"/>
                  <a:gd name="T7" fmla="*/ 1 h 25"/>
                  <a:gd name="T8" fmla="*/ 44 w 45"/>
                  <a:gd name="T9" fmla="*/ 4 h 25"/>
                  <a:gd name="T10" fmla="*/ 41 w 45"/>
                  <a:gd name="T11" fmla="*/ 12 h 25"/>
                  <a:gd name="T12" fmla="*/ 9 w 45"/>
                  <a:gd name="T13" fmla="*/ 25 h 25"/>
                  <a:gd name="T14" fmla="*/ 7 w 45"/>
                  <a:gd name="T15" fmla="*/ 25 h 25"/>
                  <a:gd name="T16" fmla="*/ 7 w 45"/>
                  <a:gd name="T17" fmla="*/ 25 h 25"/>
                  <a:gd name="T18" fmla="*/ 7 w 45"/>
                  <a:gd name="T1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5" h="25">
                    <a:moveTo>
                      <a:pt x="7" y="25"/>
                    </a:moveTo>
                    <a:cubicBezTo>
                      <a:pt x="4" y="25"/>
                      <a:pt x="2" y="24"/>
                      <a:pt x="1" y="21"/>
                    </a:cubicBezTo>
                    <a:cubicBezTo>
                      <a:pt x="0" y="17"/>
                      <a:pt x="2" y="14"/>
                      <a:pt x="6" y="13"/>
                    </a:cubicBezTo>
                    <a:cubicBezTo>
                      <a:pt x="17" y="10"/>
                      <a:pt x="28" y="5"/>
                      <a:pt x="35" y="1"/>
                    </a:cubicBezTo>
                    <a:cubicBezTo>
                      <a:pt x="38" y="0"/>
                      <a:pt x="42" y="1"/>
                      <a:pt x="44" y="4"/>
                    </a:cubicBezTo>
                    <a:cubicBezTo>
                      <a:pt x="45" y="7"/>
                      <a:pt x="44" y="11"/>
                      <a:pt x="41" y="12"/>
                    </a:cubicBezTo>
                    <a:cubicBezTo>
                      <a:pt x="33" y="16"/>
                      <a:pt x="21" y="22"/>
                      <a:pt x="9" y="25"/>
                    </a:cubicBezTo>
                    <a:cubicBezTo>
                      <a:pt x="8" y="25"/>
                      <a:pt x="8" y="25"/>
                      <a:pt x="7" y="25"/>
                    </a:cubicBezTo>
                    <a:close/>
                    <a:moveTo>
                      <a:pt x="7" y="25"/>
                    </a:moveTo>
                    <a:cubicBezTo>
                      <a:pt x="7" y="25"/>
                      <a:pt x="7" y="25"/>
                      <a:pt x="7" y="2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97" name="Freeform 9"/>
              <p:cNvSpPr>
                <a:spLocks noEditPoints="1"/>
              </p:cNvSpPr>
              <p:nvPr/>
            </p:nvSpPr>
            <p:spPr bwMode="auto">
              <a:xfrm>
                <a:off x="3738" y="1989"/>
                <a:ext cx="211" cy="132"/>
              </a:xfrm>
              <a:custGeom>
                <a:avLst/>
                <a:gdLst>
                  <a:gd name="T0" fmla="*/ 7 w 118"/>
                  <a:gd name="T1" fmla="*/ 74 h 74"/>
                  <a:gd name="T2" fmla="*/ 2 w 118"/>
                  <a:gd name="T3" fmla="*/ 71 h 74"/>
                  <a:gd name="T4" fmla="*/ 3 w 118"/>
                  <a:gd name="T5" fmla="*/ 63 h 74"/>
                  <a:gd name="T6" fmla="*/ 45 w 118"/>
                  <a:gd name="T7" fmla="*/ 27 h 74"/>
                  <a:gd name="T8" fmla="*/ 94 w 118"/>
                  <a:gd name="T9" fmla="*/ 5 h 74"/>
                  <a:gd name="T10" fmla="*/ 117 w 118"/>
                  <a:gd name="T11" fmla="*/ 27 h 74"/>
                  <a:gd name="T12" fmla="*/ 113 w 118"/>
                  <a:gd name="T13" fmla="*/ 34 h 74"/>
                  <a:gd name="T14" fmla="*/ 105 w 118"/>
                  <a:gd name="T15" fmla="*/ 30 h 74"/>
                  <a:gd name="T16" fmla="*/ 90 w 118"/>
                  <a:gd name="T17" fmla="*/ 17 h 74"/>
                  <a:gd name="T18" fmla="*/ 54 w 118"/>
                  <a:gd name="T19" fmla="*/ 35 h 74"/>
                  <a:gd name="T20" fmla="*/ 10 w 118"/>
                  <a:gd name="T21" fmla="*/ 73 h 74"/>
                  <a:gd name="T22" fmla="*/ 7 w 118"/>
                  <a:gd name="T23" fmla="*/ 74 h 74"/>
                  <a:gd name="T24" fmla="*/ 7 w 118"/>
                  <a:gd name="T25" fmla="*/ 74 h 74"/>
                  <a:gd name="T26" fmla="*/ 7 w 118"/>
                  <a:gd name="T27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8" h="74">
                    <a:moveTo>
                      <a:pt x="7" y="74"/>
                    </a:moveTo>
                    <a:cubicBezTo>
                      <a:pt x="5" y="74"/>
                      <a:pt x="3" y="73"/>
                      <a:pt x="2" y="71"/>
                    </a:cubicBezTo>
                    <a:cubicBezTo>
                      <a:pt x="0" y="69"/>
                      <a:pt x="0" y="65"/>
                      <a:pt x="3" y="63"/>
                    </a:cubicBezTo>
                    <a:cubicBezTo>
                      <a:pt x="25" y="48"/>
                      <a:pt x="45" y="27"/>
                      <a:pt x="45" y="27"/>
                    </a:cubicBezTo>
                    <a:cubicBezTo>
                      <a:pt x="61" y="8"/>
                      <a:pt x="79" y="0"/>
                      <a:pt x="94" y="5"/>
                    </a:cubicBezTo>
                    <a:cubicBezTo>
                      <a:pt x="109" y="9"/>
                      <a:pt x="115" y="19"/>
                      <a:pt x="117" y="27"/>
                    </a:cubicBezTo>
                    <a:cubicBezTo>
                      <a:pt x="118" y="30"/>
                      <a:pt x="116" y="33"/>
                      <a:pt x="113" y="34"/>
                    </a:cubicBezTo>
                    <a:cubicBezTo>
                      <a:pt x="110" y="35"/>
                      <a:pt x="106" y="34"/>
                      <a:pt x="105" y="30"/>
                    </a:cubicBezTo>
                    <a:cubicBezTo>
                      <a:pt x="103" y="24"/>
                      <a:pt x="98" y="19"/>
                      <a:pt x="90" y="17"/>
                    </a:cubicBezTo>
                    <a:cubicBezTo>
                      <a:pt x="79" y="13"/>
                      <a:pt x="64" y="24"/>
                      <a:pt x="54" y="35"/>
                    </a:cubicBezTo>
                    <a:cubicBezTo>
                      <a:pt x="52" y="38"/>
                      <a:pt x="32" y="58"/>
                      <a:pt x="10" y="73"/>
                    </a:cubicBezTo>
                    <a:cubicBezTo>
                      <a:pt x="9" y="74"/>
                      <a:pt x="8" y="74"/>
                      <a:pt x="7" y="74"/>
                    </a:cubicBezTo>
                    <a:close/>
                    <a:moveTo>
                      <a:pt x="7" y="74"/>
                    </a:moveTo>
                    <a:cubicBezTo>
                      <a:pt x="7" y="74"/>
                      <a:pt x="7" y="74"/>
                      <a:pt x="7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98" name="Freeform 10"/>
              <p:cNvSpPr>
                <a:spLocks noEditPoints="1"/>
              </p:cNvSpPr>
              <p:nvPr/>
            </p:nvSpPr>
            <p:spPr bwMode="auto">
              <a:xfrm>
                <a:off x="3677" y="2071"/>
                <a:ext cx="269" cy="203"/>
              </a:xfrm>
              <a:custGeom>
                <a:avLst/>
                <a:gdLst>
                  <a:gd name="T0" fmla="*/ 7 w 150"/>
                  <a:gd name="T1" fmla="*/ 114 h 114"/>
                  <a:gd name="T2" fmla="*/ 1 w 150"/>
                  <a:gd name="T3" fmla="*/ 110 h 114"/>
                  <a:gd name="T4" fmla="*/ 4 w 150"/>
                  <a:gd name="T5" fmla="*/ 102 h 114"/>
                  <a:gd name="T6" fmla="*/ 82 w 150"/>
                  <a:gd name="T7" fmla="*/ 58 h 114"/>
                  <a:gd name="T8" fmla="*/ 138 w 150"/>
                  <a:gd name="T9" fmla="*/ 5 h 114"/>
                  <a:gd name="T10" fmla="*/ 146 w 150"/>
                  <a:gd name="T11" fmla="*/ 1 h 114"/>
                  <a:gd name="T12" fmla="*/ 149 w 150"/>
                  <a:gd name="T13" fmla="*/ 9 h 114"/>
                  <a:gd name="T14" fmla="*/ 89 w 150"/>
                  <a:gd name="T15" fmla="*/ 69 h 114"/>
                  <a:gd name="T16" fmla="*/ 9 w 150"/>
                  <a:gd name="T17" fmla="*/ 113 h 114"/>
                  <a:gd name="T18" fmla="*/ 7 w 150"/>
                  <a:gd name="T19" fmla="*/ 114 h 114"/>
                  <a:gd name="T20" fmla="*/ 7 w 150"/>
                  <a:gd name="T21" fmla="*/ 114 h 114"/>
                  <a:gd name="T22" fmla="*/ 7 w 150"/>
                  <a:gd name="T23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0" h="114">
                    <a:moveTo>
                      <a:pt x="7" y="114"/>
                    </a:moveTo>
                    <a:cubicBezTo>
                      <a:pt x="4" y="114"/>
                      <a:pt x="2" y="113"/>
                      <a:pt x="1" y="110"/>
                    </a:cubicBezTo>
                    <a:cubicBezTo>
                      <a:pt x="0" y="107"/>
                      <a:pt x="1" y="103"/>
                      <a:pt x="4" y="102"/>
                    </a:cubicBezTo>
                    <a:cubicBezTo>
                      <a:pt x="31" y="91"/>
                      <a:pt x="68" y="68"/>
                      <a:pt x="82" y="58"/>
                    </a:cubicBezTo>
                    <a:cubicBezTo>
                      <a:pt x="112" y="39"/>
                      <a:pt x="131" y="20"/>
                      <a:pt x="138" y="5"/>
                    </a:cubicBezTo>
                    <a:cubicBezTo>
                      <a:pt x="139" y="2"/>
                      <a:pt x="143" y="0"/>
                      <a:pt x="146" y="1"/>
                    </a:cubicBezTo>
                    <a:cubicBezTo>
                      <a:pt x="149" y="3"/>
                      <a:pt x="150" y="6"/>
                      <a:pt x="149" y="9"/>
                    </a:cubicBezTo>
                    <a:cubicBezTo>
                      <a:pt x="140" y="33"/>
                      <a:pt x="111" y="54"/>
                      <a:pt x="89" y="69"/>
                    </a:cubicBezTo>
                    <a:cubicBezTo>
                      <a:pt x="74" y="78"/>
                      <a:pt x="36" y="102"/>
                      <a:pt x="9" y="113"/>
                    </a:cubicBezTo>
                    <a:cubicBezTo>
                      <a:pt x="8" y="114"/>
                      <a:pt x="8" y="114"/>
                      <a:pt x="7" y="114"/>
                    </a:cubicBezTo>
                    <a:close/>
                    <a:moveTo>
                      <a:pt x="7" y="114"/>
                    </a:moveTo>
                    <a:cubicBezTo>
                      <a:pt x="7" y="114"/>
                      <a:pt x="7" y="114"/>
                      <a:pt x="7" y="1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99" name="Freeform 11"/>
              <p:cNvSpPr>
                <a:spLocks noEditPoints="1"/>
              </p:cNvSpPr>
              <p:nvPr/>
            </p:nvSpPr>
            <p:spPr bwMode="auto">
              <a:xfrm>
                <a:off x="3766" y="1946"/>
                <a:ext cx="112" cy="73"/>
              </a:xfrm>
              <a:custGeom>
                <a:avLst/>
                <a:gdLst>
                  <a:gd name="T0" fmla="*/ 15 w 62"/>
                  <a:gd name="T1" fmla="*/ 35 h 41"/>
                  <a:gd name="T2" fmla="*/ 33 w 62"/>
                  <a:gd name="T3" fmla="*/ 21 h 41"/>
                  <a:gd name="T4" fmla="*/ 56 w 62"/>
                  <a:gd name="T5" fmla="*/ 13 h 41"/>
                  <a:gd name="T6" fmla="*/ 62 w 62"/>
                  <a:gd name="T7" fmla="*/ 7 h 41"/>
                  <a:gd name="T8" fmla="*/ 56 w 62"/>
                  <a:gd name="T9" fmla="*/ 0 h 41"/>
                  <a:gd name="T10" fmla="*/ 6 w 62"/>
                  <a:gd name="T11" fmla="*/ 26 h 41"/>
                  <a:gd name="T12" fmla="*/ 15 w 62"/>
                  <a:gd name="T13" fmla="*/ 35 h 41"/>
                  <a:gd name="T14" fmla="*/ 15 w 62"/>
                  <a:gd name="T15" fmla="*/ 35 h 41"/>
                  <a:gd name="T16" fmla="*/ 15 w 62"/>
                  <a:gd name="T17" fmla="*/ 3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41">
                    <a:moveTo>
                      <a:pt x="15" y="35"/>
                    </a:moveTo>
                    <a:cubicBezTo>
                      <a:pt x="20" y="30"/>
                      <a:pt x="26" y="25"/>
                      <a:pt x="33" y="21"/>
                    </a:cubicBezTo>
                    <a:cubicBezTo>
                      <a:pt x="40" y="17"/>
                      <a:pt x="48" y="14"/>
                      <a:pt x="56" y="13"/>
                    </a:cubicBezTo>
                    <a:cubicBezTo>
                      <a:pt x="59" y="13"/>
                      <a:pt x="62" y="10"/>
                      <a:pt x="62" y="7"/>
                    </a:cubicBezTo>
                    <a:cubicBezTo>
                      <a:pt x="62" y="4"/>
                      <a:pt x="59" y="0"/>
                      <a:pt x="56" y="0"/>
                    </a:cubicBezTo>
                    <a:cubicBezTo>
                      <a:pt x="36" y="3"/>
                      <a:pt x="20" y="13"/>
                      <a:pt x="6" y="26"/>
                    </a:cubicBezTo>
                    <a:cubicBezTo>
                      <a:pt x="0" y="32"/>
                      <a:pt x="9" y="41"/>
                      <a:pt x="15" y="35"/>
                    </a:cubicBezTo>
                    <a:close/>
                    <a:moveTo>
                      <a:pt x="15" y="35"/>
                    </a:moveTo>
                    <a:cubicBezTo>
                      <a:pt x="15" y="35"/>
                      <a:pt x="15" y="35"/>
                      <a:pt x="15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0" name="Freeform 12"/>
              <p:cNvSpPr>
                <a:spLocks noEditPoints="1"/>
              </p:cNvSpPr>
              <p:nvPr/>
            </p:nvSpPr>
            <p:spPr bwMode="auto">
              <a:xfrm>
                <a:off x="3661" y="2023"/>
                <a:ext cx="105" cy="78"/>
              </a:xfrm>
              <a:custGeom>
                <a:avLst/>
                <a:gdLst>
                  <a:gd name="T0" fmla="*/ 8 w 59"/>
                  <a:gd name="T1" fmla="*/ 43 h 44"/>
                  <a:gd name="T2" fmla="*/ 32 w 59"/>
                  <a:gd name="T3" fmla="*/ 32 h 44"/>
                  <a:gd name="T4" fmla="*/ 54 w 59"/>
                  <a:gd name="T5" fmla="*/ 14 h 44"/>
                  <a:gd name="T6" fmla="*/ 45 w 59"/>
                  <a:gd name="T7" fmla="*/ 6 h 44"/>
                  <a:gd name="T8" fmla="*/ 26 w 59"/>
                  <a:gd name="T9" fmla="*/ 21 h 44"/>
                  <a:gd name="T10" fmla="*/ 5 w 59"/>
                  <a:gd name="T11" fmla="*/ 31 h 44"/>
                  <a:gd name="T12" fmla="*/ 1 w 59"/>
                  <a:gd name="T13" fmla="*/ 39 h 44"/>
                  <a:gd name="T14" fmla="*/ 8 w 59"/>
                  <a:gd name="T15" fmla="*/ 43 h 44"/>
                  <a:gd name="T16" fmla="*/ 8 w 59"/>
                  <a:gd name="T17" fmla="*/ 43 h 44"/>
                  <a:gd name="T18" fmla="*/ 8 w 59"/>
                  <a:gd name="T1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44">
                    <a:moveTo>
                      <a:pt x="8" y="43"/>
                    </a:moveTo>
                    <a:cubicBezTo>
                      <a:pt x="17" y="41"/>
                      <a:pt x="24" y="36"/>
                      <a:pt x="32" y="32"/>
                    </a:cubicBezTo>
                    <a:cubicBezTo>
                      <a:pt x="40" y="28"/>
                      <a:pt x="47" y="21"/>
                      <a:pt x="54" y="14"/>
                    </a:cubicBezTo>
                    <a:cubicBezTo>
                      <a:pt x="59" y="9"/>
                      <a:pt x="50" y="0"/>
                      <a:pt x="45" y="6"/>
                    </a:cubicBezTo>
                    <a:cubicBezTo>
                      <a:pt x="39" y="12"/>
                      <a:pt x="33" y="17"/>
                      <a:pt x="26" y="21"/>
                    </a:cubicBezTo>
                    <a:cubicBezTo>
                      <a:pt x="19" y="25"/>
                      <a:pt x="12" y="29"/>
                      <a:pt x="5" y="31"/>
                    </a:cubicBezTo>
                    <a:cubicBezTo>
                      <a:pt x="2" y="32"/>
                      <a:pt x="0" y="36"/>
                      <a:pt x="1" y="39"/>
                    </a:cubicBezTo>
                    <a:cubicBezTo>
                      <a:pt x="1" y="42"/>
                      <a:pt x="5" y="44"/>
                      <a:pt x="8" y="43"/>
                    </a:cubicBezTo>
                    <a:close/>
                    <a:moveTo>
                      <a:pt x="8" y="43"/>
                    </a:moveTo>
                    <a:cubicBezTo>
                      <a:pt x="8" y="43"/>
                      <a:pt x="8" y="43"/>
                      <a:pt x="8" y="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1" name="Freeform 13"/>
              <p:cNvSpPr>
                <a:spLocks noEditPoints="1"/>
              </p:cNvSpPr>
              <p:nvPr/>
            </p:nvSpPr>
            <p:spPr bwMode="auto">
              <a:xfrm>
                <a:off x="3824" y="2046"/>
                <a:ext cx="75" cy="78"/>
              </a:xfrm>
              <a:custGeom>
                <a:avLst/>
                <a:gdLst>
                  <a:gd name="T0" fmla="*/ 7 w 42"/>
                  <a:gd name="T1" fmla="*/ 44 h 44"/>
                  <a:gd name="T2" fmla="*/ 3 w 42"/>
                  <a:gd name="T3" fmla="*/ 42 h 44"/>
                  <a:gd name="T4" fmla="*/ 3 w 42"/>
                  <a:gd name="T5" fmla="*/ 33 h 44"/>
                  <a:gd name="T6" fmla="*/ 30 w 42"/>
                  <a:gd name="T7" fmla="*/ 4 h 44"/>
                  <a:gd name="T8" fmla="*/ 39 w 42"/>
                  <a:gd name="T9" fmla="*/ 2 h 44"/>
                  <a:gd name="T10" fmla="*/ 40 w 42"/>
                  <a:gd name="T11" fmla="*/ 11 h 44"/>
                  <a:gd name="T12" fmla="*/ 11 w 42"/>
                  <a:gd name="T13" fmla="*/ 43 h 44"/>
                  <a:gd name="T14" fmla="*/ 7 w 42"/>
                  <a:gd name="T15" fmla="*/ 44 h 44"/>
                  <a:gd name="T16" fmla="*/ 7 w 42"/>
                  <a:gd name="T17" fmla="*/ 44 h 44"/>
                  <a:gd name="T18" fmla="*/ 7 w 42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" h="44">
                    <a:moveTo>
                      <a:pt x="7" y="44"/>
                    </a:moveTo>
                    <a:cubicBezTo>
                      <a:pt x="6" y="44"/>
                      <a:pt x="4" y="44"/>
                      <a:pt x="3" y="42"/>
                    </a:cubicBezTo>
                    <a:cubicBezTo>
                      <a:pt x="0" y="40"/>
                      <a:pt x="1" y="36"/>
                      <a:pt x="3" y="33"/>
                    </a:cubicBezTo>
                    <a:cubicBezTo>
                      <a:pt x="14" y="24"/>
                      <a:pt x="23" y="14"/>
                      <a:pt x="30" y="4"/>
                    </a:cubicBezTo>
                    <a:cubicBezTo>
                      <a:pt x="32" y="1"/>
                      <a:pt x="36" y="0"/>
                      <a:pt x="39" y="2"/>
                    </a:cubicBezTo>
                    <a:cubicBezTo>
                      <a:pt x="42" y="4"/>
                      <a:pt x="42" y="8"/>
                      <a:pt x="40" y="11"/>
                    </a:cubicBezTo>
                    <a:cubicBezTo>
                      <a:pt x="33" y="22"/>
                      <a:pt x="23" y="33"/>
                      <a:pt x="11" y="43"/>
                    </a:cubicBezTo>
                    <a:cubicBezTo>
                      <a:pt x="10" y="44"/>
                      <a:pt x="9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2" name="Freeform 14"/>
              <p:cNvSpPr>
                <a:spLocks noEditPoints="1"/>
              </p:cNvSpPr>
              <p:nvPr/>
            </p:nvSpPr>
            <p:spPr bwMode="auto">
              <a:xfrm>
                <a:off x="3662" y="2139"/>
                <a:ext cx="139" cy="78"/>
              </a:xfrm>
              <a:custGeom>
                <a:avLst/>
                <a:gdLst>
                  <a:gd name="T0" fmla="*/ 7 w 77"/>
                  <a:gd name="T1" fmla="*/ 44 h 44"/>
                  <a:gd name="T2" fmla="*/ 1 w 77"/>
                  <a:gd name="T3" fmla="*/ 40 h 44"/>
                  <a:gd name="T4" fmla="*/ 5 w 77"/>
                  <a:gd name="T5" fmla="*/ 32 h 44"/>
                  <a:gd name="T6" fmla="*/ 5 w 77"/>
                  <a:gd name="T7" fmla="*/ 32 h 44"/>
                  <a:gd name="T8" fmla="*/ 47 w 77"/>
                  <a:gd name="T9" fmla="*/ 13 h 44"/>
                  <a:gd name="T10" fmla="*/ 67 w 77"/>
                  <a:gd name="T11" fmla="*/ 1 h 44"/>
                  <a:gd name="T12" fmla="*/ 75 w 77"/>
                  <a:gd name="T13" fmla="*/ 3 h 44"/>
                  <a:gd name="T14" fmla="*/ 74 w 77"/>
                  <a:gd name="T15" fmla="*/ 12 h 44"/>
                  <a:gd name="T16" fmla="*/ 53 w 77"/>
                  <a:gd name="T17" fmla="*/ 24 h 44"/>
                  <a:gd name="T18" fmla="*/ 9 w 77"/>
                  <a:gd name="T19" fmla="*/ 44 h 44"/>
                  <a:gd name="T20" fmla="*/ 9 w 77"/>
                  <a:gd name="T21" fmla="*/ 44 h 44"/>
                  <a:gd name="T22" fmla="*/ 7 w 77"/>
                  <a:gd name="T23" fmla="*/ 44 h 44"/>
                  <a:gd name="T24" fmla="*/ 7 w 77"/>
                  <a:gd name="T25" fmla="*/ 44 h 44"/>
                  <a:gd name="T26" fmla="*/ 7 w 77"/>
                  <a:gd name="T2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7" h="44">
                    <a:moveTo>
                      <a:pt x="7" y="44"/>
                    </a:moveTo>
                    <a:cubicBezTo>
                      <a:pt x="4" y="44"/>
                      <a:pt x="2" y="43"/>
                      <a:pt x="1" y="40"/>
                    </a:cubicBezTo>
                    <a:cubicBezTo>
                      <a:pt x="0" y="37"/>
                      <a:pt x="2" y="33"/>
                      <a:pt x="5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11" y="30"/>
                      <a:pt x="28" y="24"/>
                      <a:pt x="47" y="13"/>
                    </a:cubicBezTo>
                    <a:cubicBezTo>
                      <a:pt x="54" y="9"/>
                      <a:pt x="61" y="5"/>
                      <a:pt x="67" y="1"/>
                    </a:cubicBezTo>
                    <a:cubicBezTo>
                      <a:pt x="70" y="0"/>
                      <a:pt x="73" y="0"/>
                      <a:pt x="75" y="3"/>
                    </a:cubicBezTo>
                    <a:cubicBezTo>
                      <a:pt x="77" y="6"/>
                      <a:pt x="76" y="10"/>
                      <a:pt x="74" y="12"/>
                    </a:cubicBezTo>
                    <a:cubicBezTo>
                      <a:pt x="67" y="16"/>
                      <a:pt x="60" y="20"/>
                      <a:pt x="53" y="24"/>
                    </a:cubicBezTo>
                    <a:cubicBezTo>
                      <a:pt x="33" y="35"/>
                      <a:pt x="16" y="41"/>
                      <a:pt x="9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8" y="44"/>
                      <a:pt x="8" y="44"/>
                      <a:pt x="7" y="44"/>
                    </a:cubicBezTo>
                    <a:close/>
                    <a:moveTo>
                      <a:pt x="7" y="44"/>
                    </a:moveTo>
                    <a:cubicBezTo>
                      <a:pt x="7" y="44"/>
                      <a:pt x="7" y="44"/>
                      <a:pt x="7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3" name="Freeform 15"/>
              <p:cNvSpPr>
                <a:spLocks noEditPoints="1"/>
              </p:cNvSpPr>
              <p:nvPr/>
            </p:nvSpPr>
            <p:spPr bwMode="auto">
              <a:xfrm>
                <a:off x="3801" y="2215"/>
                <a:ext cx="190" cy="89"/>
              </a:xfrm>
              <a:custGeom>
                <a:avLst/>
                <a:gdLst>
                  <a:gd name="T0" fmla="*/ 99 w 106"/>
                  <a:gd name="T1" fmla="*/ 50 h 50"/>
                  <a:gd name="T2" fmla="*/ 97 w 106"/>
                  <a:gd name="T3" fmla="*/ 49 h 50"/>
                  <a:gd name="T4" fmla="*/ 64 w 106"/>
                  <a:gd name="T5" fmla="*/ 30 h 50"/>
                  <a:gd name="T6" fmla="*/ 36 w 106"/>
                  <a:gd name="T7" fmla="*/ 14 h 50"/>
                  <a:gd name="T8" fmla="*/ 10 w 106"/>
                  <a:gd name="T9" fmla="*/ 29 h 50"/>
                  <a:gd name="T10" fmla="*/ 1 w 106"/>
                  <a:gd name="T11" fmla="*/ 27 h 50"/>
                  <a:gd name="T12" fmla="*/ 3 w 106"/>
                  <a:gd name="T13" fmla="*/ 18 h 50"/>
                  <a:gd name="T14" fmla="*/ 34 w 106"/>
                  <a:gd name="T15" fmla="*/ 2 h 50"/>
                  <a:gd name="T16" fmla="*/ 71 w 106"/>
                  <a:gd name="T17" fmla="*/ 20 h 50"/>
                  <a:gd name="T18" fmla="*/ 101 w 106"/>
                  <a:gd name="T19" fmla="*/ 37 h 50"/>
                  <a:gd name="T20" fmla="*/ 105 w 106"/>
                  <a:gd name="T21" fmla="*/ 45 h 50"/>
                  <a:gd name="T22" fmla="*/ 99 w 106"/>
                  <a:gd name="T23" fmla="*/ 50 h 50"/>
                  <a:gd name="T24" fmla="*/ 99 w 106"/>
                  <a:gd name="T25" fmla="*/ 50 h 50"/>
                  <a:gd name="T26" fmla="*/ 99 w 106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6" h="50">
                    <a:moveTo>
                      <a:pt x="99" y="50"/>
                    </a:moveTo>
                    <a:cubicBezTo>
                      <a:pt x="98" y="50"/>
                      <a:pt x="97" y="49"/>
                      <a:pt x="97" y="49"/>
                    </a:cubicBezTo>
                    <a:cubicBezTo>
                      <a:pt x="86" y="46"/>
                      <a:pt x="75" y="38"/>
                      <a:pt x="64" y="30"/>
                    </a:cubicBezTo>
                    <a:cubicBezTo>
                      <a:pt x="54" y="23"/>
                      <a:pt x="41" y="13"/>
                      <a:pt x="36" y="14"/>
                    </a:cubicBezTo>
                    <a:cubicBezTo>
                      <a:pt x="31" y="15"/>
                      <a:pt x="15" y="25"/>
                      <a:pt x="10" y="29"/>
                    </a:cubicBezTo>
                    <a:cubicBezTo>
                      <a:pt x="7" y="30"/>
                      <a:pt x="3" y="30"/>
                      <a:pt x="1" y="27"/>
                    </a:cubicBezTo>
                    <a:cubicBezTo>
                      <a:pt x="0" y="24"/>
                      <a:pt x="0" y="20"/>
                      <a:pt x="3" y="18"/>
                    </a:cubicBezTo>
                    <a:cubicBezTo>
                      <a:pt x="20" y="8"/>
                      <a:pt x="28" y="3"/>
                      <a:pt x="34" y="2"/>
                    </a:cubicBezTo>
                    <a:cubicBezTo>
                      <a:pt x="44" y="0"/>
                      <a:pt x="57" y="9"/>
                      <a:pt x="71" y="20"/>
                    </a:cubicBezTo>
                    <a:cubicBezTo>
                      <a:pt x="82" y="27"/>
                      <a:pt x="92" y="35"/>
                      <a:pt x="101" y="37"/>
                    </a:cubicBezTo>
                    <a:cubicBezTo>
                      <a:pt x="104" y="39"/>
                      <a:pt x="106" y="42"/>
                      <a:pt x="105" y="45"/>
                    </a:cubicBezTo>
                    <a:cubicBezTo>
                      <a:pt x="104" y="48"/>
                      <a:pt x="101" y="50"/>
                      <a:pt x="99" y="50"/>
                    </a:cubicBezTo>
                    <a:close/>
                    <a:moveTo>
                      <a:pt x="99" y="50"/>
                    </a:moveTo>
                    <a:cubicBezTo>
                      <a:pt x="99" y="50"/>
                      <a:pt x="99" y="50"/>
                      <a:pt x="99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4" name="Freeform 16"/>
              <p:cNvSpPr>
                <a:spLocks noEditPoints="1"/>
              </p:cNvSpPr>
              <p:nvPr/>
            </p:nvSpPr>
            <p:spPr bwMode="auto">
              <a:xfrm>
                <a:off x="3702" y="2260"/>
                <a:ext cx="100" cy="66"/>
              </a:xfrm>
              <a:custGeom>
                <a:avLst/>
                <a:gdLst>
                  <a:gd name="T0" fmla="*/ 7 w 56"/>
                  <a:gd name="T1" fmla="*/ 37 h 37"/>
                  <a:gd name="T2" fmla="*/ 1 w 56"/>
                  <a:gd name="T3" fmla="*/ 33 h 37"/>
                  <a:gd name="T4" fmla="*/ 5 w 56"/>
                  <a:gd name="T5" fmla="*/ 25 h 37"/>
                  <a:gd name="T6" fmla="*/ 45 w 56"/>
                  <a:gd name="T7" fmla="*/ 2 h 37"/>
                  <a:gd name="T8" fmla="*/ 54 w 56"/>
                  <a:gd name="T9" fmla="*/ 4 h 37"/>
                  <a:gd name="T10" fmla="*/ 52 w 56"/>
                  <a:gd name="T11" fmla="*/ 12 h 37"/>
                  <a:gd name="T12" fmla="*/ 9 w 56"/>
                  <a:gd name="T13" fmla="*/ 37 h 37"/>
                  <a:gd name="T14" fmla="*/ 7 w 56"/>
                  <a:gd name="T15" fmla="*/ 37 h 37"/>
                  <a:gd name="T16" fmla="*/ 7 w 56"/>
                  <a:gd name="T17" fmla="*/ 37 h 37"/>
                  <a:gd name="T18" fmla="*/ 7 w 56"/>
                  <a:gd name="T1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37">
                    <a:moveTo>
                      <a:pt x="7" y="37"/>
                    </a:moveTo>
                    <a:cubicBezTo>
                      <a:pt x="4" y="37"/>
                      <a:pt x="2" y="35"/>
                      <a:pt x="1" y="33"/>
                    </a:cubicBezTo>
                    <a:cubicBezTo>
                      <a:pt x="0" y="29"/>
                      <a:pt x="2" y="26"/>
                      <a:pt x="5" y="25"/>
                    </a:cubicBezTo>
                    <a:cubicBezTo>
                      <a:pt x="13" y="23"/>
                      <a:pt x="31" y="11"/>
                      <a:pt x="45" y="2"/>
                    </a:cubicBezTo>
                    <a:cubicBezTo>
                      <a:pt x="48" y="0"/>
                      <a:pt x="52" y="1"/>
                      <a:pt x="54" y="4"/>
                    </a:cubicBezTo>
                    <a:cubicBezTo>
                      <a:pt x="56" y="6"/>
                      <a:pt x="55" y="10"/>
                      <a:pt x="52" y="12"/>
                    </a:cubicBezTo>
                    <a:cubicBezTo>
                      <a:pt x="32" y="25"/>
                      <a:pt x="17" y="35"/>
                      <a:pt x="9" y="37"/>
                    </a:cubicBezTo>
                    <a:cubicBezTo>
                      <a:pt x="8" y="37"/>
                      <a:pt x="7" y="37"/>
                      <a:pt x="7" y="37"/>
                    </a:cubicBezTo>
                    <a:close/>
                    <a:moveTo>
                      <a:pt x="7" y="37"/>
                    </a:moveTo>
                    <a:cubicBezTo>
                      <a:pt x="7" y="37"/>
                      <a:pt x="7" y="37"/>
                      <a:pt x="7" y="3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5" name="Freeform 17"/>
              <p:cNvSpPr>
                <a:spLocks noEditPoints="1"/>
              </p:cNvSpPr>
              <p:nvPr/>
            </p:nvSpPr>
            <p:spPr bwMode="auto">
              <a:xfrm>
                <a:off x="3906" y="2319"/>
                <a:ext cx="56" cy="39"/>
              </a:xfrm>
              <a:custGeom>
                <a:avLst/>
                <a:gdLst>
                  <a:gd name="T0" fmla="*/ 24 w 31"/>
                  <a:gd name="T1" fmla="*/ 22 h 22"/>
                  <a:gd name="T2" fmla="*/ 22 w 31"/>
                  <a:gd name="T3" fmla="*/ 21 h 22"/>
                  <a:gd name="T4" fmla="*/ 4 w 31"/>
                  <a:gd name="T5" fmla="*/ 12 h 22"/>
                  <a:gd name="T6" fmla="*/ 2 w 31"/>
                  <a:gd name="T7" fmla="*/ 4 h 22"/>
                  <a:gd name="T8" fmla="*/ 11 w 31"/>
                  <a:gd name="T9" fmla="*/ 1 h 22"/>
                  <a:gd name="T10" fmla="*/ 26 w 31"/>
                  <a:gd name="T11" fmla="*/ 10 h 22"/>
                  <a:gd name="T12" fmla="*/ 30 w 31"/>
                  <a:gd name="T13" fmla="*/ 18 h 22"/>
                  <a:gd name="T14" fmla="*/ 24 w 31"/>
                  <a:gd name="T15" fmla="*/ 22 h 22"/>
                  <a:gd name="T16" fmla="*/ 24 w 31"/>
                  <a:gd name="T17" fmla="*/ 22 h 22"/>
                  <a:gd name="T18" fmla="*/ 24 w 31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22">
                    <a:moveTo>
                      <a:pt x="24" y="22"/>
                    </a:moveTo>
                    <a:cubicBezTo>
                      <a:pt x="23" y="22"/>
                      <a:pt x="23" y="22"/>
                      <a:pt x="22" y="21"/>
                    </a:cubicBezTo>
                    <a:cubicBezTo>
                      <a:pt x="17" y="20"/>
                      <a:pt x="10" y="16"/>
                      <a:pt x="4" y="12"/>
                    </a:cubicBezTo>
                    <a:cubicBezTo>
                      <a:pt x="1" y="10"/>
                      <a:pt x="0" y="6"/>
                      <a:pt x="2" y="4"/>
                    </a:cubicBezTo>
                    <a:cubicBezTo>
                      <a:pt x="4" y="1"/>
                      <a:pt x="8" y="0"/>
                      <a:pt x="11" y="1"/>
                    </a:cubicBezTo>
                    <a:cubicBezTo>
                      <a:pt x="16" y="5"/>
                      <a:pt x="22" y="8"/>
                      <a:pt x="26" y="10"/>
                    </a:cubicBezTo>
                    <a:cubicBezTo>
                      <a:pt x="29" y="11"/>
                      <a:pt x="31" y="15"/>
                      <a:pt x="30" y="18"/>
                    </a:cubicBezTo>
                    <a:cubicBezTo>
                      <a:pt x="29" y="20"/>
                      <a:pt x="27" y="22"/>
                      <a:pt x="24" y="22"/>
                    </a:cubicBezTo>
                    <a:close/>
                    <a:moveTo>
                      <a:pt x="24" y="22"/>
                    </a:moveTo>
                    <a:cubicBezTo>
                      <a:pt x="24" y="22"/>
                      <a:pt x="24" y="22"/>
                      <a:pt x="24" y="2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6" name="Freeform 18"/>
              <p:cNvSpPr>
                <a:spLocks noEditPoints="1"/>
              </p:cNvSpPr>
              <p:nvPr/>
            </p:nvSpPr>
            <p:spPr bwMode="auto">
              <a:xfrm>
                <a:off x="3741" y="2287"/>
                <a:ext cx="165" cy="89"/>
              </a:xfrm>
              <a:custGeom>
                <a:avLst/>
                <a:gdLst>
                  <a:gd name="T0" fmla="*/ 7 w 92"/>
                  <a:gd name="T1" fmla="*/ 50 h 50"/>
                  <a:gd name="T2" fmla="*/ 2 w 92"/>
                  <a:gd name="T3" fmla="*/ 47 h 50"/>
                  <a:gd name="T4" fmla="*/ 4 w 92"/>
                  <a:gd name="T5" fmla="*/ 39 h 50"/>
                  <a:gd name="T6" fmla="*/ 12 w 92"/>
                  <a:gd name="T7" fmla="*/ 33 h 50"/>
                  <a:gd name="T8" fmla="*/ 63 w 92"/>
                  <a:gd name="T9" fmla="*/ 1 h 50"/>
                  <a:gd name="T10" fmla="*/ 88 w 92"/>
                  <a:gd name="T11" fmla="*/ 10 h 50"/>
                  <a:gd name="T12" fmla="*/ 90 w 92"/>
                  <a:gd name="T13" fmla="*/ 19 h 50"/>
                  <a:gd name="T14" fmla="*/ 81 w 92"/>
                  <a:gd name="T15" fmla="*/ 21 h 50"/>
                  <a:gd name="T16" fmla="*/ 65 w 92"/>
                  <a:gd name="T17" fmla="*/ 13 h 50"/>
                  <a:gd name="T18" fmla="*/ 19 w 92"/>
                  <a:gd name="T19" fmla="*/ 43 h 50"/>
                  <a:gd name="T20" fmla="*/ 11 w 92"/>
                  <a:gd name="T21" fmla="*/ 49 h 50"/>
                  <a:gd name="T22" fmla="*/ 7 w 92"/>
                  <a:gd name="T23" fmla="*/ 50 h 50"/>
                  <a:gd name="T24" fmla="*/ 7 w 92"/>
                  <a:gd name="T25" fmla="*/ 50 h 50"/>
                  <a:gd name="T26" fmla="*/ 7 w 92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50">
                    <a:moveTo>
                      <a:pt x="7" y="50"/>
                    </a:moveTo>
                    <a:cubicBezTo>
                      <a:pt x="5" y="50"/>
                      <a:pt x="3" y="49"/>
                      <a:pt x="2" y="47"/>
                    </a:cubicBezTo>
                    <a:cubicBezTo>
                      <a:pt x="0" y="45"/>
                      <a:pt x="1" y="41"/>
                      <a:pt x="4" y="39"/>
                    </a:cubicBezTo>
                    <a:cubicBezTo>
                      <a:pt x="6" y="37"/>
                      <a:pt x="9" y="35"/>
                      <a:pt x="12" y="33"/>
                    </a:cubicBezTo>
                    <a:cubicBezTo>
                      <a:pt x="39" y="13"/>
                      <a:pt x="55" y="2"/>
                      <a:pt x="63" y="1"/>
                    </a:cubicBezTo>
                    <a:cubicBezTo>
                      <a:pt x="68" y="0"/>
                      <a:pt x="75" y="3"/>
                      <a:pt x="88" y="10"/>
                    </a:cubicBezTo>
                    <a:cubicBezTo>
                      <a:pt x="91" y="12"/>
                      <a:pt x="92" y="16"/>
                      <a:pt x="90" y="19"/>
                    </a:cubicBezTo>
                    <a:cubicBezTo>
                      <a:pt x="88" y="22"/>
                      <a:pt x="84" y="23"/>
                      <a:pt x="81" y="21"/>
                    </a:cubicBezTo>
                    <a:cubicBezTo>
                      <a:pt x="69" y="14"/>
                      <a:pt x="66" y="13"/>
                      <a:pt x="65" y="13"/>
                    </a:cubicBezTo>
                    <a:cubicBezTo>
                      <a:pt x="58" y="14"/>
                      <a:pt x="30" y="35"/>
                      <a:pt x="19" y="43"/>
                    </a:cubicBezTo>
                    <a:cubicBezTo>
                      <a:pt x="16" y="45"/>
                      <a:pt x="13" y="48"/>
                      <a:pt x="11" y="49"/>
                    </a:cubicBezTo>
                    <a:cubicBezTo>
                      <a:pt x="10" y="50"/>
                      <a:pt x="9" y="50"/>
                      <a:pt x="7" y="50"/>
                    </a:cubicBezTo>
                    <a:close/>
                    <a:moveTo>
                      <a:pt x="7" y="50"/>
                    </a:moveTo>
                    <a:cubicBezTo>
                      <a:pt x="7" y="50"/>
                      <a:pt x="7" y="50"/>
                      <a:pt x="7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7" name="Freeform 20"/>
              <p:cNvSpPr>
                <a:spLocks noEditPoints="1"/>
              </p:cNvSpPr>
              <p:nvPr/>
            </p:nvSpPr>
            <p:spPr bwMode="auto">
              <a:xfrm>
                <a:off x="3949" y="2108"/>
                <a:ext cx="72" cy="77"/>
              </a:xfrm>
              <a:custGeom>
                <a:avLst/>
                <a:gdLst>
                  <a:gd name="T0" fmla="*/ 1 w 40"/>
                  <a:gd name="T1" fmla="*/ 11 h 43"/>
                  <a:gd name="T2" fmla="*/ 30 w 40"/>
                  <a:gd name="T3" fmla="*/ 41 h 43"/>
                  <a:gd name="T4" fmla="*/ 38 w 40"/>
                  <a:gd name="T5" fmla="*/ 39 h 43"/>
                  <a:gd name="T6" fmla="*/ 36 w 40"/>
                  <a:gd name="T7" fmla="*/ 31 h 43"/>
                  <a:gd name="T8" fmla="*/ 21 w 40"/>
                  <a:gd name="T9" fmla="*/ 23 h 43"/>
                  <a:gd name="T10" fmla="*/ 13 w 40"/>
                  <a:gd name="T11" fmla="*/ 7 h 43"/>
                  <a:gd name="T12" fmla="*/ 1 w 40"/>
                  <a:gd name="T13" fmla="*/ 11 h 43"/>
                  <a:gd name="T14" fmla="*/ 1 w 40"/>
                  <a:gd name="T15" fmla="*/ 11 h 43"/>
                  <a:gd name="T16" fmla="*/ 1 w 40"/>
                  <a:gd name="T17" fmla="*/ 1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43">
                    <a:moveTo>
                      <a:pt x="1" y="11"/>
                    </a:moveTo>
                    <a:cubicBezTo>
                      <a:pt x="4" y="27"/>
                      <a:pt x="15" y="36"/>
                      <a:pt x="30" y="41"/>
                    </a:cubicBezTo>
                    <a:cubicBezTo>
                      <a:pt x="33" y="43"/>
                      <a:pt x="36" y="42"/>
                      <a:pt x="38" y="39"/>
                    </a:cubicBezTo>
                    <a:cubicBezTo>
                      <a:pt x="40" y="37"/>
                      <a:pt x="39" y="32"/>
                      <a:pt x="36" y="31"/>
                    </a:cubicBezTo>
                    <a:cubicBezTo>
                      <a:pt x="31" y="29"/>
                      <a:pt x="25" y="26"/>
                      <a:pt x="21" y="23"/>
                    </a:cubicBezTo>
                    <a:cubicBezTo>
                      <a:pt x="16" y="19"/>
                      <a:pt x="14" y="13"/>
                      <a:pt x="13" y="7"/>
                    </a:cubicBezTo>
                    <a:cubicBezTo>
                      <a:pt x="12" y="0"/>
                      <a:pt x="0" y="3"/>
                      <a:pt x="1" y="11"/>
                    </a:cubicBezTo>
                    <a:close/>
                    <a:moveTo>
                      <a:pt x="1" y="11"/>
                    </a:moveTo>
                    <a:cubicBezTo>
                      <a:pt x="1" y="11"/>
                      <a:pt x="1" y="11"/>
                      <a:pt x="1" y="1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  <p:sp>
            <p:nvSpPr>
              <p:cNvPr id="108" name="Freeform 21"/>
              <p:cNvSpPr>
                <a:spLocks noEditPoints="1"/>
              </p:cNvSpPr>
              <p:nvPr/>
            </p:nvSpPr>
            <p:spPr bwMode="auto">
              <a:xfrm>
                <a:off x="3906" y="2160"/>
                <a:ext cx="99" cy="86"/>
              </a:xfrm>
              <a:custGeom>
                <a:avLst/>
                <a:gdLst>
                  <a:gd name="T0" fmla="*/ 1 w 55"/>
                  <a:gd name="T1" fmla="*/ 8 h 48"/>
                  <a:gd name="T2" fmla="*/ 44 w 55"/>
                  <a:gd name="T3" fmla="*/ 46 h 48"/>
                  <a:gd name="T4" fmla="*/ 48 w 55"/>
                  <a:gd name="T5" fmla="*/ 34 h 48"/>
                  <a:gd name="T6" fmla="*/ 35 w 55"/>
                  <a:gd name="T7" fmla="*/ 28 h 48"/>
                  <a:gd name="T8" fmla="*/ 13 w 55"/>
                  <a:gd name="T9" fmla="*/ 5 h 48"/>
                  <a:gd name="T10" fmla="*/ 6 w 55"/>
                  <a:gd name="T11" fmla="*/ 1 h 48"/>
                  <a:gd name="T12" fmla="*/ 1 w 55"/>
                  <a:gd name="T13" fmla="*/ 8 h 48"/>
                  <a:gd name="T14" fmla="*/ 1 w 55"/>
                  <a:gd name="T15" fmla="*/ 8 h 48"/>
                  <a:gd name="T16" fmla="*/ 1 w 55"/>
                  <a:gd name="T17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48">
                    <a:moveTo>
                      <a:pt x="1" y="8"/>
                    </a:moveTo>
                    <a:cubicBezTo>
                      <a:pt x="9" y="27"/>
                      <a:pt x="26" y="40"/>
                      <a:pt x="44" y="46"/>
                    </a:cubicBezTo>
                    <a:cubicBezTo>
                      <a:pt x="52" y="48"/>
                      <a:pt x="55" y="36"/>
                      <a:pt x="48" y="34"/>
                    </a:cubicBezTo>
                    <a:cubicBezTo>
                      <a:pt x="43" y="33"/>
                      <a:pt x="40" y="31"/>
                      <a:pt x="35" y="28"/>
                    </a:cubicBezTo>
                    <a:cubicBezTo>
                      <a:pt x="26" y="23"/>
                      <a:pt x="17" y="15"/>
                      <a:pt x="13" y="5"/>
                    </a:cubicBezTo>
                    <a:cubicBezTo>
                      <a:pt x="12" y="2"/>
                      <a:pt x="9" y="0"/>
                      <a:pt x="6" y="1"/>
                    </a:cubicBezTo>
                    <a:cubicBezTo>
                      <a:pt x="3" y="2"/>
                      <a:pt x="0" y="5"/>
                      <a:pt x="1" y="8"/>
                    </a:cubicBezTo>
                    <a:close/>
                    <a:moveTo>
                      <a:pt x="1" y="8"/>
                    </a:moveTo>
                    <a:cubicBezTo>
                      <a:pt x="1" y="8"/>
                      <a:pt x="1" y="8"/>
                      <a:pt x="1" y="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/>
              </a:p>
            </p:txBody>
          </p:sp>
        </p:grpSp>
        <p:grpSp>
          <p:nvGrpSpPr>
            <p:cNvPr id="82" name="Group 15"/>
            <p:cNvGrpSpPr>
              <a:grpSpLocks noChangeAspect="1"/>
            </p:cNvGrpSpPr>
            <p:nvPr userDrawn="1"/>
          </p:nvGrpSpPr>
          <p:grpSpPr bwMode="auto">
            <a:xfrm>
              <a:off x="702225" y="267251"/>
              <a:ext cx="94846" cy="95277"/>
              <a:chOff x="4843" y="2141"/>
              <a:chExt cx="220" cy="22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85" name="Freeform 16"/>
              <p:cNvSpPr>
                <a:spLocks/>
              </p:cNvSpPr>
              <p:nvPr/>
            </p:nvSpPr>
            <p:spPr bwMode="auto">
              <a:xfrm>
                <a:off x="4843" y="2298"/>
                <a:ext cx="184" cy="64"/>
              </a:xfrm>
              <a:custGeom>
                <a:avLst/>
                <a:gdLst>
                  <a:gd name="T0" fmla="*/ 584 w 1371"/>
                  <a:gd name="T1" fmla="*/ 473 h 473"/>
                  <a:gd name="T2" fmla="*/ 489 w 1371"/>
                  <a:gd name="T3" fmla="*/ 464 h 473"/>
                  <a:gd name="T4" fmla="*/ 142 w 1371"/>
                  <a:gd name="T5" fmla="*/ 375 h 473"/>
                  <a:gd name="T6" fmla="*/ 18 w 1371"/>
                  <a:gd name="T7" fmla="*/ 273 h 473"/>
                  <a:gd name="T8" fmla="*/ 0 w 1371"/>
                  <a:gd name="T9" fmla="*/ 213 h 473"/>
                  <a:gd name="T10" fmla="*/ 0 w 1371"/>
                  <a:gd name="T11" fmla="*/ 17 h 473"/>
                  <a:gd name="T12" fmla="*/ 13 w 1371"/>
                  <a:gd name="T13" fmla="*/ 8 h 473"/>
                  <a:gd name="T14" fmla="*/ 285 w 1371"/>
                  <a:gd name="T15" fmla="*/ 107 h 473"/>
                  <a:gd name="T16" fmla="*/ 769 w 1371"/>
                  <a:gd name="T17" fmla="*/ 141 h 473"/>
                  <a:gd name="T18" fmla="*/ 1176 w 1371"/>
                  <a:gd name="T19" fmla="*/ 85 h 473"/>
                  <a:gd name="T20" fmla="*/ 1352 w 1371"/>
                  <a:gd name="T21" fmla="*/ 10 h 473"/>
                  <a:gd name="T22" fmla="*/ 1365 w 1371"/>
                  <a:gd name="T23" fmla="*/ 5 h 473"/>
                  <a:gd name="T24" fmla="*/ 1369 w 1371"/>
                  <a:gd name="T25" fmla="*/ 20 h 473"/>
                  <a:gd name="T26" fmla="*/ 1369 w 1371"/>
                  <a:gd name="T27" fmla="*/ 218 h 473"/>
                  <a:gd name="T28" fmla="*/ 1333 w 1371"/>
                  <a:gd name="T29" fmla="*/ 298 h 473"/>
                  <a:gd name="T30" fmla="*/ 1178 w 1371"/>
                  <a:gd name="T31" fmla="*/ 396 h 473"/>
                  <a:gd name="T32" fmla="*/ 876 w 1371"/>
                  <a:gd name="T33" fmla="*/ 464 h 473"/>
                  <a:gd name="T34" fmla="*/ 786 w 1371"/>
                  <a:gd name="T35" fmla="*/ 473 h 473"/>
                  <a:gd name="T36" fmla="*/ 584 w 1371"/>
                  <a:gd name="T37" fmla="*/ 473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71" h="473">
                    <a:moveTo>
                      <a:pt x="584" y="473"/>
                    </a:moveTo>
                    <a:cubicBezTo>
                      <a:pt x="552" y="470"/>
                      <a:pt x="520" y="467"/>
                      <a:pt x="489" y="464"/>
                    </a:cubicBezTo>
                    <a:cubicBezTo>
                      <a:pt x="369" y="450"/>
                      <a:pt x="252" y="427"/>
                      <a:pt x="142" y="375"/>
                    </a:cubicBezTo>
                    <a:cubicBezTo>
                      <a:pt x="93" y="351"/>
                      <a:pt x="47" y="322"/>
                      <a:pt x="18" y="273"/>
                    </a:cubicBezTo>
                    <a:cubicBezTo>
                      <a:pt x="7" y="255"/>
                      <a:pt x="0" y="235"/>
                      <a:pt x="0" y="213"/>
                    </a:cubicBezTo>
                    <a:cubicBezTo>
                      <a:pt x="1" y="148"/>
                      <a:pt x="1" y="82"/>
                      <a:pt x="0" y="17"/>
                    </a:cubicBezTo>
                    <a:cubicBezTo>
                      <a:pt x="0" y="8"/>
                      <a:pt x="1" y="0"/>
                      <a:pt x="13" y="8"/>
                    </a:cubicBezTo>
                    <a:cubicBezTo>
                      <a:pt x="97" y="61"/>
                      <a:pt x="190" y="87"/>
                      <a:pt x="285" y="107"/>
                    </a:cubicBezTo>
                    <a:cubicBezTo>
                      <a:pt x="445" y="140"/>
                      <a:pt x="607" y="146"/>
                      <a:pt x="769" y="141"/>
                    </a:cubicBezTo>
                    <a:cubicBezTo>
                      <a:pt x="906" y="137"/>
                      <a:pt x="1043" y="123"/>
                      <a:pt x="1176" y="85"/>
                    </a:cubicBezTo>
                    <a:cubicBezTo>
                      <a:pt x="1238" y="67"/>
                      <a:pt x="1298" y="45"/>
                      <a:pt x="1352" y="10"/>
                    </a:cubicBezTo>
                    <a:cubicBezTo>
                      <a:pt x="1356" y="8"/>
                      <a:pt x="1360" y="3"/>
                      <a:pt x="1365" y="5"/>
                    </a:cubicBezTo>
                    <a:cubicBezTo>
                      <a:pt x="1371" y="8"/>
                      <a:pt x="1369" y="15"/>
                      <a:pt x="1369" y="20"/>
                    </a:cubicBezTo>
                    <a:cubicBezTo>
                      <a:pt x="1369" y="86"/>
                      <a:pt x="1369" y="152"/>
                      <a:pt x="1369" y="218"/>
                    </a:cubicBezTo>
                    <a:cubicBezTo>
                      <a:pt x="1368" y="249"/>
                      <a:pt x="1353" y="275"/>
                      <a:pt x="1333" y="298"/>
                    </a:cubicBezTo>
                    <a:cubicBezTo>
                      <a:pt x="1291" y="346"/>
                      <a:pt x="1236" y="373"/>
                      <a:pt x="1178" y="396"/>
                    </a:cubicBezTo>
                    <a:cubicBezTo>
                      <a:pt x="1081" y="434"/>
                      <a:pt x="979" y="453"/>
                      <a:pt x="876" y="464"/>
                    </a:cubicBezTo>
                    <a:cubicBezTo>
                      <a:pt x="846" y="467"/>
                      <a:pt x="816" y="470"/>
                      <a:pt x="786" y="473"/>
                    </a:cubicBezTo>
                    <a:cubicBezTo>
                      <a:pt x="718" y="473"/>
                      <a:pt x="651" y="473"/>
                      <a:pt x="584" y="4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Freeform 17"/>
              <p:cNvSpPr>
                <a:spLocks/>
              </p:cNvSpPr>
              <p:nvPr/>
            </p:nvSpPr>
            <p:spPr bwMode="auto">
              <a:xfrm>
                <a:off x="4894" y="2141"/>
                <a:ext cx="169" cy="56"/>
              </a:xfrm>
              <a:custGeom>
                <a:avLst/>
                <a:gdLst>
                  <a:gd name="T0" fmla="*/ 1263 w 1263"/>
                  <a:gd name="T1" fmla="*/ 314 h 416"/>
                  <a:gd name="T2" fmla="*/ 1114 w 1263"/>
                  <a:gd name="T3" fmla="*/ 395 h 416"/>
                  <a:gd name="T4" fmla="*/ 1056 w 1263"/>
                  <a:gd name="T5" fmla="*/ 413 h 416"/>
                  <a:gd name="T6" fmla="*/ 1042 w 1263"/>
                  <a:gd name="T7" fmla="*/ 403 h 416"/>
                  <a:gd name="T8" fmla="*/ 943 w 1263"/>
                  <a:gd name="T9" fmla="*/ 233 h 416"/>
                  <a:gd name="T10" fmla="*/ 696 w 1263"/>
                  <a:gd name="T11" fmla="*/ 132 h 416"/>
                  <a:gd name="T12" fmla="*/ 462 w 1263"/>
                  <a:gd name="T13" fmla="*/ 99 h 416"/>
                  <a:gd name="T14" fmla="*/ 243 w 1263"/>
                  <a:gd name="T15" fmla="*/ 97 h 416"/>
                  <a:gd name="T16" fmla="*/ 15 w 1263"/>
                  <a:gd name="T17" fmla="*/ 124 h 416"/>
                  <a:gd name="T18" fmla="*/ 0 w 1263"/>
                  <a:gd name="T19" fmla="*/ 122 h 416"/>
                  <a:gd name="T20" fmla="*/ 47 w 1263"/>
                  <a:gd name="T21" fmla="*/ 96 h 416"/>
                  <a:gd name="T22" fmla="*/ 354 w 1263"/>
                  <a:gd name="T23" fmla="*/ 15 h 416"/>
                  <a:gd name="T24" fmla="*/ 648 w 1263"/>
                  <a:gd name="T25" fmla="*/ 3 h 416"/>
                  <a:gd name="T26" fmla="*/ 1057 w 1263"/>
                  <a:gd name="T27" fmla="*/ 72 h 416"/>
                  <a:gd name="T28" fmla="*/ 1213 w 1263"/>
                  <a:gd name="T29" fmla="*/ 162 h 416"/>
                  <a:gd name="T30" fmla="*/ 1263 w 1263"/>
                  <a:gd name="T31" fmla="*/ 237 h 416"/>
                  <a:gd name="T32" fmla="*/ 1263 w 1263"/>
                  <a:gd name="T33" fmla="*/ 314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63" h="416">
                    <a:moveTo>
                      <a:pt x="1263" y="314"/>
                    </a:moveTo>
                    <a:cubicBezTo>
                      <a:pt x="1221" y="355"/>
                      <a:pt x="1168" y="375"/>
                      <a:pt x="1114" y="395"/>
                    </a:cubicBezTo>
                    <a:cubicBezTo>
                      <a:pt x="1095" y="402"/>
                      <a:pt x="1075" y="407"/>
                      <a:pt x="1056" y="413"/>
                    </a:cubicBezTo>
                    <a:cubicBezTo>
                      <a:pt x="1046" y="416"/>
                      <a:pt x="1041" y="413"/>
                      <a:pt x="1042" y="403"/>
                    </a:cubicBezTo>
                    <a:cubicBezTo>
                      <a:pt x="1048" y="323"/>
                      <a:pt x="1001" y="274"/>
                      <a:pt x="943" y="233"/>
                    </a:cubicBezTo>
                    <a:cubicBezTo>
                      <a:pt x="868" y="181"/>
                      <a:pt x="783" y="153"/>
                      <a:pt x="696" y="132"/>
                    </a:cubicBezTo>
                    <a:cubicBezTo>
                      <a:pt x="619" y="114"/>
                      <a:pt x="541" y="105"/>
                      <a:pt x="462" y="99"/>
                    </a:cubicBezTo>
                    <a:cubicBezTo>
                      <a:pt x="389" y="94"/>
                      <a:pt x="316" y="95"/>
                      <a:pt x="243" y="97"/>
                    </a:cubicBezTo>
                    <a:cubicBezTo>
                      <a:pt x="166" y="100"/>
                      <a:pt x="90" y="109"/>
                      <a:pt x="15" y="124"/>
                    </a:cubicBezTo>
                    <a:cubicBezTo>
                      <a:pt x="11" y="124"/>
                      <a:pt x="7" y="126"/>
                      <a:pt x="0" y="122"/>
                    </a:cubicBezTo>
                    <a:cubicBezTo>
                      <a:pt x="17" y="113"/>
                      <a:pt x="31" y="104"/>
                      <a:pt x="47" y="96"/>
                    </a:cubicBezTo>
                    <a:cubicBezTo>
                      <a:pt x="144" y="51"/>
                      <a:pt x="248" y="29"/>
                      <a:pt x="354" y="15"/>
                    </a:cubicBezTo>
                    <a:cubicBezTo>
                      <a:pt x="452" y="2"/>
                      <a:pt x="550" y="0"/>
                      <a:pt x="648" y="3"/>
                    </a:cubicBezTo>
                    <a:cubicBezTo>
                      <a:pt x="787" y="7"/>
                      <a:pt x="925" y="23"/>
                      <a:pt x="1057" y="72"/>
                    </a:cubicBezTo>
                    <a:cubicBezTo>
                      <a:pt x="1114" y="93"/>
                      <a:pt x="1168" y="120"/>
                      <a:pt x="1213" y="162"/>
                    </a:cubicBezTo>
                    <a:cubicBezTo>
                      <a:pt x="1236" y="183"/>
                      <a:pt x="1251" y="209"/>
                      <a:pt x="1263" y="237"/>
                    </a:cubicBezTo>
                    <a:cubicBezTo>
                      <a:pt x="1263" y="262"/>
                      <a:pt x="1263" y="288"/>
                      <a:pt x="1263" y="3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Freeform 18"/>
              <p:cNvSpPr>
                <a:spLocks/>
              </p:cNvSpPr>
              <p:nvPr/>
            </p:nvSpPr>
            <p:spPr bwMode="auto">
              <a:xfrm>
                <a:off x="5034" y="2192"/>
                <a:ext cx="29" cy="48"/>
              </a:xfrm>
              <a:custGeom>
                <a:avLst/>
                <a:gdLst>
                  <a:gd name="T0" fmla="*/ 221 w 221"/>
                  <a:gd name="T1" fmla="*/ 259 h 360"/>
                  <a:gd name="T2" fmla="*/ 52 w 221"/>
                  <a:gd name="T3" fmla="*/ 345 h 360"/>
                  <a:gd name="T4" fmla="*/ 13 w 221"/>
                  <a:gd name="T5" fmla="*/ 357 h 360"/>
                  <a:gd name="T6" fmla="*/ 0 w 221"/>
                  <a:gd name="T7" fmla="*/ 347 h 360"/>
                  <a:gd name="T8" fmla="*/ 0 w 221"/>
                  <a:gd name="T9" fmla="*/ 338 h 360"/>
                  <a:gd name="T10" fmla="*/ 0 w 221"/>
                  <a:gd name="T11" fmla="*/ 106 h 360"/>
                  <a:gd name="T12" fmla="*/ 19 w 221"/>
                  <a:gd name="T13" fmla="*/ 80 h 360"/>
                  <a:gd name="T14" fmla="*/ 215 w 221"/>
                  <a:gd name="T15" fmla="*/ 1 h 360"/>
                  <a:gd name="T16" fmla="*/ 221 w 221"/>
                  <a:gd name="T17" fmla="*/ 0 h 360"/>
                  <a:gd name="T18" fmla="*/ 221 w 221"/>
                  <a:gd name="T19" fmla="*/ 259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1" h="360">
                    <a:moveTo>
                      <a:pt x="221" y="259"/>
                    </a:moveTo>
                    <a:cubicBezTo>
                      <a:pt x="172" y="302"/>
                      <a:pt x="113" y="326"/>
                      <a:pt x="52" y="345"/>
                    </a:cubicBezTo>
                    <a:cubicBezTo>
                      <a:pt x="39" y="349"/>
                      <a:pt x="26" y="353"/>
                      <a:pt x="13" y="357"/>
                    </a:cubicBezTo>
                    <a:cubicBezTo>
                      <a:pt x="4" y="360"/>
                      <a:pt x="0" y="356"/>
                      <a:pt x="0" y="347"/>
                    </a:cubicBezTo>
                    <a:cubicBezTo>
                      <a:pt x="0" y="344"/>
                      <a:pt x="0" y="341"/>
                      <a:pt x="0" y="338"/>
                    </a:cubicBezTo>
                    <a:cubicBezTo>
                      <a:pt x="0" y="260"/>
                      <a:pt x="0" y="183"/>
                      <a:pt x="0" y="106"/>
                    </a:cubicBezTo>
                    <a:cubicBezTo>
                      <a:pt x="0" y="91"/>
                      <a:pt x="4" y="84"/>
                      <a:pt x="19" y="80"/>
                    </a:cubicBezTo>
                    <a:cubicBezTo>
                      <a:pt x="87" y="62"/>
                      <a:pt x="154" y="39"/>
                      <a:pt x="215" y="1"/>
                    </a:cubicBezTo>
                    <a:cubicBezTo>
                      <a:pt x="217" y="0"/>
                      <a:pt x="219" y="0"/>
                      <a:pt x="221" y="0"/>
                    </a:cubicBezTo>
                    <a:cubicBezTo>
                      <a:pt x="221" y="86"/>
                      <a:pt x="221" y="172"/>
                      <a:pt x="221" y="2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88" name="Freeform 19"/>
              <p:cNvSpPr>
                <a:spLocks/>
              </p:cNvSpPr>
              <p:nvPr/>
            </p:nvSpPr>
            <p:spPr bwMode="auto">
              <a:xfrm>
                <a:off x="5034" y="2235"/>
                <a:ext cx="29" cy="49"/>
              </a:xfrm>
              <a:custGeom>
                <a:avLst/>
                <a:gdLst>
                  <a:gd name="T0" fmla="*/ 221 w 221"/>
                  <a:gd name="T1" fmla="*/ 262 h 362"/>
                  <a:gd name="T2" fmla="*/ 19 w 221"/>
                  <a:gd name="T3" fmla="*/ 357 h 362"/>
                  <a:gd name="T4" fmla="*/ 0 w 221"/>
                  <a:gd name="T5" fmla="*/ 344 h 362"/>
                  <a:gd name="T6" fmla="*/ 0 w 221"/>
                  <a:gd name="T7" fmla="*/ 111 h 362"/>
                  <a:gd name="T8" fmla="*/ 17 w 221"/>
                  <a:gd name="T9" fmla="*/ 87 h 362"/>
                  <a:gd name="T10" fmla="*/ 179 w 221"/>
                  <a:gd name="T11" fmla="*/ 23 h 362"/>
                  <a:gd name="T12" fmla="*/ 221 w 221"/>
                  <a:gd name="T13" fmla="*/ 0 h 362"/>
                  <a:gd name="T14" fmla="*/ 221 w 221"/>
                  <a:gd name="T15" fmla="*/ 2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1" h="362">
                    <a:moveTo>
                      <a:pt x="221" y="262"/>
                    </a:moveTo>
                    <a:cubicBezTo>
                      <a:pt x="162" y="311"/>
                      <a:pt x="91" y="336"/>
                      <a:pt x="19" y="357"/>
                    </a:cubicBezTo>
                    <a:cubicBezTo>
                      <a:pt x="2" y="362"/>
                      <a:pt x="0" y="361"/>
                      <a:pt x="0" y="344"/>
                    </a:cubicBezTo>
                    <a:cubicBezTo>
                      <a:pt x="0" y="266"/>
                      <a:pt x="0" y="188"/>
                      <a:pt x="0" y="111"/>
                    </a:cubicBezTo>
                    <a:cubicBezTo>
                      <a:pt x="0" y="97"/>
                      <a:pt x="5" y="91"/>
                      <a:pt x="17" y="87"/>
                    </a:cubicBezTo>
                    <a:cubicBezTo>
                      <a:pt x="72" y="68"/>
                      <a:pt x="128" y="51"/>
                      <a:pt x="179" y="23"/>
                    </a:cubicBezTo>
                    <a:cubicBezTo>
                      <a:pt x="193" y="16"/>
                      <a:pt x="207" y="8"/>
                      <a:pt x="221" y="0"/>
                    </a:cubicBezTo>
                    <a:cubicBezTo>
                      <a:pt x="221" y="87"/>
                      <a:pt x="221" y="175"/>
                      <a:pt x="221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Freeform 20"/>
              <p:cNvSpPr>
                <a:spLocks/>
              </p:cNvSpPr>
              <p:nvPr/>
            </p:nvSpPr>
            <p:spPr bwMode="auto">
              <a:xfrm>
                <a:off x="5034" y="2279"/>
                <a:ext cx="29" cy="54"/>
              </a:xfrm>
              <a:custGeom>
                <a:avLst/>
                <a:gdLst>
                  <a:gd name="T0" fmla="*/ 216 w 216"/>
                  <a:gd name="T1" fmla="*/ 237 h 402"/>
                  <a:gd name="T2" fmla="*/ 39 w 216"/>
                  <a:gd name="T3" fmla="*/ 388 h 402"/>
                  <a:gd name="T4" fmla="*/ 10 w 216"/>
                  <a:gd name="T5" fmla="*/ 400 h 402"/>
                  <a:gd name="T6" fmla="*/ 4 w 216"/>
                  <a:gd name="T7" fmla="*/ 393 h 402"/>
                  <a:gd name="T8" fmla="*/ 23 w 216"/>
                  <a:gd name="T9" fmla="*/ 269 h 402"/>
                  <a:gd name="T10" fmla="*/ 23 w 216"/>
                  <a:gd name="T11" fmla="*/ 106 h 402"/>
                  <a:gd name="T12" fmla="*/ 33 w 216"/>
                  <a:gd name="T13" fmla="*/ 84 h 402"/>
                  <a:gd name="T14" fmla="*/ 211 w 216"/>
                  <a:gd name="T15" fmla="*/ 1 h 402"/>
                  <a:gd name="T16" fmla="*/ 216 w 216"/>
                  <a:gd name="T17" fmla="*/ 0 h 402"/>
                  <a:gd name="T18" fmla="*/ 216 w 216"/>
                  <a:gd name="T19" fmla="*/ 237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6" h="402">
                    <a:moveTo>
                      <a:pt x="216" y="237"/>
                    </a:moveTo>
                    <a:cubicBezTo>
                      <a:pt x="185" y="320"/>
                      <a:pt x="113" y="355"/>
                      <a:pt x="39" y="388"/>
                    </a:cubicBezTo>
                    <a:cubicBezTo>
                      <a:pt x="30" y="393"/>
                      <a:pt x="20" y="396"/>
                      <a:pt x="10" y="400"/>
                    </a:cubicBezTo>
                    <a:cubicBezTo>
                      <a:pt x="3" y="402"/>
                      <a:pt x="0" y="399"/>
                      <a:pt x="4" y="393"/>
                    </a:cubicBezTo>
                    <a:cubicBezTo>
                      <a:pt x="28" y="354"/>
                      <a:pt x="23" y="311"/>
                      <a:pt x="23" y="269"/>
                    </a:cubicBezTo>
                    <a:cubicBezTo>
                      <a:pt x="23" y="214"/>
                      <a:pt x="23" y="160"/>
                      <a:pt x="23" y="106"/>
                    </a:cubicBezTo>
                    <a:cubicBezTo>
                      <a:pt x="23" y="97"/>
                      <a:pt x="23" y="89"/>
                      <a:pt x="33" y="84"/>
                    </a:cubicBezTo>
                    <a:cubicBezTo>
                      <a:pt x="93" y="57"/>
                      <a:pt x="152" y="29"/>
                      <a:pt x="211" y="1"/>
                    </a:cubicBezTo>
                    <a:cubicBezTo>
                      <a:pt x="213" y="0"/>
                      <a:pt x="214" y="0"/>
                      <a:pt x="216" y="0"/>
                    </a:cubicBezTo>
                    <a:cubicBezTo>
                      <a:pt x="216" y="79"/>
                      <a:pt x="216" y="158"/>
                      <a:pt x="216" y="2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Freeform 21"/>
              <p:cNvSpPr>
                <a:spLocks/>
              </p:cNvSpPr>
              <p:nvPr/>
            </p:nvSpPr>
            <p:spPr bwMode="auto">
              <a:xfrm>
                <a:off x="4843" y="2161"/>
                <a:ext cx="184" cy="63"/>
              </a:xfrm>
              <a:custGeom>
                <a:avLst/>
                <a:gdLst>
                  <a:gd name="T0" fmla="*/ 689 w 1377"/>
                  <a:gd name="T1" fmla="*/ 0 h 468"/>
                  <a:gd name="T2" fmla="*/ 1073 w 1377"/>
                  <a:gd name="T3" fmla="*/ 42 h 468"/>
                  <a:gd name="T4" fmla="*/ 1298 w 1377"/>
                  <a:gd name="T5" fmla="*/ 141 h 468"/>
                  <a:gd name="T6" fmla="*/ 1369 w 1377"/>
                  <a:gd name="T7" fmla="*/ 235 h 468"/>
                  <a:gd name="T8" fmla="*/ 1372 w 1377"/>
                  <a:gd name="T9" fmla="*/ 308 h 468"/>
                  <a:gd name="T10" fmla="*/ 1350 w 1377"/>
                  <a:gd name="T11" fmla="*/ 330 h 468"/>
                  <a:gd name="T12" fmla="*/ 1252 w 1377"/>
                  <a:gd name="T13" fmla="*/ 383 h 468"/>
                  <a:gd name="T14" fmla="*/ 965 w 1377"/>
                  <a:gd name="T15" fmla="*/ 450 h 468"/>
                  <a:gd name="T16" fmla="*/ 703 w 1377"/>
                  <a:gd name="T17" fmla="*/ 468 h 468"/>
                  <a:gd name="T18" fmla="*/ 472 w 1377"/>
                  <a:gd name="T19" fmla="*/ 457 h 468"/>
                  <a:gd name="T20" fmla="*/ 204 w 1377"/>
                  <a:gd name="T21" fmla="*/ 409 h 468"/>
                  <a:gd name="T22" fmla="*/ 30 w 1377"/>
                  <a:gd name="T23" fmla="*/ 333 h 468"/>
                  <a:gd name="T24" fmla="*/ 4 w 1377"/>
                  <a:gd name="T25" fmla="*/ 284 h 468"/>
                  <a:gd name="T26" fmla="*/ 75 w 1377"/>
                  <a:gd name="T27" fmla="*/ 143 h 468"/>
                  <a:gd name="T28" fmla="*/ 304 w 1377"/>
                  <a:gd name="T29" fmla="*/ 42 h 468"/>
                  <a:gd name="T30" fmla="*/ 584 w 1377"/>
                  <a:gd name="T31" fmla="*/ 3 h 468"/>
                  <a:gd name="T32" fmla="*/ 689 w 1377"/>
                  <a:gd name="T33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7" h="468">
                    <a:moveTo>
                      <a:pt x="689" y="0"/>
                    </a:moveTo>
                    <a:cubicBezTo>
                      <a:pt x="819" y="0"/>
                      <a:pt x="947" y="10"/>
                      <a:pt x="1073" y="42"/>
                    </a:cubicBezTo>
                    <a:cubicBezTo>
                      <a:pt x="1153" y="62"/>
                      <a:pt x="1231" y="90"/>
                      <a:pt x="1298" y="141"/>
                    </a:cubicBezTo>
                    <a:cubicBezTo>
                      <a:pt x="1331" y="165"/>
                      <a:pt x="1357" y="195"/>
                      <a:pt x="1369" y="235"/>
                    </a:cubicBezTo>
                    <a:cubicBezTo>
                      <a:pt x="1377" y="259"/>
                      <a:pt x="1373" y="283"/>
                      <a:pt x="1372" y="308"/>
                    </a:cubicBezTo>
                    <a:cubicBezTo>
                      <a:pt x="1371" y="318"/>
                      <a:pt x="1359" y="324"/>
                      <a:pt x="1350" y="330"/>
                    </a:cubicBezTo>
                    <a:cubicBezTo>
                      <a:pt x="1320" y="353"/>
                      <a:pt x="1287" y="369"/>
                      <a:pt x="1252" y="383"/>
                    </a:cubicBezTo>
                    <a:cubicBezTo>
                      <a:pt x="1159" y="418"/>
                      <a:pt x="1063" y="437"/>
                      <a:pt x="965" y="450"/>
                    </a:cubicBezTo>
                    <a:cubicBezTo>
                      <a:pt x="878" y="462"/>
                      <a:pt x="791" y="467"/>
                      <a:pt x="703" y="468"/>
                    </a:cubicBezTo>
                    <a:cubicBezTo>
                      <a:pt x="626" y="468"/>
                      <a:pt x="549" y="465"/>
                      <a:pt x="472" y="457"/>
                    </a:cubicBezTo>
                    <a:cubicBezTo>
                      <a:pt x="381" y="448"/>
                      <a:pt x="292" y="434"/>
                      <a:pt x="204" y="409"/>
                    </a:cubicBezTo>
                    <a:cubicBezTo>
                      <a:pt x="143" y="391"/>
                      <a:pt x="83" y="370"/>
                      <a:pt x="30" y="333"/>
                    </a:cubicBezTo>
                    <a:cubicBezTo>
                      <a:pt x="12" y="321"/>
                      <a:pt x="5" y="307"/>
                      <a:pt x="4" y="284"/>
                    </a:cubicBezTo>
                    <a:cubicBezTo>
                      <a:pt x="0" y="222"/>
                      <a:pt x="30" y="179"/>
                      <a:pt x="75" y="143"/>
                    </a:cubicBezTo>
                    <a:cubicBezTo>
                      <a:pt x="143" y="90"/>
                      <a:pt x="222" y="63"/>
                      <a:pt x="304" y="42"/>
                    </a:cubicBezTo>
                    <a:cubicBezTo>
                      <a:pt x="396" y="19"/>
                      <a:pt x="489" y="7"/>
                      <a:pt x="584" y="3"/>
                    </a:cubicBezTo>
                    <a:cubicBezTo>
                      <a:pt x="619" y="1"/>
                      <a:pt x="654" y="1"/>
                      <a:pt x="68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Freeform 22"/>
              <p:cNvSpPr>
                <a:spLocks/>
              </p:cNvSpPr>
              <p:nvPr/>
            </p:nvSpPr>
            <p:spPr bwMode="auto">
              <a:xfrm>
                <a:off x="4843" y="2211"/>
                <a:ext cx="184" cy="56"/>
              </a:xfrm>
              <a:custGeom>
                <a:avLst/>
                <a:gdLst>
                  <a:gd name="T0" fmla="*/ 1 w 1370"/>
                  <a:gd name="T1" fmla="*/ 131 h 418"/>
                  <a:gd name="T2" fmla="*/ 1 w 1370"/>
                  <a:gd name="T3" fmla="*/ 15 h 418"/>
                  <a:gd name="T4" fmla="*/ 14 w 1370"/>
                  <a:gd name="T5" fmla="*/ 7 h 418"/>
                  <a:gd name="T6" fmla="*/ 261 w 1370"/>
                  <a:gd name="T7" fmla="*/ 96 h 418"/>
                  <a:gd name="T8" fmla="*/ 523 w 1370"/>
                  <a:gd name="T9" fmla="*/ 133 h 418"/>
                  <a:gd name="T10" fmla="*/ 761 w 1370"/>
                  <a:gd name="T11" fmla="*/ 138 h 418"/>
                  <a:gd name="T12" fmla="*/ 1236 w 1370"/>
                  <a:gd name="T13" fmla="*/ 62 h 418"/>
                  <a:gd name="T14" fmla="*/ 1354 w 1370"/>
                  <a:gd name="T15" fmla="*/ 8 h 418"/>
                  <a:gd name="T16" fmla="*/ 1370 w 1370"/>
                  <a:gd name="T17" fmla="*/ 17 h 418"/>
                  <a:gd name="T18" fmla="*/ 1370 w 1370"/>
                  <a:gd name="T19" fmla="*/ 245 h 418"/>
                  <a:gd name="T20" fmla="*/ 1357 w 1370"/>
                  <a:gd name="T21" fmla="*/ 270 h 418"/>
                  <a:gd name="T22" fmla="*/ 1220 w 1370"/>
                  <a:gd name="T23" fmla="*/ 341 h 418"/>
                  <a:gd name="T24" fmla="*/ 890 w 1370"/>
                  <a:gd name="T25" fmla="*/ 406 h 418"/>
                  <a:gd name="T26" fmla="*/ 610 w 1370"/>
                  <a:gd name="T27" fmla="*/ 415 h 418"/>
                  <a:gd name="T28" fmla="*/ 160 w 1370"/>
                  <a:gd name="T29" fmla="*/ 344 h 418"/>
                  <a:gd name="T30" fmla="*/ 21 w 1370"/>
                  <a:gd name="T31" fmla="*/ 277 h 418"/>
                  <a:gd name="T32" fmla="*/ 1 w 1370"/>
                  <a:gd name="T33" fmla="*/ 237 h 418"/>
                  <a:gd name="T34" fmla="*/ 1 w 1370"/>
                  <a:gd name="T35" fmla="*/ 131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70" h="418">
                    <a:moveTo>
                      <a:pt x="1" y="131"/>
                    </a:moveTo>
                    <a:cubicBezTo>
                      <a:pt x="2" y="92"/>
                      <a:pt x="2" y="54"/>
                      <a:pt x="1" y="15"/>
                    </a:cubicBezTo>
                    <a:cubicBezTo>
                      <a:pt x="1" y="5"/>
                      <a:pt x="4" y="0"/>
                      <a:pt x="14" y="7"/>
                    </a:cubicBezTo>
                    <a:cubicBezTo>
                      <a:pt x="90" y="54"/>
                      <a:pt x="175" y="78"/>
                      <a:pt x="261" y="96"/>
                    </a:cubicBezTo>
                    <a:cubicBezTo>
                      <a:pt x="347" y="115"/>
                      <a:pt x="435" y="126"/>
                      <a:pt x="523" y="133"/>
                    </a:cubicBezTo>
                    <a:cubicBezTo>
                      <a:pt x="603" y="139"/>
                      <a:pt x="682" y="141"/>
                      <a:pt x="761" y="138"/>
                    </a:cubicBezTo>
                    <a:cubicBezTo>
                      <a:pt x="923" y="131"/>
                      <a:pt x="1082" y="113"/>
                      <a:pt x="1236" y="62"/>
                    </a:cubicBezTo>
                    <a:cubicBezTo>
                      <a:pt x="1277" y="48"/>
                      <a:pt x="1317" y="31"/>
                      <a:pt x="1354" y="8"/>
                    </a:cubicBezTo>
                    <a:cubicBezTo>
                      <a:pt x="1367" y="0"/>
                      <a:pt x="1370" y="1"/>
                      <a:pt x="1370" y="17"/>
                    </a:cubicBezTo>
                    <a:cubicBezTo>
                      <a:pt x="1370" y="93"/>
                      <a:pt x="1370" y="169"/>
                      <a:pt x="1370" y="245"/>
                    </a:cubicBezTo>
                    <a:cubicBezTo>
                      <a:pt x="1370" y="256"/>
                      <a:pt x="1366" y="264"/>
                      <a:pt x="1357" y="270"/>
                    </a:cubicBezTo>
                    <a:cubicBezTo>
                      <a:pt x="1316" y="304"/>
                      <a:pt x="1269" y="324"/>
                      <a:pt x="1220" y="341"/>
                    </a:cubicBezTo>
                    <a:cubicBezTo>
                      <a:pt x="1113" y="377"/>
                      <a:pt x="1002" y="396"/>
                      <a:pt x="890" y="406"/>
                    </a:cubicBezTo>
                    <a:cubicBezTo>
                      <a:pt x="797" y="415"/>
                      <a:pt x="704" y="418"/>
                      <a:pt x="610" y="415"/>
                    </a:cubicBezTo>
                    <a:cubicBezTo>
                      <a:pt x="458" y="409"/>
                      <a:pt x="307" y="392"/>
                      <a:pt x="160" y="344"/>
                    </a:cubicBezTo>
                    <a:cubicBezTo>
                      <a:pt x="111" y="328"/>
                      <a:pt x="64" y="308"/>
                      <a:pt x="21" y="277"/>
                    </a:cubicBezTo>
                    <a:cubicBezTo>
                      <a:pt x="7" y="267"/>
                      <a:pt x="0" y="255"/>
                      <a:pt x="1" y="237"/>
                    </a:cubicBezTo>
                    <a:cubicBezTo>
                      <a:pt x="3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Freeform 23"/>
              <p:cNvSpPr>
                <a:spLocks/>
              </p:cNvSpPr>
              <p:nvPr/>
            </p:nvSpPr>
            <p:spPr bwMode="auto">
              <a:xfrm>
                <a:off x="4843" y="2255"/>
                <a:ext cx="184" cy="56"/>
              </a:xfrm>
              <a:custGeom>
                <a:avLst/>
                <a:gdLst>
                  <a:gd name="T0" fmla="*/ 1 w 1370"/>
                  <a:gd name="T1" fmla="*/ 131 h 419"/>
                  <a:gd name="T2" fmla="*/ 1 w 1370"/>
                  <a:gd name="T3" fmla="*/ 14 h 419"/>
                  <a:gd name="T4" fmla="*/ 14 w 1370"/>
                  <a:gd name="T5" fmla="*/ 7 h 419"/>
                  <a:gd name="T6" fmla="*/ 307 w 1370"/>
                  <a:gd name="T7" fmla="*/ 107 h 419"/>
                  <a:gd name="T8" fmla="*/ 615 w 1370"/>
                  <a:gd name="T9" fmla="*/ 138 h 419"/>
                  <a:gd name="T10" fmla="*/ 1137 w 1370"/>
                  <a:gd name="T11" fmla="*/ 91 h 419"/>
                  <a:gd name="T12" fmla="*/ 1357 w 1370"/>
                  <a:gd name="T13" fmla="*/ 6 h 419"/>
                  <a:gd name="T14" fmla="*/ 1370 w 1370"/>
                  <a:gd name="T15" fmla="*/ 14 h 419"/>
                  <a:gd name="T16" fmla="*/ 1370 w 1370"/>
                  <a:gd name="T17" fmla="*/ 248 h 419"/>
                  <a:gd name="T18" fmla="*/ 1355 w 1370"/>
                  <a:gd name="T19" fmla="*/ 272 h 419"/>
                  <a:gd name="T20" fmla="*/ 1238 w 1370"/>
                  <a:gd name="T21" fmla="*/ 334 h 419"/>
                  <a:gd name="T22" fmla="*/ 943 w 1370"/>
                  <a:gd name="T23" fmla="*/ 401 h 419"/>
                  <a:gd name="T24" fmla="*/ 637 w 1370"/>
                  <a:gd name="T25" fmla="*/ 416 h 419"/>
                  <a:gd name="T26" fmla="*/ 167 w 1370"/>
                  <a:gd name="T27" fmla="*/ 347 h 419"/>
                  <a:gd name="T28" fmla="*/ 21 w 1370"/>
                  <a:gd name="T29" fmla="*/ 277 h 419"/>
                  <a:gd name="T30" fmla="*/ 1 w 1370"/>
                  <a:gd name="T31" fmla="*/ 238 h 419"/>
                  <a:gd name="T32" fmla="*/ 1 w 1370"/>
                  <a:gd name="T33" fmla="*/ 131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0" h="419">
                    <a:moveTo>
                      <a:pt x="1" y="131"/>
                    </a:moveTo>
                    <a:cubicBezTo>
                      <a:pt x="1" y="92"/>
                      <a:pt x="2" y="53"/>
                      <a:pt x="1" y="14"/>
                    </a:cubicBezTo>
                    <a:cubicBezTo>
                      <a:pt x="1" y="3"/>
                      <a:pt x="4" y="1"/>
                      <a:pt x="14" y="7"/>
                    </a:cubicBezTo>
                    <a:cubicBezTo>
                      <a:pt x="104" y="62"/>
                      <a:pt x="205" y="88"/>
                      <a:pt x="307" y="107"/>
                    </a:cubicBezTo>
                    <a:cubicBezTo>
                      <a:pt x="409" y="127"/>
                      <a:pt x="512" y="135"/>
                      <a:pt x="615" y="138"/>
                    </a:cubicBezTo>
                    <a:cubicBezTo>
                      <a:pt x="791" y="143"/>
                      <a:pt x="966" y="133"/>
                      <a:pt x="1137" y="91"/>
                    </a:cubicBezTo>
                    <a:cubicBezTo>
                      <a:pt x="1214" y="73"/>
                      <a:pt x="1289" y="49"/>
                      <a:pt x="1357" y="6"/>
                    </a:cubicBezTo>
                    <a:cubicBezTo>
                      <a:pt x="1367" y="0"/>
                      <a:pt x="1370" y="4"/>
                      <a:pt x="1370" y="14"/>
                    </a:cubicBezTo>
                    <a:cubicBezTo>
                      <a:pt x="1370" y="92"/>
                      <a:pt x="1370" y="170"/>
                      <a:pt x="1370" y="248"/>
                    </a:cubicBezTo>
                    <a:cubicBezTo>
                      <a:pt x="1370" y="260"/>
                      <a:pt x="1363" y="266"/>
                      <a:pt x="1355" y="272"/>
                    </a:cubicBezTo>
                    <a:cubicBezTo>
                      <a:pt x="1320" y="301"/>
                      <a:pt x="1280" y="319"/>
                      <a:pt x="1238" y="334"/>
                    </a:cubicBezTo>
                    <a:cubicBezTo>
                      <a:pt x="1143" y="370"/>
                      <a:pt x="1044" y="389"/>
                      <a:pt x="943" y="401"/>
                    </a:cubicBezTo>
                    <a:cubicBezTo>
                      <a:pt x="841" y="413"/>
                      <a:pt x="739" y="419"/>
                      <a:pt x="637" y="416"/>
                    </a:cubicBezTo>
                    <a:cubicBezTo>
                      <a:pt x="477" y="411"/>
                      <a:pt x="320" y="395"/>
                      <a:pt x="167" y="347"/>
                    </a:cubicBezTo>
                    <a:cubicBezTo>
                      <a:pt x="115" y="330"/>
                      <a:pt x="65" y="310"/>
                      <a:pt x="21" y="277"/>
                    </a:cubicBezTo>
                    <a:cubicBezTo>
                      <a:pt x="7" y="267"/>
                      <a:pt x="0" y="256"/>
                      <a:pt x="1" y="238"/>
                    </a:cubicBezTo>
                    <a:cubicBezTo>
                      <a:pt x="2" y="202"/>
                      <a:pt x="1" y="167"/>
                      <a:pt x="1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80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83" name="Рисунок 82"/>
            <p:cNvPicPr>
              <a:picLocks noChangeAspect="1"/>
            </p:cNvPicPr>
            <p:nvPr userDrawn="1"/>
          </p:nvPicPr>
          <p:blipFill>
            <a:blip r:embed="rId6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964" y="255927"/>
              <a:ext cx="132047" cy="120941"/>
            </a:xfrm>
            <a:prstGeom prst="rect">
              <a:avLst/>
            </a:prstGeom>
          </p:spPr>
        </p:pic>
        <p:sp>
          <p:nvSpPr>
            <p:cNvPr id="84" name="Freeform 413"/>
            <p:cNvSpPr>
              <a:spLocks noEditPoints="1"/>
            </p:cNvSpPr>
            <p:nvPr userDrawn="1"/>
          </p:nvSpPr>
          <p:spPr bwMode="auto">
            <a:xfrm>
              <a:off x="467432" y="411832"/>
              <a:ext cx="136834" cy="109909"/>
            </a:xfrm>
            <a:custGeom>
              <a:avLst/>
              <a:gdLst/>
              <a:ahLst/>
              <a:cxnLst>
                <a:cxn ang="0">
                  <a:pos x="235" y="365"/>
                </a:cxn>
                <a:cxn ang="0">
                  <a:pos x="246" y="344"/>
                </a:cxn>
                <a:cxn ang="0">
                  <a:pos x="226" y="329"/>
                </a:cxn>
                <a:cxn ang="0">
                  <a:pos x="217" y="320"/>
                </a:cxn>
                <a:cxn ang="0">
                  <a:pos x="206" y="328"/>
                </a:cxn>
                <a:cxn ang="0">
                  <a:pos x="142" y="348"/>
                </a:cxn>
                <a:cxn ang="0">
                  <a:pos x="31" y="237"/>
                </a:cxn>
                <a:cxn ang="0">
                  <a:pos x="106" y="133"/>
                </a:cxn>
                <a:cxn ang="0">
                  <a:pos x="106" y="132"/>
                </a:cxn>
                <a:cxn ang="0">
                  <a:pos x="144" y="127"/>
                </a:cxn>
                <a:cxn ang="0">
                  <a:pos x="201" y="141"/>
                </a:cxn>
                <a:cxn ang="0">
                  <a:pos x="132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9" y="103"/>
                </a:cxn>
                <a:cxn ang="0">
                  <a:pos x="116" y="104"/>
                </a:cxn>
                <a:cxn ang="0">
                  <a:pos x="49" y="130"/>
                </a:cxn>
                <a:cxn ang="0">
                  <a:pos x="49" y="129"/>
                </a:cxn>
                <a:cxn ang="0">
                  <a:pos x="0" y="237"/>
                </a:cxn>
                <a:cxn ang="0">
                  <a:pos x="142" y="380"/>
                </a:cxn>
                <a:cxn ang="0">
                  <a:pos x="214" y="360"/>
                </a:cxn>
                <a:cxn ang="0">
                  <a:pos x="231" y="371"/>
                </a:cxn>
                <a:cxn ang="0">
                  <a:pos x="235" y="365"/>
                </a:cxn>
                <a:cxn ang="0">
                  <a:pos x="453" y="183"/>
                </a:cxn>
                <a:cxn ang="0">
                  <a:pos x="454" y="175"/>
                </a:cxn>
                <a:cxn ang="0">
                  <a:pos x="348" y="70"/>
                </a:cxn>
                <a:cxn ang="0">
                  <a:pos x="327" y="72"/>
                </a:cxn>
                <a:cxn ang="0">
                  <a:pos x="212" y="0"/>
                </a:cxn>
                <a:cxn ang="0">
                  <a:pos x="90" y="89"/>
                </a:cxn>
                <a:cxn ang="0">
                  <a:pos x="125" y="86"/>
                </a:cxn>
                <a:cxn ang="0">
                  <a:pos x="212" y="32"/>
                </a:cxn>
                <a:cxn ang="0">
                  <a:pos x="302" y="96"/>
                </a:cxn>
                <a:cxn ang="0">
                  <a:pos x="308" y="112"/>
                </a:cxn>
                <a:cxn ang="0">
                  <a:pos x="323" y="106"/>
                </a:cxn>
                <a:cxn ang="0">
                  <a:pos x="348" y="101"/>
                </a:cxn>
                <a:cxn ang="0">
                  <a:pos x="422" y="175"/>
                </a:cxn>
                <a:cxn ang="0">
                  <a:pos x="420" y="192"/>
                </a:cxn>
                <a:cxn ang="0">
                  <a:pos x="416" y="209"/>
                </a:cxn>
                <a:cxn ang="0">
                  <a:pos x="434" y="211"/>
                </a:cxn>
                <a:cxn ang="0">
                  <a:pos x="492" y="275"/>
                </a:cxn>
                <a:cxn ang="0">
                  <a:pos x="428" y="338"/>
                </a:cxn>
                <a:cxn ang="0">
                  <a:pos x="394" y="329"/>
                </a:cxn>
                <a:cxn ang="0">
                  <a:pos x="384" y="322"/>
                </a:cxn>
                <a:cxn ang="0">
                  <a:pos x="375" y="330"/>
                </a:cxn>
                <a:cxn ang="0">
                  <a:pos x="358" y="343"/>
                </a:cxn>
                <a:cxn ang="0">
                  <a:pos x="352" y="359"/>
                </a:cxn>
                <a:cxn ang="0">
                  <a:pos x="342" y="384"/>
                </a:cxn>
                <a:cxn ang="0">
                  <a:pos x="387" y="361"/>
                </a:cxn>
                <a:cxn ang="0">
                  <a:pos x="428" y="370"/>
                </a:cxn>
                <a:cxn ang="0">
                  <a:pos x="523" y="275"/>
                </a:cxn>
                <a:cxn ang="0">
                  <a:pos x="453" y="183"/>
                </a:cxn>
                <a:cxn ang="0">
                  <a:pos x="383" y="292"/>
                </a:cxn>
                <a:cxn ang="0">
                  <a:pos x="313" y="171"/>
                </a:cxn>
                <a:cxn ang="0">
                  <a:pos x="244" y="292"/>
                </a:cxn>
                <a:cxn ang="0">
                  <a:pos x="282" y="292"/>
                </a:cxn>
                <a:cxn ang="0">
                  <a:pos x="220" y="420"/>
                </a:cxn>
                <a:cxn ang="0">
                  <a:pos x="297" y="420"/>
                </a:cxn>
                <a:cxn ang="0">
                  <a:pos x="343" y="292"/>
                </a:cxn>
                <a:cxn ang="0">
                  <a:pos x="383" y="292"/>
                </a:cxn>
              </a:cxnLst>
              <a:rect l="0" t="0" r="r" b="b"/>
              <a:pathLst>
                <a:path w="523" h="420">
                  <a:moveTo>
                    <a:pt x="235" y="365"/>
                  </a:moveTo>
                  <a:cubicBezTo>
                    <a:pt x="239" y="358"/>
                    <a:pt x="243" y="351"/>
                    <a:pt x="246" y="344"/>
                  </a:cubicBezTo>
                  <a:cubicBezTo>
                    <a:pt x="239" y="340"/>
                    <a:pt x="232" y="335"/>
                    <a:pt x="226" y="329"/>
                  </a:cubicBezTo>
                  <a:cubicBezTo>
                    <a:pt x="217" y="320"/>
                    <a:pt x="217" y="320"/>
                    <a:pt x="217" y="320"/>
                  </a:cubicBezTo>
                  <a:cubicBezTo>
                    <a:pt x="206" y="328"/>
                    <a:pt x="206" y="328"/>
                    <a:pt x="206" y="328"/>
                  </a:cubicBezTo>
                  <a:cubicBezTo>
                    <a:pt x="187" y="341"/>
                    <a:pt x="165" y="348"/>
                    <a:pt x="142" y="348"/>
                  </a:cubicBezTo>
                  <a:cubicBezTo>
                    <a:pt x="81" y="348"/>
                    <a:pt x="31" y="299"/>
                    <a:pt x="31" y="237"/>
                  </a:cubicBezTo>
                  <a:cubicBezTo>
                    <a:pt x="31" y="190"/>
                    <a:pt x="61" y="148"/>
                    <a:pt x="106" y="133"/>
                  </a:cubicBezTo>
                  <a:cubicBezTo>
                    <a:pt x="106" y="132"/>
                    <a:pt x="106" y="132"/>
                    <a:pt x="106" y="132"/>
                  </a:cubicBezTo>
                  <a:cubicBezTo>
                    <a:pt x="117" y="129"/>
                    <a:pt x="129" y="127"/>
                    <a:pt x="144" y="127"/>
                  </a:cubicBezTo>
                  <a:cubicBezTo>
                    <a:pt x="167" y="127"/>
                    <a:pt x="187" y="132"/>
                    <a:pt x="201" y="141"/>
                  </a:cubicBezTo>
                  <a:cubicBezTo>
                    <a:pt x="208" y="131"/>
                    <a:pt x="195" y="103"/>
                    <a:pt x="132" y="103"/>
                  </a:cubicBezTo>
                  <a:cubicBezTo>
                    <a:pt x="127" y="103"/>
                    <a:pt x="123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8" y="103"/>
                    <a:pt x="117" y="104"/>
                    <a:pt x="116" y="104"/>
                  </a:cubicBezTo>
                  <a:cubicBezTo>
                    <a:pt x="77" y="107"/>
                    <a:pt x="49" y="130"/>
                    <a:pt x="49" y="130"/>
                  </a:cubicBezTo>
                  <a:cubicBezTo>
                    <a:pt x="49" y="129"/>
                    <a:pt x="49" y="129"/>
                    <a:pt x="49" y="129"/>
                  </a:cubicBezTo>
                  <a:cubicBezTo>
                    <a:pt x="18" y="156"/>
                    <a:pt x="0" y="195"/>
                    <a:pt x="0" y="237"/>
                  </a:cubicBezTo>
                  <a:cubicBezTo>
                    <a:pt x="0" y="316"/>
                    <a:pt x="63" y="380"/>
                    <a:pt x="142" y="380"/>
                  </a:cubicBezTo>
                  <a:cubicBezTo>
                    <a:pt x="168" y="380"/>
                    <a:pt x="192" y="373"/>
                    <a:pt x="214" y="360"/>
                  </a:cubicBezTo>
                  <a:cubicBezTo>
                    <a:pt x="220" y="364"/>
                    <a:pt x="225" y="368"/>
                    <a:pt x="231" y="371"/>
                  </a:cubicBezTo>
                  <a:lnTo>
                    <a:pt x="235" y="365"/>
                  </a:lnTo>
                  <a:close/>
                  <a:moveTo>
                    <a:pt x="453" y="183"/>
                  </a:moveTo>
                  <a:cubicBezTo>
                    <a:pt x="454" y="180"/>
                    <a:pt x="454" y="178"/>
                    <a:pt x="454" y="175"/>
                  </a:cubicBezTo>
                  <a:cubicBezTo>
                    <a:pt x="454" y="117"/>
                    <a:pt x="407" y="70"/>
                    <a:pt x="348" y="70"/>
                  </a:cubicBezTo>
                  <a:cubicBezTo>
                    <a:pt x="341" y="70"/>
                    <a:pt x="334" y="71"/>
                    <a:pt x="327" y="72"/>
                  </a:cubicBezTo>
                  <a:cubicBezTo>
                    <a:pt x="305" y="29"/>
                    <a:pt x="261" y="0"/>
                    <a:pt x="212" y="0"/>
                  </a:cubicBezTo>
                  <a:cubicBezTo>
                    <a:pt x="155" y="0"/>
                    <a:pt x="106" y="37"/>
                    <a:pt x="90" y="89"/>
                  </a:cubicBezTo>
                  <a:cubicBezTo>
                    <a:pt x="103" y="86"/>
                    <a:pt x="116" y="85"/>
                    <a:pt x="125" y="86"/>
                  </a:cubicBezTo>
                  <a:cubicBezTo>
                    <a:pt x="141" y="53"/>
                    <a:pt x="174" y="32"/>
                    <a:pt x="212" y="32"/>
                  </a:cubicBezTo>
                  <a:cubicBezTo>
                    <a:pt x="253" y="32"/>
                    <a:pt x="289" y="58"/>
                    <a:pt x="302" y="96"/>
                  </a:cubicBezTo>
                  <a:cubicBezTo>
                    <a:pt x="308" y="112"/>
                    <a:pt x="308" y="112"/>
                    <a:pt x="308" y="112"/>
                  </a:cubicBezTo>
                  <a:cubicBezTo>
                    <a:pt x="323" y="106"/>
                    <a:pt x="323" y="106"/>
                    <a:pt x="323" y="106"/>
                  </a:cubicBezTo>
                  <a:cubicBezTo>
                    <a:pt x="331" y="103"/>
                    <a:pt x="340" y="101"/>
                    <a:pt x="348" y="101"/>
                  </a:cubicBezTo>
                  <a:cubicBezTo>
                    <a:pt x="389" y="101"/>
                    <a:pt x="422" y="135"/>
                    <a:pt x="422" y="175"/>
                  </a:cubicBezTo>
                  <a:cubicBezTo>
                    <a:pt x="422" y="181"/>
                    <a:pt x="421" y="186"/>
                    <a:pt x="420" y="192"/>
                  </a:cubicBezTo>
                  <a:cubicBezTo>
                    <a:pt x="416" y="209"/>
                    <a:pt x="416" y="209"/>
                    <a:pt x="416" y="209"/>
                  </a:cubicBezTo>
                  <a:cubicBezTo>
                    <a:pt x="434" y="211"/>
                    <a:pt x="434" y="211"/>
                    <a:pt x="434" y="211"/>
                  </a:cubicBezTo>
                  <a:cubicBezTo>
                    <a:pt x="467" y="214"/>
                    <a:pt x="492" y="242"/>
                    <a:pt x="492" y="275"/>
                  </a:cubicBezTo>
                  <a:cubicBezTo>
                    <a:pt x="492" y="310"/>
                    <a:pt x="463" y="338"/>
                    <a:pt x="428" y="338"/>
                  </a:cubicBezTo>
                  <a:cubicBezTo>
                    <a:pt x="416" y="338"/>
                    <a:pt x="404" y="335"/>
                    <a:pt x="394" y="329"/>
                  </a:cubicBezTo>
                  <a:cubicBezTo>
                    <a:pt x="384" y="322"/>
                    <a:pt x="384" y="322"/>
                    <a:pt x="384" y="322"/>
                  </a:cubicBezTo>
                  <a:cubicBezTo>
                    <a:pt x="375" y="330"/>
                    <a:pt x="375" y="330"/>
                    <a:pt x="375" y="330"/>
                  </a:cubicBezTo>
                  <a:cubicBezTo>
                    <a:pt x="370" y="335"/>
                    <a:pt x="364" y="339"/>
                    <a:pt x="358" y="343"/>
                  </a:cubicBezTo>
                  <a:cubicBezTo>
                    <a:pt x="356" y="348"/>
                    <a:pt x="354" y="354"/>
                    <a:pt x="352" y="359"/>
                  </a:cubicBezTo>
                  <a:cubicBezTo>
                    <a:pt x="349" y="367"/>
                    <a:pt x="346" y="376"/>
                    <a:pt x="342" y="384"/>
                  </a:cubicBezTo>
                  <a:cubicBezTo>
                    <a:pt x="358" y="379"/>
                    <a:pt x="374" y="371"/>
                    <a:pt x="387" y="361"/>
                  </a:cubicBezTo>
                  <a:cubicBezTo>
                    <a:pt x="400" y="367"/>
                    <a:pt x="414" y="370"/>
                    <a:pt x="428" y="370"/>
                  </a:cubicBezTo>
                  <a:cubicBezTo>
                    <a:pt x="481" y="370"/>
                    <a:pt x="523" y="327"/>
                    <a:pt x="523" y="275"/>
                  </a:cubicBezTo>
                  <a:cubicBezTo>
                    <a:pt x="523" y="231"/>
                    <a:pt x="494" y="194"/>
                    <a:pt x="453" y="183"/>
                  </a:cubicBezTo>
                  <a:close/>
                  <a:moveTo>
                    <a:pt x="383" y="292"/>
                  </a:moveTo>
                  <a:cubicBezTo>
                    <a:pt x="313" y="171"/>
                    <a:pt x="313" y="171"/>
                    <a:pt x="313" y="171"/>
                  </a:cubicBezTo>
                  <a:cubicBezTo>
                    <a:pt x="244" y="292"/>
                    <a:pt x="244" y="292"/>
                    <a:pt x="244" y="292"/>
                  </a:cubicBezTo>
                  <a:cubicBezTo>
                    <a:pt x="282" y="292"/>
                    <a:pt x="282" y="292"/>
                    <a:pt x="282" y="292"/>
                  </a:cubicBezTo>
                  <a:cubicBezTo>
                    <a:pt x="274" y="341"/>
                    <a:pt x="252" y="385"/>
                    <a:pt x="220" y="420"/>
                  </a:cubicBezTo>
                  <a:cubicBezTo>
                    <a:pt x="297" y="420"/>
                    <a:pt x="297" y="420"/>
                    <a:pt x="297" y="420"/>
                  </a:cubicBezTo>
                  <a:cubicBezTo>
                    <a:pt x="321" y="382"/>
                    <a:pt x="338" y="338"/>
                    <a:pt x="343" y="292"/>
                  </a:cubicBezTo>
                  <a:lnTo>
                    <a:pt x="383" y="29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</p:grp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xmlns="" id="{A0C4E7F1-7346-4A46-A777-55C481F872B9}"/>
              </a:ext>
            </a:extLst>
          </p:cNvPr>
          <p:cNvSpPr/>
          <p:nvPr userDrawn="1"/>
        </p:nvSpPr>
        <p:spPr>
          <a:xfrm>
            <a:off x="0" y="657026"/>
            <a:ext cx="12192000" cy="6200975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27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ru-RU" sz="1400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55" name="Slide Number">
            <a:extLst>
              <a:ext uri="{FF2B5EF4-FFF2-40B4-BE49-F238E27FC236}">
                <a16:creationId xmlns:a16="http://schemas.microsoft.com/office/drawing/2014/main" xmlns="" id="{3E84F764-69A5-AB4B-AB04-0CB9D566B6A7}"/>
              </a:ext>
            </a:extLst>
          </p:cNvPr>
          <p:cNvSpPr txBox="1">
            <a:spLocks/>
          </p:cNvSpPr>
          <p:nvPr userDrawn="1"/>
        </p:nvSpPr>
        <p:spPr>
          <a:xfrm>
            <a:off x="11790055" y="6585271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5493038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№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72CC20C-CF57-C947-95A7-B9B5F59AD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Freeform 6">
            <a:extLst>
              <a:ext uri="{FF2B5EF4-FFF2-40B4-BE49-F238E27FC236}">
                <a16:creationId xmlns:a16="http://schemas.microsoft.com/office/drawing/2014/main" xmlns="" id="{84B0BA85-0E1F-46AB-85DB-7F26CA0CB723}"/>
              </a:ext>
            </a:extLst>
          </p:cNvPr>
          <p:cNvSpPr>
            <a:spLocks/>
          </p:cNvSpPr>
          <p:nvPr userDrawn="1"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</p:spPr>
        <p:txBody>
          <a:bodyPr lIns="102615" tIns="102615" rIns="102615" bIns="10261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67" kern="0">
              <a:solidFill>
                <a:srgbClr val="787E7F"/>
              </a:solidFill>
              <a:latin typeface="Arial Narrow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652236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Папка Алечки Витальевны\Шаблоны для презентаций\фон\обложка карта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4" r="1894" b="13409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59864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2995AA-C26E-4AF6-A7BA-848B15EA881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321964" y="182927"/>
            <a:ext cx="10498437" cy="304762"/>
          </a:xfrm>
        </p:spPr>
        <p:txBody>
          <a:bodyPr wrap="square" lIns="0" bIns="0">
            <a:spAutoFit/>
          </a:bodyPr>
          <a:lstStyle>
            <a:lvl1pPr>
              <a:lnSpc>
                <a:spcPct val="100000"/>
              </a:lnSpc>
              <a:defRPr kumimoji="0" lang="ru-RU" sz="1867" b="0" i="0" u="none" strike="noStrike" cap="all" spc="40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ru-RU" sz="2400" smtClean="0"/>
            </a:lvl2pPr>
            <a:lvl3pPr>
              <a:defRPr lang="ru-RU" sz="2400" smtClean="0"/>
            </a:lvl3pPr>
            <a:lvl4pPr>
              <a:defRPr lang="ru-RU" sz="2400" smtClean="0"/>
            </a:lvl4pPr>
            <a:lvl5pPr>
              <a:defRPr lang="ru-RU" sz="240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  <a:buNone/>
            </a:pPr>
            <a:r>
              <a:rPr lang="ru-RU" dirty="0"/>
              <a:t>Образец Заголовк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98" t="12390" r="10404" b="14163"/>
          <a:stretch/>
        </p:blipFill>
        <p:spPr bwMode="auto">
          <a:xfrm>
            <a:off x="11236688" y="182805"/>
            <a:ext cx="432000" cy="426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quarter" idx="14"/>
          </p:nvPr>
        </p:nvSpPr>
        <p:spPr>
          <a:xfrm>
            <a:off x="321963" y="1125849"/>
            <a:ext cx="11561887" cy="800216"/>
          </a:xfrm>
        </p:spPr>
        <p:txBody>
          <a:bodyPr>
            <a:spAutoFit/>
          </a:bodyPr>
          <a:lstStyle>
            <a:lvl1pPr marL="361942" indent="-361942"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406576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2995AA-C26E-4AF6-A7BA-848B15EA881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321964" y="182927"/>
            <a:ext cx="10498437" cy="304762"/>
          </a:xfrm>
        </p:spPr>
        <p:txBody>
          <a:bodyPr wrap="square" lIns="0" bIns="0">
            <a:spAutoFit/>
          </a:bodyPr>
          <a:lstStyle>
            <a:lvl1pPr>
              <a:lnSpc>
                <a:spcPct val="100000"/>
              </a:lnSpc>
              <a:defRPr kumimoji="0" lang="ru-RU" sz="1867" b="0" i="0" u="none" strike="noStrike" cap="all" spc="40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ru-RU" sz="2400" smtClean="0"/>
            </a:lvl2pPr>
            <a:lvl3pPr>
              <a:defRPr lang="ru-RU" sz="2400" smtClean="0"/>
            </a:lvl3pPr>
            <a:lvl4pPr>
              <a:defRPr lang="ru-RU" sz="2400" smtClean="0"/>
            </a:lvl4pPr>
            <a:lvl5pPr>
              <a:defRPr lang="ru-RU" sz="240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  <a:buNone/>
            </a:pPr>
            <a:r>
              <a:rPr lang="ru-RU" dirty="0"/>
              <a:t>Образец Заголовк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98" t="12390" r="10404" b="14163"/>
          <a:stretch/>
        </p:blipFill>
        <p:spPr bwMode="auto">
          <a:xfrm>
            <a:off x="11236688" y="182805"/>
            <a:ext cx="432000" cy="426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04205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95803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119" y="2143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65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Объект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43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2043162" y="1718549"/>
            <a:ext cx="8442609" cy="1758749"/>
          </a:xfrm>
        </p:spPr>
        <p:txBody>
          <a:bodyPr>
            <a:sp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247341" y="6576471"/>
            <a:ext cx="11083200" cy="205184"/>
          </a:xfrm>
        </p:spPr>
        <p:txBody>
          <a:bodyPr/>
          <a:lstStyle>
            <a:lvl1pPr>
              <a:defRPr sz="1333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247341" y="6338049"/>
            <a:ext cx="11083200" cy="205184"/>
          </a:xfrm>
        </p:spPr>
        <p:txBody>
          <a:bodyPr/>
          <a:lstStyle>
            <a:lvl1pPr>
              <a:defRPr sz="1333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1 Сноска</a:t>
            </a:r>
          </a:p>
        </p:txBody>
      </p:sp>
      <p:sp>
        <p:nvSpPr>
          <p:cNvPr id="10" name="Подзаголовок слайда"/>
          <p:cNvSpPr>
            <a:spLocks noGrp="1"/>
          </p:cNvSpPr>
          <p:nvPr>
            <p:ph sz="quarter" idx="16" hasCustomPrompt="1"/>
          </p:nvPr>
        </p:nvSpPr>
        <p:spPr>
          <a:xfrm>
            <a:off x="247340" y="737522"/>
            <a:ext cx="11083200" cy="328231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2133" dirty="0" smtClean="0">
                <a:solidFill>
                  <a:srgbClr val="A7A7A7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ru-RU" dirty="0"/>
              <a:t>Подзаголовок слайда</a:t>
            </a:r>
          </a:p>
        </p:txBody>
      </p:sp>
      <p:sp>
        <p:nvSpPr>
          <p:cNvPr id="11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47343" y="283951"/>
            <a:ext cx="1108338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259588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0C627B"/>
              </a:gs>
              <a:gs pos="0">
                <a:srgbClr val="001419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0011" tIns="60004" rIns="120011" bIns="60004" rtlCol="0" anchor="ctr"/>
          <a:lstStyle/>
          <a:p>
            <a:pPr algn="ctr"/>
            <a:endParaRPr lang="ru-RU" sz="1800"/>
          </a:p>
        </p:txBody>
      </p:sp>
      <p:pic>
        <p:nvPicPr>
          <p:cNvPr id="11" name="Изображение 10" descr="fon5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1574" y="-39908"/>
            <a:ext cx="12317681" cy="6928696"/>
          </a:xfrm>
          <a:prstGeom prst="rect">
            <a:avLst/>
          </a:prstGeom>
        </p:spPr>
      </p:pic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9605" y="174468"/>
            <a:ext cx="8626764" cy="9527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0" y="1210995"/>
            <a:ext cx="10972800" cy="49151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B6417-A418-0042-AD07-1362D4BAB825}" type="datetime1">
              <a:rPr lang="ru-RU" smtClean="0"/>
              <a:t>12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8C3E89-1B5F-4046-AEEA-E6F2AB85BE13}" type="slidenum">
              <a:rPr lang="ru-RU" smtClean="0"/>
              <a:t>‹#›</a:t>
            </a:fld>
            <a:endParaRPr lang="ru-RU"/>
          </a:p>
        </p:txBody>
      </p:sp>
      <p:pic>
        <p:nvPicPr>
          <p:cNvPr id="13" name="Изображение 12" descr="Sberbank-white-logo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7540" y="201727"/>
            <a:ext cx="2164859" cy="552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98982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61999" y="244130"/>
            <a:ext cx="9144539" cy="280653"/>
          </a:xfrm>
        </p:spPr>
        <p:txBody>
          <a:bodyPr anchor="ctr" anchorCtr="0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97187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A2E444F-9933-4181-BB2D-2D85CD3C3F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D2A665B-9D01-4953-A500-2EFFF79F48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D747542-6044-4347-8249-0E5E74E6E1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47794-8BA6-4EA9-BCB9-33B273E3FACA}" type="datetimeFigureOut">
              <a:rPr lang="en-US" smtClean="0"/>
              <a:t>9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C71B3E4-4A55-490A-BCA2-7D3BE4A6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8C54CE9-39EB-4F7E-9BFF-7D933A0E3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D2794-D9F8-4B51-96E5-D7E3CF2375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81105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CFD5B2C6-D1FE-4E2E-9C96-56340082F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47794-8BA6-4EA9-BCB9-33B273E3FACA}" type="datetimeFigureOut">
              <a:rPr lang="en-US" smtClean="0"/>
              <a:t>9/12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5438AA61-F3F3-4682-8143-1ED01FA518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164CA114-7405-4719-971A-3D9561984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D2794-D9F8-4B51-96E5-D7E3CF2375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08207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41346" y="6650146"/>
            <a:ext cx="11263874" cy="188418"/>
          </a:xfrm>
          <a:prstGeom prst="rect">
            <a:avLst/>
          </a:prstGeom>
        </p:spPr>
        <p:txBody>
          <a:bodyPr lIns="91424" tIns="91424" rIns="91424" bIns="91424" anchor="b"/>
          <a:lstStyle>
            <a:lvl1pPr marL="233240" indent="0">
              <a:spcBef>
                <a:spcPts val="0"/>
              </a:spcBef>
              <a:buSzTx/>
              <a:buFontTx/>
              <a:buNone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indent="-330424">
              <a:spcBef>
                <a:spcPts val="0"/>
              </a:spcBef>
              <a:buSzPts val="1200"/>
              <a:buFontTx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2" indent="-326535">
              <a:spcBef>
                <a:spcPts val="0"/>
              </a:spcBef>
              <a:buSzPts val="1200"/>
              <a:buFontTx/>
              <a:buChar char="–"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indent="-326535">
              <a:spcBef>
                <a:spcPts val="0"/>
              </a:spcBef>
              <a:buSzPts val="1200"/>
              <a:buFontTx/>
              <a:buChar char="◦"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indent="-302434">
              <a:spcBef>
                <a:spcPts val="0"/>
              </a:spcBef>
              <a:buSzPts val="1200"/>
              <a:buFontTx/>
              <a:buChar char="-"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7" name="Title Text"/>
          <p:cNvSpPr txBox="1">
            <a:spLocks noGrp="1"/>
          </p:cNvSpPr>
          <p:nvPr>
            <p:ph type="title"/>
          </p:nvPr>
        </p:nvSpPr>
        <p:spPr>
          <a:xfrm>
            <a:off x="2457965" y="121419"/>
            <a:ext cx="9039153" cy="477322"/>
          </a:xfrm>
          <a:prstGeom prst="rect">
            <a:avLst/>
          </a:prstGeom>
        </p:spPr>
        <p:txBody>
          <a:bodyPr lIns="91424" tIns="91424" rIns="91424" bIns="91424" anchor="t"/>
          <a:lstStyle>
            <a:lvl1pPr>
              <a:lnSpc>
                <a:spcPct val="95000"/>
              </a:lnSpc>
              <a:defRPr sz="3200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</a:lstStyle>
          <a:p>
            <a:r>
              <a:t>Title Text</a:t>
            </a:r>
          </a:p>
        </p:txBody>
      </p:sp>
      <p:sp>
        <p:nvSpPr>
          <p:cNvPr id="148" name="Shape 22"/>
          <p:cNvSpPr txBox="1">
            <a:spLocks noGrp="1"/>
          </p:cNvSpPr>
          <p:nvPr>
            <p:ph type="body" sz="quarter" idx="13"/>
          </p:nvPr>
        </p:nvSpPr>
        <p:spPr>
          <a:xfrm>
            <a:off x="241345" y="6456627"/>
            <a:ext cx="11261132" cy="188418"/>
          </a:xfrm>
          <a:prstGeom prst="rect">
            <a:avLst/>
          </a:prstGeom>
        </p:spPr>
        <p:txBody>
          <a:bodyPr lIns="91424" tIns="91424" rIns="91424" bIns="91424" anchor="b"/>
          <a:lstStyle/>
          <a:p>
            <a:pPr marL="186592" indent="-122840" defTabSz="365760">
              <a:spcBef>
                <a:spcPts val="0"/>
              </a:spcBef>
              <a:buClr>
                <a:srgbClr val="8594A7"/>
              </a:buClr>
              <a:buSzPts val="400"/>
              <a:buFontTx/>
              <a:buAutoNum type="arabicPeriod"/>
              <a:defRPr sz="48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/>
          </a:p>
        </p:txBody>
      </p:sp>
      <p:sp>
        <p:nvSpPr>
          <p:cNvPr id="149" name="Shape 23"/>
          <p:cNvSpPr txBox="1">
            <a:spLocks noGrp="1"/>
          </p:cNvSpPr>
          <p:nvPr>
            <p:ph type="body" sz="quarter" idx="14"/>
          </p:nvPr>
        </p:nvSpPr>
        <p:spPr>
          <a:xfrm>
            <a:off x="2457965" y="613991"/>
            <a:ext cx="9039153" cy="328161"/>
          </a:xfrm>
          <a:prstGeom prst="rect">
            <a:avLst/>
          </a:prstGeom>
        </p:spPr>
        <p:txBody>
          <a:bodyPr lIns="91424" tIns="91424" rIns="91424" bIns="91424"/>
          <a:lstStyle/>
          <a:p>
            <a:pPr marL="233240" indent="0">
              <a:lnSpc>
                <a:spcPct val="95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/>
          </a:p>
        </p:txBody>
      </p:sp>
      <p:sp>
        <p:nvSpPr>
          <p:cNvPr id="150" name="Shape 24"/>
          <p:cNvSpPr txBox="1">
            <a:spLocks noGrp="1"/>
          </p:cNvSpPr>
          <p:nvPr>
            <p:ph type="body" sz="quarter" idx="15"/>
          </p:nvPr>
        </p:nvSpPr>
        <p:spPr>
          <a:xfrm>
            <a:off x="2963096" y="2258465"/>
            <a:ext cx="4906821" cy="1753324"/>
          </a:xfrm>
          <a:prstGeom prst="rect">
            <a:avLst/>
          </a:prstGeom>
        </p:spPr>
        <p:txBody>
          <a:bodyPr lIns="91424" tIns="91424" rIns="91424" bIns="91424"/>
          <a:lstStyle/>
          <a:p>
            <a:pPr marL="233240" indent="0">
              <a:spcBef>
                <a:spcPts val="200"/>
              </a:spcBef>
              <a:buSzTx/>
              <a:buFontTx/>
              <a:buNone/>
              <a:defRPr sz="2100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/>
          </a:p>
        </p:txBody>
      </p:sp>
      <p:sp>
        <p:nvSpPr>
          <p:cNvPr id="15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93130659"/>
      </p:ext>
    </p:extLst>
  </p:cSld>
  <p:clrMapOvr>
    <a:masterClrMapping/>
  </p:clrMapOvr>
  <p:transition spd="med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9" y="2141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6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Объект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41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82A6487C-F9B9-4A47-9978-D3C12F73CC8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err="1">
              <a:solidFill>
                <a:schemeClr val="tx1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2043161" y="1718549"/>
            <a:ext cx="8442609" cy="1231107"/>
          </a:xfrm>
        </p:spPr>
        <p:txBody>
          <a:bodyPr>
            <a:spAutoFit/>
          </a:bodyPr>
          <a:lstStyle>
            <a:lvl1pPr>
              <a:buClr>
                <a:schemeClr val="tx1">
                  <a:lumMod val="75000"/>
                  <a:lumOff val="25000"/>
                </a:schemeClr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Title Placeholder 2">
            <a:extLst>
              <a:ext uri="{FF2B5EF4-FFF2-40B4-BE49-F238E27FC236}">
                <a16:creationId xmlns:a16="http://schemas.microsoft.com/office/drawing/2014/main" xmlns="" id="{A96858CA-0CA3-42DD-AA24-FFCB2769DFE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231769"/>
            <a:ext cx="1119218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420012333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text">
  <p:cSld name="2_Title and tex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 txBox="1">
            <a:spLocks noGrp="1"/>
          </p:cNvSpPr>
          <p:nvPr>
            <p:ph type="body" idx="1"/>
          </p:nvPr>
        </p:nvSpPr>
        <p:spPr>
          <a:xfrm>
            <a:off x="241347" y="6650146"/>
            <a:ext cx="11263872" cy="188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466481" marR="0" lvl="0" indent="-23324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24" b="0" i="0" u="none" strike="noStrike" cap="none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330424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500"/>
              <a:buFont typeface="Arial"/>
              <a:buChar char="•"/>
              <a:defRPr sz="1224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26536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440"/>
              <a:buFont typeface="Arial"/>
              <a:buChar char="–"/>
              <a:defRPr sz="1224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26536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440"/>
              <a:buFont typeface="Arial"/>
              <a:buChar char="◦"/>
              <a:defRPr sz="1224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02434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068"/>
              <a:buFont typeface="Arial"/>
              <a:buChar char="-"/>
              <a:defRPr sz="1224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2457965" y="121419"/>
            <a:ext cx="9039152" cy="4773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65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2"/>
          </p:nvPr>
        </p:nvSpPr>
        <p:spPr>
          <a:xfrm>
            <a:off x="241346" y="6456628"/>
            <a:ext cx="11261130" cy="188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466481" marR="0" lvl="0" indent="-307100" algn="l" rtl="0">
              <a:spcBef>
                <a:spcPts val="0"/>
              </a:spcBef>
              <a:spcAft>
                <a:spcPts val="0"/>
              </a:spcAft>
              <a:buClr>
                <a:srgbClr val="8594A7"/>
              </a:buClr>
              <a:buSzPts val="1140"/>
              <a:buFont typeface="Trebuchet MS"/>
              <a:buAutoNum type="arabicPeriod"/>
              <a:defRPr sz="1224" b="0" i="0" u="none" strike="noStrike" cap="none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3"/>
          </p:nvPr>
        </p:nvSpPr>
        <p:spPr>
          <a:xfrm>
            <a:off x="2457965" y="613991"/>
            <a:ext cx="9039152" cy="328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66481" marR="0" lvl="0" indent="-233241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45" b="0" i="0" u="none" strike="noStrike" cap="none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  <p:sp>
        <p:nvSpPr>
          <p:cNvPr id="24" name="Shape 24"/>
          <p:cNvSpPr txBox="1">
            <a:spLocks noGrp="1"/>
          </p:cNvSpPr>
          <p:nvPr>
            <p:ph type="body" idx="4"/>
          </p:nvPr>
        </p:nvSpPr>
        <p:spPr>
          <a:xfrm>
            <a:off x="2963097" y="2258465"/>
            <a:ext cx="4906819" cy="1753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9644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сновной №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72CC20C-CF57-C947-95A7-B9B5F59AD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Freeform 6">
            <a:extLst>
              <a:ext uri="{FF2B5EF4-FFF2-40B4-BE49-F238E27FC236}">
                <a16:creationId xmlns:a16="http://schemas.microsoft.com/office/drawing/2014/main" xmlns="" id="{84B0BA85-0E1F-46AB-85DB-7F26CA0CB723}"/>
              </a:ext>
            </a:extLst>
          </p:cNvPr>
          <p:cNvSpPr>
            <a:spLocks/>
          </p:cNvSpPr>
          <p:nvPr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</p:spPr>
        <p:txBody>
          <a:bodyPr lIns="102615" tIns="102615" rIns="102615" bIns="10261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67" kern="0">
              <a:solidFill>
                <a:srgbClr val="787E7F"/>
              </a:solidFill>
              <a:latin typeface="Arial Narrow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89207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FDF9371D-03B5-41FA-8B5E-3280D0DB5F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" t="26535" r="71169" b="37972"/>
          <a:stretch/>
        </p:blipFill>
        <p:spPr>
          <a:xfrm flipH="1" flipV="1">
            <a:off x="-1" y="1"/>
            <a:ext cx="1336975" cy="1081087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090615" y="359569"/>
            <a:ext cx="10706100" cy="418576"/>
          </a:xfr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ru-RU" dirty="0"/>
            </a:lvl1pPr>
          </a:lstStyle>
          <a:p>
            <a:pPr lvl="0" defTabSz="1065187" eaLnBrk="0" fontAlgn="base" hangingPunct="0">
              <a:lnSpc>
                <a:spcPct val="85000"/>
              </a:lnSpc>
              <a:spcAft>
                <a:spcPct val="0"/>
              </a:spcAft>
            </a:pPr>
            <a:r>
              <a:rPr lang="ru-RU" dirty="0"/>
              <a:t>Образец заголовка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xmlns="" id="{EA06902F-CF0E-4149-9622-5100738D954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90614" y="799159"/>
            <a:ext cx="10706100" cy="400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2600" b="1">
                <a:solidFill>
                  <a:srgbClr val="7DC4DD"/>
                </a:solidFill>
              </a:defRPr>
            </a:lvl1pPr>
            <a:lvl2pPr>
              <a:defRPr>
                <a:solidFill>
                  <a:srgbClr val="7DC4DD"/>
                </a:solidFill>
              </a:defRPr>
            </a:lvl2pPr>
            <a:lvl3pPr>
              <a:defRPr>
                <a:solidFill>
                  <a:srgbClr val="7DC4DD"/>
                </a:solidFill>
              </a:defRPr>
            </a:lvl3pPr>
            <a:lvl4pPr>
              <a:defRPr>
                <a:solidFill>
                  <a:srgbClr val="7DC4DD"/>
                </a:solidFill>
              </a:defRPr>
            </a:lvl4pPr>
            <a:lvl5pPr>
              <a:defRPr>
                <a:solidFill>
                  <a:srgbClr val="7DC4DD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1" name="Текст 20">
            <a:extLst>
              <a:ext uri="{FF2B5EF4-FFF2-40B4-BE49-F238E27FC236}">
                <a16:creationId xmlns:a16="http://schemas.microsoft.com/office/drawing/2014/main" xmlns="" id="{EFC9C7CD-9857-408B-AFDA-8025142A47C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16425" y="2527302"/>
            <a:ext cx="4006851" cy="14896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buClr>
                <a:srgbClr val="7DC4DD"/>
              </a:buClr>
              <a:defRPr>
                <a:solidFill>
                  <a:schemeClr val="bg1"/>
                </a:solidFill>
              </a:defRPr>
            </a:lvl1pPr>
            <a:lvl2pPr>
              <a:buClr>
                <a:srgbClr val="7DC4DD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7DC4DD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7DC4DD"/>
              </a:buClr>
              <a:defRPr>
                <a:solidFill>
                  <a:schemeClr val="bg1"/>
                </a:solidFill>
              </a:defRPr>
            </a:lvl4pPr>
            <a:lvl5pPr>
              <a:buClr>
                <a:srgbClr val="7DC4DD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5443938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679069"/>
          </a:xfrm>
          <a:custGeom>
            <a:avLst/>
            <a:gdLst>
              <a:gd name="connsiteX0" fmla="*/ 0 w 24387176"/>
              <a:gd name="connsiteY0" fmla="*/ 0 h 11358138"/>
              <a:gd name="connsiteX1" fmla="*/ 24387176 w 24387176"/>
              <a:gd name="connsiteY1" fmla="*/ 0 h 11358138"/>
              <a:gd name="connsiteX2" fmla="*/ 24387176 w 24387176"/>
              <a:gd name="connsiteY2" fmla="*/ 9678253 h 11358138"/>
              <a:gd name="connsiteX3" fmla="*/ 24305494 w 24387176"/>
              <a:gd name="connsiteY3" fmla="*/ 9696408 h 11358138"/>
              <a:gd name="connsiteX4" fmla="*/ 18220628 w 24387176"/>
              <a:gd name="connsiteY4" fmla="*/ 8822906 h 11358138"/>
              <a:gd name="connsiteX5" fmla="*/ 7456833 w 24387176"/>
              <a:gd name="connsiteY5" fmla="*/ 11357101 h 11358138"/>
              <a:gd name="connsiteX6" fmla="*/ 198891 w 24387176"/>
              <a:gd name="connsiteY6" fmla="*/ 9484178 h 11358138"/>
              <a:gd name="connsiteX7" fmla="*/ 0 w 24387176"/>
              <a:gd name="connsiteY7" fmla="*/ 9320863 h 11358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387176" h="11358138">
                <a:moveTo>
                  <a:pt x="0" y="0"/>
                </a:moveTo>
                <a:lnTo>
                  <a:pt x="24387176" y="0"/>
                </a:lnTo>
                <a:lnTo>
                  <a:pt x="24387176" y="9678253"/>
                </a:lnTo>
                <a:lnTo>
                  <a:pt x="24305494" y="9696408"/>
                </a:lnTo>
                <a:cubicBezTo>
                  <a:pt x="22863110" y="9951142"/>
                  <a:pt x="20761898" y="8548586"/>
                  <a:pt x="18220628" y="8822906"/>
                </a:cubicBezTo>
                <a:cubicBezTo>
                  <a:pt x="15316319" y="9136415"/>
                  <a:pt x="10622399" y="11413707"/>
                  <a:pt x="7456833" y="11357101"/>
                </a:cubicBezTo>
                <a:cubicBezTo>
                  <a:pt x="4884810" y="11311109"/>
                  <a:pt x="1918981" y="10759203"/>
                  <a:pt x="198891" y="9484178"/>
                </a:cubicBezTo>
                <a:lnTo>
                  <a:pt x="0" y="932086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11427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EC3D8482-23B0-4629-AA98-CF4F3502A3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090614" y="359568"/>
            <a:ext cx="10706100" cy="418576"/>
          </a:xfrm>
          <a:noFill/>
          <a:effectLst/>
        </p:spPr>
        <p:txBody>
          <a:bodyPr/>
          <a:lstStyle>
            <a:lvl1pPr algn="l">
              <a:lnSpc>
                <a:spcPct val="85000"/>
              </a:lnSpc>
              <a:defRPr sz="3200">
                <a:solidFill>
                  <a:schemeClr val="tx1"/>
                </a:solidFill>
                <a:effectLst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B22C4EE7-951D-4E6D-88AE-5419967752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" t="26535" r="71169" b="37972"/>
          <a:stretch/>
        </p:blipFill>
        <p:spPr>
          <a:xfrm flipH="1" flipV="1">
            <a:off x="-1" y="1"/>
            <a:ext cx="1336975" cy="1081087"/>
          </a:xfrm>
          <a:prstGeom prst="rect">
            <a:avLst/>
          </a:prstGeom>
        </p:spPr>
      </p:pic>
      <p:sp>
        <p:nvSpPr>
          <p:cNvPr id="6" name="Текст 18">
            <a:extLst>
              <a:ext uri="{FF2B5EF4-FFF2-40B4-BE49-F238E27FC236}">
                <a16:creationId xmlns:a16="http://schemas.microsoft.com/office/drawing/2014/main" xmlns="" id="{28C74574-9F48-4110-A2BF-D0EF7A14E2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90614" y="799159"/>
            <a:ext cx="10706100" cy="400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2600" b="1">
                <a:solidFill>
                  <a:schemeClr val="accent3"/>
                </a:solidFill>
              </a:defRPr>
            </a:lvl1pPr>
            <a:lvl2pPr>
              <a:defRPr>
                <a:solidFill>
                  <a:srgbClr val="7DC4DD"/>
                </a:solidFill>
              </a:defRPr>
            </a:lvl2pPr>
            <a:lvl3pPr>
              <a:defRPr>
                <a:solidFill>
                  <a:srgbClr val="7DC4DD"/>
                </a:solidFill>
              </a:defRPr>
            </a:lvl3pPr>
            <a:lvl4pPr>
              <a:defRPr>
                <a:solidFill>
                  <a:srgbClr val="7DC4DD"/>
                </a:solidFill>
              </a:defRPr>
            </a:lvl4pPr>
            <a:lvl5pPr>
              <a:defRPr>
                <a:solidFill>
                  <a:srgbClr val="7DC4DD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Text Box 13">
            <a:extLst>
              <a:ext uri="{FF2B5EF4-FFF2-40B4-BE49-F238E27FC236}">
                <a16:creationId xmlns:a16="http://schemas.microsoft.com/office/drawing/2014/main" xmlns="" id="{B33D3A8D-4379-4FA7-9A91-E95C0EC9380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75988" y="6629908"/>
            <a:ext cx="35980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defTabSz="1019175">
              <a:spcBef>
                <a:spcPct val="0"/>
              </a:spcBef>
              <a:defRPr>
                <a:solidFill>
                  <a:schemeClr val="tx1"/>
                </a:solidFill>
                <a:latin typeface="Book Antiqua" pitchFamily="18" charset="0"/>
              </a:defRPr>
            </a:lvl1pPr>
            <a:lvl2pPr marL="509588" algn="l" defTabSz="1019175">
              <a:spcBef>
                <a:spcPct val="0"/>
              </a:spcBef>
              <a:defRPr>
                <a:solidFill>
                  <a:schemeClr val="tx1"/>
                </a:solidFill>
                <a:latin typeface="Book Antiqua" pitchFamily="18" charset="0"/>
              </a:defRPr>
            </a:lvl2pPr>
            <a:lvl3pPr marL="1019175" algn="l" defTabSz="1019175">
              <a:spcBef>
                <a:spcPct val="0"/>
              </a:spcBef>
              <a:defRPr>
                <a:solidFill>
                  <a:schemeClr val="tx1"/>
                </a:solidFill>
                <a:latin typeface="Book Antiqua" pitchFamily="18" charset="0"/>
              </a:defRPr>
            </a:lvl3pPr>
            <a:lvl4pPr marL="1528763" algn="l" defTabSz="1019175">
              <a:spcBef>
                <a:spcPct val="0"/>
              </a:spcBef>
              <a:defRPr>
                <a:solidFill>
                  <a:schemeClr val="tx1"/>
                </a:solidFill>
                <a:latin typeface="Book Antiqua" pitchFamily="18" charset="0"/>
              </a:defRPr>
            </a:lvl4pPr>
            <a:lvl5pPr marL="2038350" algn="l" defTabSz="1019175">
              <a:spcBef>
                <a:spcPct val="0"/>
              </a:spcBef>
              <a:defRPr>
                <a:solidFill>
                  <a:schemeClr val="tx1"/>
                </a:solidFill>
                <a:latin typeface="Book Antiqua" pitchFamily="18" charset="0"/>
              </a:defRPr>
            </a:lvl5pPr>
            <a:lvl6pPr marL="2495550" defTabSz="1019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Book Antiqua" pitchFamily="18" charset="0"/>
              </a:defRPr>
            </a:lvl6pPr>
            <a:lvl7pPr marL="2952750" defTabSz="1019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Book Antiqua" pitchFamily="18" charset="0"/>
              </a:defRPr>
            </a:lvl7pPr>
            <a:lvl8pPr marL="3409950" defTabSz="1019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Book Antiqua" pitchFamily="18" charset="0"/>
              </a:defRPr>
            </a:lvl8pPr>
            <a:lvl9pPr marL="3867150" defTabSz="1019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fld id="{2C5EEF94-3A51-415D-837D-192745C7A8DE}" type="slidenum">
              <a:rPr lang="en-US" sz="900" b="0" i="0" smtClean="0">
                <a:solidFill>
                  <a:schemeClr val="bg1">
                    <a:lumMod val="50000"/>
                  </a:schemeClr>
                </a:solidFill>
                <a:latin typeface="+mj-lt"/>
                <a:cs typeface="Calibri" pitchFamily="34" charset="0"/>
              </a:rPr>
              <a:pPr algn="r">
                <a:spcBef>
                  <a:spcPct val="50000"/>
                </a:spcBef>
                <a:defRPr/>
              </a:pPr>
              <a:t>‹#›</a:t>
            </a:fld>
            <a:endParaRPr lang="en-US" sz="900" b="0" i="0" dirty="0">
              <a:solidFill>
                <a:schemeClr val="bg1">
                  <a:lumMod val="50000"/>
                </a:scheme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8" name="Текст 20">
            <a:extLst>
              <a:ext uri="{FF2B5EF4-FFF2-40B4-BE49-F238E27FC236}">
                <a16:creationId xmlns:a16="http://schemas.microsoft.com/office/drawing/2014/main" xmlns="" id="{5359F40D-22E1-4EF8-834D-876455016A7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16425" y="2527302"/>
            <a:ext cx="4006851" cy="14896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buClr>
                <a:srgbClr val="7DC4DD"/>
              </a:buClr>
              <a:defRPr>
                <a:solidFill>
                  <a:sysClr val="windowText" lastClr="000000"/>
                </a:solidFill>
              </a:defRPr>
            </a:lvl1pPr>
            <a:lvl2pPr>
              <a:buClr>
                <a:srgbClr val="7DC4DD"/>
              </a:buClr>
              <a:defRPr>
                <a:solidFill>
                  <a:sysClr val="windowText" lastClr="000000"/>
                </a:solidFill>
              </a:defRPr>
            </a:lvl2pPr>
            <a:lvl3pPr>
              <a:buClr>
                <a:srgbClr val="7DC4DD"/>
              </a:buClr>
              <a:defRPr>
                <a:solidFill>
                  <a:sysClr val="windowText" lastClr="000000"/>
                </a:solidFill>
              </a:defRPr>
            </a:lvl3pPr>
            <a:lvl4pPr>
              <a:buClr>
                <a:srgbClr val="7DC4DD"/>
              </a:buClr>
              <a:defRPr>
                <a:solidFill>
                  <a:sysClr val="windowText" lastClr="000000"/>
                </a:solidFill>
              </a:defRPr>
            </a:lvl4pPr>
            <a:lvl5pPr>
              <a:buClr>
                <a:srgbClr val="7DC4DD"/>
              </a:buCl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24911413"/>
      </p:ext>
    </p:extLst>
  </p:cSld>
  <p:clrMapOvr>
    <a:masterClrMapping/>
  </p:clrMapOvr>
  <p:transition spd="slow">
    <p:push dir="u"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 preserve="1" userDrawn="1">
  <p:cSld name="4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87D1F1BA-61CE-42F4-A663-3F0653B00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042" name="think-cell Slide" r:id="rId4" imgW="668" imgH="668" progId="TCLayout.ActiveDocument.1">
                  <p:embed/>
                </p:oleObj>
              </mc:Choice>
              <mc:Fallback>
                <p:oleObj name="think-cell Slide" r:id="rId4" imgW="668" imgH="66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87D1F1BA-61CE-42F4-A663-3F0653B00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ackground">
            <a:extLst>
              <a:ext uri="{FF2B5EF4-FFF2-40B4-BE49-F238E27FC236}">
                <a16:creationId xmlns:a16="http://schemas.microsoft.com/office/drawing/2014/main" xmlns="" id="{E71DB63C-BDD9-4FAF-ACB7-C99F223CA9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0" cy="6857799"/>
          </a:xfrm>
          <a:prstGeom prst="rect">
            <a:avLst/>
          </a:prstGeom>
        </p:spPr>
      </p:pic>
      <p:sp>
        <p:nvSpPr>
          <p:cNvPr id="6" name="TitleRectangle">
            <a:extLst>
              <a:ext uri="{FF2B5EF4-FFF2-40B4-BE49-F238E27FC236}">
                <a16:creationId xmlns:a16="http://schemas.microsoft.com/office/drawing/2014/main" xmlns="" id="{04449F8A-F3B0-4D59-8F40-FD315A0F00D3}"/>
              </a:ext>
            </a:extLst>
          </p:cNvPr>
          <p:cNvSpPr>
            <a:spLocks/>
          </p:cNvSpPr>
          <p:nvPr userDrawn="1"/>
        </p:nvSpPr>
        <p:spPr bwMode="white">
          <a:xfrm>
            <a:off x="5175162" y="1"/>
            <a:ext cx="7016838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43288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text" userDrawn="1">
  <p:cSld name="1_Title and tex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65BA525-D33E-4670-81AA-EC3410F277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0066" name="think-cell Slide" r:id="rId4" imgW="668" imgH="668" progId="TCLayout.ActiveDocument.1">
                  <p:embed/>
                </p:oleObj>
              </mc:Choice>
              <mc:Fallback>
                <p:oleObj name="think-cell Slide" r:id="rId4" imgW="668" imgH="66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65BA525-D33E-4670-81AA-EC3410F277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hape 20"/>
          <p:cNvSpPr txBox="1">
            <a:spLocks noGrp="1"/>
          </p:cNvSpPr>
          <p:nvPr>
            <p:ph type="body" idx="1"/>
          </p:nvPr>
        </p:nvSpPr>
        <p:spPr>
          <a:xfrm>
            <a:off x="241346" y="6467705"/>
            <a:ext cx="11498738" cy="329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18" b="0" i="0" u="none" strike="noStrike" cap="none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330424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500"/>
              <a:buFont typeface="Arial"/>
              <a:buChar char="•"/>
              <a:defRPr sz="1224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26536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440"/>
              <a:buFont typeface="Arial"/>
              <a:buChar char="–"/>
              <a:defRPr sz="1224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26536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440"/>
              <a:buFont typeface="Arial"/>
              <a:buChar char="◦"/>
              <a:defRPr sz="1224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02434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068"/>
              <a:buFont typeface="Arial"/>
              <a:buChar char="-"/>
              <a:defRPr sz="1224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  <p:sp>
        <p:nvSpPr>
          <p:cNvPr id="23" name="Shape 23"/>
          <p:cNvSpPr txBox="1">
            <a:spLocks noGrp="1"/>
          </p:cNvSpPr>
          <p:nvPr>
            <p:ph type="body" idx="3"/>
          </p:nvPr>
        </p:nvSpPr>
        <p:spPr>
          <a:xfrm>
            <a:off x="241346" y="119322"/>
            <a:ext cx="11114567" cy="5165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45" b="0" i="0" u="none" strike="noStrike" cap="none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body" idx="4"/>
          </p:nvPr>
        </p:nvSpPr>
        <p:spPr>
          <a:xfrm>
            <a:off x="241346" y="922124"/>
            <a:ext cx="5667571" cy="3768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24" b="0" i="0" u="none" strike="noStrike" cap="none">
                <a:solidFill>
                  <a:srgbClr val="3E49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  <p:sp>
        <p:nvSpPr>
          <p:cNvPr id="8" name="Shape 24">
            <a:extLst>
              <a:ext uri="{FF2B5EF4-FFF2-40B4-BE49-F238E27FC236}">
                <a16:creationId xmlns:a16="http://schemas.microsoft.com/office/drawing/2014/main" xmlns="" id="{72915929-EA94-456B-AB60-CB2B46B14D05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6273937" y="922124"/>
            <a:ext cx="5667571" cy="3768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24" b="0" i="0" u="none" strike="noStrike" cap="none">
                <a:solidFill>
                  <a:srgbClr val="3E49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  <p:sp>
        <p:nvSpPr>
          <p:cNvPr id="10" name="Shape 24">
            <a:extLst>
              <a:ext uri="{FF2B5EF4-FFF2-40B4-BE49-F238E27FC236}">
                <a16:creationId xmlns:a16="http://schemas.microsoft.com/office/drawing/2014/main" xmlns="" id="{EE42F681-A99E-45CE-928E-2F88800EAB20}"/>
              </a:ext>
            </a:extLst>
          </p:cNvPr>
          <p:cNvSpPr txBox="1">
            <a:spLocks noGrp="1"/>
          </p:cNvSpPr>
          <p:nvPr>
            <p:ph type="body" idx="11"/>
          </p:nvPr>
        </p:nvSpPr>
        <p:spPr>
          <a:xfrm>
            <a:off x="241346" y="3578726"/>
            <a:ext cx="5667571" cy="3768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24" b="0" i="0" u="none" strike="noStrike" cap="none">
                <a:solidFill>
                  <a:srgbClr val="3E49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  <p:sp>
        <p:nvSpPr>
          <p:cNvPr id="11" name="Shape 24">
            <a:extLst>
              <a:ext uri="{FF2B5EF4-FFF2-40B4-BE49-F238E27FC236}">
                <a16:creationId xmlns:a16="http://schemas.microsoft.com/office/drawing/2014/main" xmlns="" id="{4EFFF9E5-B6EB-4D2F-8524-15EDCBCDDBAB}"/>
              </a:ext>
            </a:extLst>
          </p:cNvPr>
          <p:cNvSpPr txBox="1">
            <a:spLocks noGrp="1"/>
          </p:cNvSpPr>
          <p:nvPr>
            <p:ph type="body" idx="12"/>
          </p:nvPr>
        </p:nvSpPr>
        <p:spPr>
          <a:xfrm>
            <a:off x="6273937" y="3578726"/>
            <a:ext cx="5667571" cy="3768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24" b="0" i="0" u="none" strike="noStrike" cap="none">
                <a:solidFill>
                  <a:srgbClr val="3E49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5563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text" preserve="1" userDrawn="1">
  <p:cSld name="2_Title and tex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65BA525-D33E-4670-81AA-EC3410F277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1090" name="think-cell Slide" r:id="rId4" imgW="668" imgH="668" progId="TCLayout.ActiveDocument.1">
                  <p:embed/>
                </p:oleObj>
              </mc:Choice>
              <mc:Fallback>
                <p:oleObj name="think-cell Slide" r:id="rId4" imgW="668" imgH="66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65BA525-D33E-4670-81AA-EC3410F277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hape 20"/>
          <p:cNvSpPr txBox="1">
            <a:spLocks noGrp="1"/>
          </p:cNvSpPr>
          <p:nvPr>
            <p:ph type="body" idx="1"/>
          </p:nvPr>
        </p:nvSpPr>
        <p:spPr>
          <a:xfrm>
            <a:off x="241346" y="6467705"/>
            <a:ext cx="11498738" cy="329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18" b="0" i="0" u="none" strike="noStrike" cap="none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330424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500"/>
              <a:buFont typeface="Arial"/>
              <a:buChar char="•"/>
              <a:defRPr sz="1224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26536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440"/>
              <a:buFont typeface="Arial"/>
              <a:buChar char="–"/>
              <a:defRPr sz="1224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26536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440"/>
              <a:buFont typeface="Arial"/>
              <a:buChar char="◦"/>
              <a:defRPr sz="1224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02434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068"/>
              <a:buFont typeface="Arial"/>
              <a:buChar char="-"/>
              <a:defRPr sz="1224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  <p:sp>
        <p:nvSpPr>
          <p:cNvPr id="23" name="Shape 23"/>
          <p:cNvSpPr txBox="1">
            <a:spLocks noGrp="1"/>
          </p:cNvSpPr>
          <p:nvPr>
            <p:ph type="body" idx="3"/>
          </p:nvPr>
        </p:nvSpPr>
        <p:spPr>
          <a:xfrm>
            <a:off x="241346" y="119322"/>
            <a:ext cx="11114567" cy="5165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45" b="0" i="0" u="none" strike="noStrike" cap="none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83179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3DEB5C-F375-4C84-BDAA-0133669295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422" y="364443"/>
            <a:ext cx="10517158" cy="1326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29A7EA1-F1E8-4F0B-866F-249C29C72C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7422" y="1825453"/>
            <a:ext cx="10517158" cy="435225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5172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с картинкой на фоне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ru-RU"/>
              <a:t>Фоновая картинка</a:t>
            </a:r>
            <a:endParaRPr lang="en-US"/>
          </a:p>
        </p:txBody>
      </p:sp>
      <p:sp>
        <p:nvSpPr>
          <p:cNvPr id="33" name="Title 9"/>
          <p:cNvSpPr>
            <a:spLocks noGrp="1"/>
          </p:cNvSpPr>
          <p:nvPr>
            <p:ph type="title" hasCustomPrompt="1"/>
          </p:nvPr>
        </p:nvSpPr>
        <p:spPr>
          <a:xfrm>
            <a:off x="587375" y="2097088"/>
            <a:ext cx="10188575" cy="701731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>
              <a:lnSpc>
                <a:spcPct val="90000"/>
              </a:lnSpc>
              <a:defRPr sz="4400" b="0" i="0" cap="none" baseline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</a:lstStyle>
          <a:p>
            <a:r>
              <a:rPr lang="ru-RU"/>
              <a:t>Название презентации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4344988"/>
            <a:ext cx="7561262" cy="424732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US" sz="2400" b="0" i="0" kern="1200" cap="none" baseline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2pPr>
          </a:lstStyle>
          <a:p>
            <a:pPr lvl="0"/>
            <a:r>
              <a:rPr lang="ru-RU" dirty="0"/>
              <a:t>Дополнительный текст, пояснение, подзаголовок</a:t>
            </a:r>
          </a:p>
        </p:txBody>
      </p:sp>
      <p:sp>
        <p:nvSpPr>
          <p:cNvPr id="6" name="Shape"/>
          <p:cNvSpPr/>
          <p:nvPr userDrawn="1"/>
        </p:nvSpPr>
        <p:spPr>
          <a:xfrm>
            <a:off x="695326" y="692150"/>
            <a:ext cx="1990513" cy="3746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9483511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с картинкой под градиентом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rot="10800000">
            <a:off x="-5249" y="0"/>
            <a:ext cx="12197249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75000"/>
                </a:schemeClr>
              </a:gs>
              <a:gs pos="100000">
                <a:schemeClr val="tx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itle 9"/>
          <p:cNvSpPr>
            <a:spLocks noGrp="1"/>
          </p:cNvSpPr>
          <p:nvPr>
            <p:ph type="title" hasCustomPrompt="1"/>
          </p:nvPr>
        </p:nvSpPr>
        <p:spPr>
          <a:xfrm>
            <a:off x="587375" y="2097088"/>
            <a:ext cx="10188574" cy="701731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>
              <a:lnSpc>
                <a:spcPct val="90000"/>
              </a:lnSpc>
              <a:defRPr sz="4400" b="0" i="0" cap="none" baseline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</a:lstStyle>
          <a:p>
            <a:r>
              <a:rPr lang="ru-RU"/>
              <a:t>Название презентации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4344988"/>
            <a:ext cx="7561261" cy="424732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US" sz="2400" b="0" i="0" kern="1200" cap="none" baseline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2pPr>
          </a:lstStyle>
          <a:p>
            <a:pPr lvl="0"/>
            <a:r>
              <a:rPr lang="ru-RU" dirty="0"/>
              <a:t>Дополнительный текст, пояснение, подзаголовок</a:t>
            </a:r>
          </a:p>
        </p:txBody>
      </p:sp>
      <p:sp>
        <p:nvSpPr>
          <p:cNvPr id="7" name="Shape"/>
          <p:cNvSpPr/>
          <p:nvPr userDrawn="1"/>
        </p:nvSpPr>
        <p:spPr>
          <a:xfrm>
            <a:off x="695326" y="692150"/>
            <a:ext cx="1990513" cy="3746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8340780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одержание квадра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547486" y="1268413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1367821"/>
            <a:ext cx="576263" cy="576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018967" y="1268413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1366666"/>
            <a:ext cx="576263" cy="576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546856" y="2030099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7018967" y="2030099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42"/>
          </p:nvPr>
        </p:nvSpPr>
        <p:spPr>
          <a:xfrm>
            <a:off x="1547486" y="2928537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3" hasCustomPrompt="1"/>
          </p:nvPr>
        </p:nvSpPr>
        <p:spPr>
          <a:xfrm>
            <a:off x="695325" y="3026790"/>
            <a:ext cx="576263" cy="576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44"/>
          </p:nvPr>
        </p:nvSpPr>
        <p:spPr>
          <a:xfrm>
            <a:off x="7018967" y="2928537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45" hasCustomPrompt="1"/>
          </p:nvPr>
        </p:nvSpPr>
        <p:spPr>
          <a:xfrm>
            <a:off x="6096000" y="3026790"/>
            <a:ext cx="576263" cy="576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546856" y="3690223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7018967" y="3690223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48"/>
          </p:nvPr>
        </p:nvSpPr>
        <p:spPr>
          <a:xfrm>
            <a:off x="1547486" y="4587506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49" hasCustomPrompt="1"/>
          </p:nvPr>
        </p:nvSpPr>
        <p:spPr>
          <a:xfrm>
            <a:off x="695325" y="4685759"/>
            <a:ext cx="576263" cy="576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50"/>
          </p:nvPr>
        </p:nvSpPr>
        <p:spPr>
          <a:xfrm>
            <a:off x="7018967" y="4587506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5"/>
          <p:cNvSpPr>
            <a:spLocks noGrp="1"/>
          </p:cNvSpPr>
          <p:nvPr>
            <p:ph type="body" sz="quarter" idx="51" hasCustomPrompt="1"/>
          </p:nvPr>
        </p:nvSpPr>
        <p:spPr>
          <a:xfrm>
            <a:off x="6096000" y="4685759"/>
            <a:ext cx="576263" cy="576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1546856" y="5349192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7018967" y="5349192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36" name="Rectangle 35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5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97005" y="0"/>
            <a:ext cx="9000000" cy="861565"/>
          </a:xfrm>
        </p:spPr>
        <p:txBody>
          <a:bodyPr anchor="ctr"/>
          <a:lstStyle>
            <a:lvl1pPr>
              <a:defRPr sz="22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846127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Рубри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8" y="0"/>
            <a:ext cx="12192000" cy="864000"/>
          </a:xfrm>
          <a:prstGeom prst="rect">
            <a:avLst/>
          </a:prstGeom>
          <a:solidFill>
            <a:srgbClr val="E0E7E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8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864001"/>
            <a:ext cx="12192000" cy="59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1389050" y="1268413"/>
            <a:ext cx="10107625" cy="874494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1389050" y="2609394"/>
            <a:ext cx="10107625" cy="874494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>
                    <a:alpha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1389050" y="3950375"/>
            <a:ext cx="10107625" cy="874494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>
                    <a:alpha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1389050" y="5291356"/>
            <a:ext cx="10107625" cy="874494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>
                    <a:alpha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"/>
          <p:cNvSpPr/>
          <p:nvPr userDrawn="1"/>
        </p:nvSpPr>
        <p:spPr>
          <a:xfrm>
            <a:off x="11496674" y="6322605"/>
            <a:ext cx="695326" cy="3231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defRPr sz="2100" cap="none" spc="0">
                <a:solidFill>
                  <a:srgbClr val="000000"/>
                </a:solidFill>
                <a:latin typeface="Fedra Sans Pro Light Light"/>
                <a:ea typeface="Fedra Sans Pro Light Light"/>
                <a:cs typeface="Fedra Sans Pro Light Light"/>
                <a:sym typeface="Fedra Sans Pro Light Light"/>
              </a:defRPr>
            </a:pPr>
            <a:fld id="{86CB4B4D-7CA3-9044-876B-883B54F8677D}" type="slidenum">
              <a:rPr sz="1400">
                <a:solidFill>
                  <a:schemeClr val="bg1"/>
                </a:solidFill>
                <a:latin typeface="+mj-lt"/>
              </a:rPr>
              <a:pPr algn="ctr">
                <a:lnSpc>
                  <a:spcPct val="100000"/>
                </a:lnSpc>
                <a:defRPr sz="2100" cap="none" spc="0">
                  <a:solidFill>
                    <a:srgbClr val="000000"/>
                  </a:solidFill>
                  <a:latin typeface="Fedra Sans Pro Light Light"/>
                  <a:ea typeface="Fedra Sans Pro Light Light"/>
                  <a:cs typeface="Fedra Sans Pro Light Light"/>
                  <a:sym typeface="Fedra Sans Pro Light Light"/>
                </a:defRPr>
              </a:pPr>
              <a:t>‹#›</a:t>
            </a:fld>
            <a:r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val="121352675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сновной №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72CC20C-CF57-C947-95A7-B9B5F59AD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Freeform 6">
            <a:extLst>
              <a:ext uri="{FF2B5EF4-FFF2-40B4-BE49-F238E27FC236}">
                <a16:creationId xmlns:a16="http://schemas.microsoft.com/office/drawing/2014/main" xmlns="" id="{84B0BA85-0E1F-46AB-85DB-7F26CA0CB723}"/>
              </a:ext>
            </a:extLst>
          </p:cNvPr>
          <p:cNvSpPr>
            <a:spLocks/>
          </p:cNvSpPr>
          <p:nvPr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</p:spPr>
        <p:txBody>
          <a:bodyPr lIns="102615" tIns="102615" rIns="102615" bIns="10261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67" kern="0">
              <a:solidFill>
                <a:srgbClr val="787E7F"/>
              </a:solidFill>
              <a:latin typeface="Arial Narrow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137307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70692" y="0"/>
            <a:ext cx="7407045" cy="6858000"/>
          </a:xfrm>
          <a:custGeom>
            <a:avLst/>
            <a:gdLst>
              <a:gd name="connsiteX0" fmla="*/ 4819957 w 14816019"/>
              <a:gd name="connsiteY0" fmla="*/ 0 h 13716000"/>
              <a:gd name="connsiteX1" fmla="*/ 14503393 w 14816019"/>
              <a:gd name="connsiteY1" fmla="*/ 0 h 13716000"/>
              <a:gd name="connsiteX2" fmla="*/ 12946823 w 14816019"/>
              <a:gd name="connsiteY2" fmla="*/ 2145174 h 13716000"/>
              <a:gd name="connsiteX3" fmla="*/ 9654084 w 14816019"/>
              <a:gd name="connsiteY3" fmla="*/ 6651523 h 13716000"/>
              <a:gd name="connsiteX4" fmla="*/ 14816019 w 14816019"/>
              <a:gd name="connsiteY4" fmla="*/ 13716000 h 13716000"/>
              <a:gd name="connsiteX5" fmla="*/ 13674488 w 14816019"/>
              <a:gd name="connsiteY5" fmla="*/ 13716000 h 13716000"/>
              <a:gd name="connsiteX6" fmla="*/ 6274113 w 14816019"/>
              <a:gd name="connsiteY6" fmla="*/ 13716000 h 13716000"/>
              <a:gd name="connsiteX7" fmla="*/ 5132582 w 14816019"/>
              <a:gd name="connsiteY7" fmla="*/ 13716000 h 13716000"/>
              <a:gd name="connsiteX8" fmla="*/ 0 w 14816019"/>
              <a:gd name="connsiteY8" fmla="*/ 6642579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16019" h="13716000">
                <a:moveTo>
                  <a:pt x="4819957" y="0"/>
                </a:moveTo>
                <a:lnTo>
                  <a:pt x="14503393" y="0"/>
                </a:lnTo>
                <a:lnTo>
                  <a:pt x="12946823" y="2145174"/>
                </a:lnTo>
                <a:lnTo>
                  <a:pt x="9654084" y="6651523"/>
                </a:lnTo>
                <a:lnTo>
                  <a:pt x="14816019" y="13716000"/>
                </a:lnTo>
                <a:lnTo>
                  <a:pt x="13674488" y="13716000"/>
                </a:lnTo>
                <a:lnTo>
                  <a:pt x="6274113" y="13716000"/>
                </a:lnTo>
                <a:lnTo>
                  <a:pt x="5132582" y="13716000"/>
                </a:lnTo>
                <a:lnTo>
                  <a:pt x="0" y="664257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9380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1238883" y="0"/>
            <a:ext cx="3892837" cy="703500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23125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8633424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517405" y="1515269"/>
            <a:ext cx="4741245" cy="38274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1989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1401425" y="274638"/>
            <a:ext cx="4676166" cy="63222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6167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423938" y="502841"/>
            <a:ext cx="5850763" cy="585231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8986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03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>
            <a:extLst>
              <a:ext uri="{FF2B5EF4-FFF2-40B4-BE49-F238E27FC236}">
                <a16:creationId xmlns:a16="http://schemas.microsoft.com/office/drawing/2014/main" xmlns="" id="{BF95DE3E-B4EE-4CE0-8C98-1BEECDB6BEE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231769"/>
            <a:ext cx="1119218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3887133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111899" y="943769"/>
            <a:ext cx="4984101" cy="42552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7572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10314" y="609600"/>
            <a:ext cx="5694415" cy="4267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6064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81995" y="-1"/>
            <a:ext cx="4394447" cy="68580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9988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7227706" y="670288"/>
            <a:ext cx="3194961" cy="5517425"/>
          </a:xfrm>
          <a:custGeom>
            <a:avLst/>
            <a:gdLst>
              <a:gd name="connsiteX0" fmla="*/ 0 w 6390755"/>
              <a:gd name="connsiteY0" fmla="*/ 0 h 11034849"/>
              <a:gd name="connsiteX1" fmla="*/ 6390755 w 6390755"/>
              <a:gd name="connsiteY1" fmla="*/ 0 h 11034849"/>
              <a:gd name="connsiteX2" fmla="*/ 6390755 w 6390755"/>
              <a:gd name="connsiteY2" fmla="*/ 6118361 h 11034849"/>
              <a:gd name="connsiteX3" fmla="*/ 6390755 w 6390755"/>
              <a:gd name="connsiteY3" fmla="*/ 8961029 h 11034849"/>
              <a:gd name="connsiteX4" fmla="*/ 6390755 w 6390755"/>
              <a:gd name="connsiteY4" fmla="*/ 9939862 h 11034849"/>
              <a:gd name="connsiteX5" fmla="*/ 3362451 w 6390755"/>
              <a:gd name="connsiteY5" fmla="*/ 11034849 h 11034849"/>
              <a:gd name="connsiteX6" fmla="*/ 3028031 w 6390755"/>
              <a:gd name="connsiteY6" fmla="*/ 11034849 h 11034849"/>
              <a:gd name="connsiteX7" fmla="*/ 0 w 6390755"/>
              <a:gd name="connsiteY7" fmla="*/ 9939961 h 11034849"/>
              <a:gd name="connsiteX8" fmla="*/ 0 w 6390755"/>
              <a:gd name="connsiteY8" fmla="*/ 8961029 h 11034849"/>
              <a:gd name="connsiteX9" fmla="*/ 0 w 6390755"/>
              <a:gd name="connsiteY9" fmla="*/ 6118361 h 11034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390755" h="11034849">
                <a:moveTo>
                  <a:pt x="0" y="0"/>
                </a:moveTo>
                <a:lnTo>
                  <a:pt x="6390755" y="0"/>
                </a:lnTo>
                <a:lnTo>
                  <a:pt x="6390755" y="6118361"/>
                </a:lnTo>
                <a:lnTo>
                  <a:pt x="6390755" y="8961029"/>
                </a:lnTo>
                <a:lnTo>
                  <a:pt x="6390755" y="9939862"/>
                </a:lnTo>
                <a:lnTo>
                  <a:pt x="3362451" y="11034849"/>
                </a:lnTo>
                <a:lnTo>
                  <a:pt x="3028031" y="11034849"/>
                </a:lnTo>
                <a:lnTo>
                  <a:pt x="0" y="9939961"/>
                </a:lnTo>
                <a:lnTo>
                  <a:pt x="0" y="8961029"/>
                </a:lnTo>
                <a:lnTo>
                  <a:pt x="0" y="611836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5809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5649547" y="0"/>
            <a:ext cx="6542453" cy="5715359"/>
          </a:xfrm>
          <a:custGeom>
            <a:avLst/>
            <a:gdLst>
              <a:gd name="connsiteX0" fmla="*/ 5462178 w 13086610"/>
              <a:gd name="connsiteY0" fmla="*/ 0 h 11430717"/>
              <a:gd name="connsiteX1" fmla="*/ 13086610 w 13086610"/>
              <a:gd name="connsiteY1" fmla="*/ 0 h 11430717"/>
              <a:gd name="connsiteX2" fmla="*/ 13086610 w 13086610"/>
              <a:gd name="connsiteY2" fmla="*/ 4319206 h 11430717"/>
              <a:gd name="connsiteX3" fmla="*/ 7207006 w 13086610"/>
              <a:gd name="connsiteY3" fmla="*/ 10194993 h 11430717"/>
              <a:gd name="connsiteX4" fmla="*/ 1235724 w 13086610"/>
              <a:gd name="connsiteY4" fmla="*/ 10193055 h 11430717"/>
              <a:gd name="connsiteX5" fmla="*/ 1237663 w 13086610"/>
              <a:gd name="connsiteY5" fmla="*/ 4221773 h 11430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086610" h="11430717">
                <a:moveTo>
                  <a:pt x="5462178" y="0"/>
                </a:moveTo>
                <a:lnTo>
                  <a:pt x="13086610" y="0"/>
                </a:lnTo>
                <a:lnTo>
                  <a:pt x="13086610" y="4319206"/>
                </a:lnTo>
                <a:lnTo>
                  <a:pt x="7207006" y="10194993"/>
                </a:lnTo>
                <a:cubicBezTo>
                  <a:pt x="5557546" y="11843382"/>
                  <a:pt x="2884113" y="11842514"/>
                  <a:pt x="1235724" y="10193055"/>
                </a:cubicBezTo>
                <a:cubicBezTo>
                  <a:pt x="-412665" y="8543595"/>
                  <a:pt x="-411796" y="5870162"/>
                  <a:pt x="1237663" y="4221773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0098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6763" y="724357"/>
            <a:ext cx="2654365" cy="309224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532831" y="724357"/>
            <a:ext cx="4807349" cy="309224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7314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2108994"/>
            <a:ext cx="12192000" cy="2882106"/>
          </a:xfrm>
          <a:custGeom>
            <a:avLst/>
            <a:gdLst>
              <a:gd name="connsiteX0" fmla="*/ 0 w 24387176"/>
              <a:gd name="connsiteY0" fmla="*/ 0 h 5764212"/>
              <a:gd name="connsiteX1" fmla="*/ 24387176 w 24387176"/>
              <a:gd name="connsiteY1" fmla="*/ 0 h 5764212"/>
              <a:gd name="connsiteX2" fmla="*/ 24387176 w 24387176"/>
              <a:gd name="connsiteY2" fmla="*/ 2225746 h 5764212"/>
              <a:gd name="connsiteX3" fmla="*/ 24387176 w 24387176"/>
              <a:gd name="connsiteY3" fmla="*/ 3094772 h 5764212"/>
              <a:gd name="connsiteX4" fmla="*/ 21656604 w 24387176"/>
              <a:gd name="connsiteY4" fmla="*/ 5764212 h 5764212"/>
              <a:gd name="connsiteX5" fmla="*/ 2730571 w 24387176"/>
              <a:gd name="connsiteY5" fmla="*/ 5764212 h 5764212"/>
              <a:gd name="connsiteX6" fmla="*/ 14097 w 24387176"/>
              <a:gd name="connsiteY6" fmla="*/ 3367707 h 5764212"/>
              <a:gd name="connsiteX7" fmla="*/ 0 w 24387176"/>
              <a:gd name="connsiteY7" fmla="*/ 3094793 h 5764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387176" h="5764212">
                <a:moveTo>
                  <a:pt x="0" y="0"/>
                </a:moveTo>
                <a:lnTo>
                  <a:pt x="24387176" y="0"/>
                </a:lnTo>
                <a:lnTo>
                  <a:pt x="24387176" y="2225746"/>
                </a:lnTo>
                <a:lnTo>
                  <a:pt x="24387176" y="3094772"/>
                </a:lnTo>
                <a:cubicBezTo>
                  <a:pt x="24387176" y="4569063"/>
                  <a:pt x="23164656" y="5764212"/>
                  <a:pt x="21656604" y="5764212"/>
                </a:cubicBezTo>
                <a:lnTo>
                  <a:pt x="2730571" y="5764212"/>
                </a:lnTo>
                <a:cubicBezTo>
                  <a:pt x="1316772" y="5764212"/>
                  <a:pt x="153930" y="4713788"/>
                  <a:pt x="14097" y="3367707"/>
                </a:cubicBezTo>
                <a:lnTo>
                  <a:pt x="0" y="309479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3732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92648" y="1123406"/>
            <a:ext cx="4336304" cy="21031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631002" y="3644537"/>
            <a:ext cx="3395900" cy="21031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5032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35299" y="840351"/>
            <a:ext cx="6370601" cy="209470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778138" y="3429000"/>
            <a:ext cx="6384887" cy="252934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3295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10314" y="666274"/>
            <a:ext cx="3542839" cy="267811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324581" y="666274"/>
            <a:ext cx="3542839" cy="267811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0942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34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>
            <a:extLst>
              <a:ext uri="{FF2B5EF4-FFF2-40B4-BE49-F238E27FC236}">
                <a16:creationId xmlns:a16="http://schemas.microsoft.com/office/drawing/2014/main" xmlns="" id="{9A66AB28-BE0D-475E-9AB7-A79AEA7474A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231769"/>
            <a:ext cx="1119218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41187280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66367" y="718457"/>
            <a:ext cx="1946022" cy="26059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772336" y="3520441"/>
            <a:ext cx="3928037" cy="264522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91777" y="1651820"/>
            <a:ext cx="2600360" cy="16725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6856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493544" y="757646"/>
            <a:ext cx="3890284" cy="310896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9680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260974" y="400050"/>
            <a:ext cx="1852345" cy="6057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3370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35658" y="825654"/>
            <a:ext cx="4231724" cy="3775869"/>
          </a:xfrm>
          <a:prstGeom prst="rect">
            <a:avLst/>
          </a:prstGeom>
          <a:solidFill>
            <a:schemeClr val="bg1"/>
          </a:solidFill>
          <a:effectLst>
            <a:outerShdw blurRad="812800" dist="685800" dir="2700000" sx="96000" sy="96000" algn="tl" rotWithShape="0">
              <a:schemeClr val="accent3">
                <a:alpha val="42000"/>
              </a:schemeClr>
            </a:outerShdw>
          </a:effec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7034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61006" y="733896"/>
            <a:ext cx="5126061" cy="541970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9153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3043296" y="3052915"/>
            <a:ext cx="8301216" cy="3405034"/>
          </a:xfrm>
          <a:custGeom>
            <a:avLst/>
            <a:gdLst>
              <a:gd name="connsiteX0" fmla="*/ 3285846 w 16604594"/>
              <a:gd name="connsiteY0" fmla="*/ 0 h 6810068"/>
              <a:gd name="connsiteX1" fmla="*/ 3405034 w 16604594"/>
              <a:gd name="connsiteY1" fmla="*/ 0 h 6810068"/>
              <a:gd name="connsiteX2" fmla="*/ 8725894 w 16604594"/>
              <a:gd name="connsiteY2" fmla="*/ 0 h 6810068"/>
              <a:gd name="connsiteX3" fmla="*/ 8725894 w 16604594"/>
              <a:gd name="connsiteY3" fmla="*/ 1 h 6810068"/>
              <a:gd name="connsiteX4" fmla="*/ 16604594 w 16604594"/>
              <a:gd name="connsiteY4" fmla="*/ 1 h 6810068"/>
              <a:gd name="connsiteX5" fmla="*/ 16604594 w 16604594"/>
              <a:gd name="connsiteY5" fmla="*/ 6810068 h 6810068"/>
              <a:gd name="connsiteX6" fmla="*/ 8725894 w 16604594"/>
              <a:gd name="connsiteY6" fmla="*/ 6810068 h 6810068"/>
              <a:gd name="connsiteX7" fmla="*/ 3405034 w 16604594"/>
              <a:gd name="connsiteY7" fmla="*/ 6810068 h 6810068"/>
              <a:gd name="connsiteX8" fmla="*/ 3285846 w 16604594"/>
              <a:gd name="connsiteY8" fmla="*/ 6810068 h 6810068"/>
              <a:gd name="connsiteX9" fmla="*/ 3233596 w 16604594"/>
              <a:gd name="connsiteY9" fmla="*/ 6810068 h 6810068"/>
              <a:gd name="connsiteX10" fmla="*/ 3233596 w 16604594"/>
              <a:gd name="connsiteY10" fmla="*/ 6805733 h 6810068"/>
              <a:gd name="connsiteX11" fmla="*/ 3229812 w 16604594"/>
              <a:gd name="connsiteY11" fmla="*/ 6805637 h 6810068"/>
              <a:gd name="connsiteX12" fmla="*/ 0 w 16604594"/>
              <a:gd name="connsiteY12" fmla="*/ 3405034 h 6810068"/>
              <a:gd name="connsiteX13" fmla="*/ 3229812 w 16604594"/>
              <a:gd name="connsiteY13" fmla="*/ 4431 h 6810068"/>
              <a:gd name="connsiteX14" fmla="*/ 3233596 w 16604594"/>
              <a:gd name="connsiteY14" fmla="*/ 4336 h 6810068"/>
              <a:gd name="connsiteX15" fmla="*/ 3233596 w 16604594"/>
              <a:gd name="connsiteY15" fmla="*/ 1 h 6810068"/>
              <a:gd name="connsiteX16" fmla="*/ 3285846 w 16604594"/>
              <a:gd name="connsiteY16" fmla="*/ 1 h 6810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6604594" h="6810068">
                <a:moveTo>
                  <a:pt x="3285846" y="0"/>
                </a:moveTo>
                <a:lnTo>
                  <a:pt x="3405034" y="0"/>
                </a:lnTo>
                <a:lnTo>
                  <a:pt x="8725894" y="0"/>
                </a:lnTo>
                <a:lnTo>
                  <a:pt x="8725894" y="1"/>
                </a:lnTo>
                <a:lnTo>
                  <a:pt x="16604594" y="1"/>
                </a:lnTo>
                <a:lnTo>
                  <a:pt x="16604594" y="6810068"/>
                </a:lnTo>
                <a:lnTo>
                  <a:pt x="8725894" y="6810068"/>
                </a:lnTo>
                <a:lnTo>
                  <a:pt x="3405034" y="6810068"/>
                </a:lnTo>
                <a:lnTo>
                  <a:pt x="3285846" y="6810068"/>
                </a:lnTo>
                <a:lnTo>
                  <a:pt x="3233596" y="6810068"/>
                </a:lnTo>
                <a:lnTo>
                  <a:pt x="3233596" y="6805733"/>
                </a:lnTo>
                <a:lnTo>
                  <a:pt x="3229812" y="6805637"/>
                </a:lnTo>
                <a:cubicBezTo>
                  <a:pt x="1430695" y="6714440"/>
                  <a:pt x="0" y="5226815"/>
                  <a:pt x="0" y="3405034"/>
                </a:cubicBezTo>
                <a:cubicBezTo>
                  <a:pt x="0" y="1583253"/>
                  <a:pt x="1430695" y="95628"/>
                  <a:pt x="3229812" y="4431"/>
                </a:cubicBezTo>
                <a:lnTo>
                  <a:pt x="3233596" y="4336"/>
                </a:lnTo>
                <a:lnTo>
                  <a:pt x="3233596" y="1"/>
                </a:lnTo>
                <a:lnTo>
                  <a:pt x="3285846" y="1"/>
                </a:lnTo>
                <a:close/>
              </a:path>
            </a:pathLst>
          </a:custGeom>
          <a:solidFill>
            <a:schemeClr val="bg1"/>
          </a:solidFill>
          <a:effectLst>
            <a:outerShdw blurRad="660400" dist="381000" dir="3000000" sx="97000" sy="97000" algn="t" rotWithShape="0">
              <a:schemeClr val="accent1">
                <a:alpha val="32000"/>
              </a:schemeClr>
            </a:outerShdw>
          </a:effectLst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30926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050784" y="400050"/>
            <a:ext cx="3872995" cy="6057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3719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3225356" y="862013"/>
            <a:ext cx="5846001" cy="51339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3466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709643" y="400050"/>
            <a:ext cx="4011295" cy="6057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2692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988142" y="840351"/>
            <a:ext cx="5824573" cy="39084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3417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3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>
            <a:extLst>
              <a:ext uri="{FF2B5EF4-FFF2-40B4-BE49-F238E27FC236}">
                <a16:creationId xmlns:a16="http://schemas.microsoft.com/office/drawing/2014/main" xmlns="" id="{BF95DE3E-B4EE-4CE0-8C98-1BEECDB6BEE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231769"/>
            <a:ext cx="1119218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51258472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696171" y="3827417"/>
            <a:ext cx="6151941" cy="22862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68411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749991" y="1051719"/>
            <a:ext cx="2912842" cy="47545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3206412" y="1696635"/>
            <a:ext cx="2889588" cy="2889964"/>
          </a:xfrm>
          <a:prstGeom prst="rect">
            <a:avLst/>
          </a:prstGeom>
          <a:solidFill>
            <a:schemeClr val="bg1"/>
          </a:solidFill>
          <a:effectLst>
            <a:outerShdw blurRad="698500" dist="330200" dir="8100000" sx="97000" sy="97000" algn="tr" rotWithShape="0">
              <a:schemeClr val="accent3">
                <a:alpha val="40000"/>
              </a:schemeClr>
            </a:outerShdw>
          </a:effec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5716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032048" y="840581"/>
            <a:ext cx="2890461" cy="51768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128806" y="840581"/>
            <a:ext cx="2890461" cy="51768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1127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414671" y="1058035"/>
            <a:ext cx="2664794" cy="476805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8352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246859" y="679042"/>
            <a:ext cx="2403162" cy="34488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100269" y="2886892"/>
            <a:ext cx="2507923" cy="357105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8058439" y="1201766"/>
            <a:ext cx="2912683" cy="445446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485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627021" y="4572729"/>
            <a:ext cx="2349281" cy="162309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55583" y="677394"/>
            <a:ext cx="2349281" cy="162309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113654" y="2300487"/>
            <a:ext cx="2349281" cy="1623093"/>
          </a:xfrm>
          <a:prstGeom prst="rect">
            <a:avLst/>
          </a:prstGeom>
          <a:solidFill>
            <a:schemeClr val="bg1"/>
          </a:solidFill>
          <a:effectLst>
            <a:outerShdw blurRad="762000" dist="114300" dir="2700000" algn="tl" rotWithShape="0">
              <a:schemeClr val="accent1">
                <a:alpha val="42000"/>
              </a:schemeClr>
            </a:outerShdw>
          </a:effec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5073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1253435"/>
            <a:ext cx="6989646" cy="37020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903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536532" y="1039425"/>
            <a:ext cx="2612367" cy="369480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8372065" y="1039425"/>
            <a:ext cx="2612367" cy="226421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372065" y="3554362"/>
            <a:ext cx="2612367" cy="221225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04444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-14746" y="1888076"/>
            <a:ext cx="7078304" cy="49699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949192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>
          <a:xfrm>
            <a:off x="4243296" y="-685800"/>
            <a:ext cx="3660106" cy="8496300"/>
          </a:xfrm>
          <a:custGeom>
            <a:avLst/>
            <a:gdLst>
              <a:gd name="connsiteX0" fmla="*/ 0 w 7321165"/>
              <a:gd name="connsiteY0" fmla="*/ 0 h 16992600"/>
              <a:gd name="connsiteX1" fmla="*/ 1295400 w 7321165"/>
              <a:gd name="connsiteY1" fmla="*/ 2552700 h 16992600"/>
              <a:gd name="connsiteX2" fmla="*/ 1981200 w 7321165"/>
              <a:gd name="connsiteY2" fmla="*/ 4724400 h 16992600"/>
              <a:gd name="connsiteX3" fmla="*/ 1790700 w 7321165"/>
              <a:gd name="connsiteY3" fmla="*/ 6210300 h 16992600"/>
              <a:gd name="connsiteX4" fmla="*/ 3390900 w 7321165"/>
              <a:gd name="connsiteY4" fmla="*/ 6781800 h 16992600"/>
              <a:gd name="connsiteX5" fmla="*/ 3619500 w 7321165"/>
              <a:gd name="connsiteY5" fmla="*/ 7810500 h 16992600"/>
              <a:gd name="connsiteX6" fmla="*/ 3429000 w 7321165"/>
              <a:gd name="connsiteY6" fmla="*/ 10058400 h 16992600"/>
              <a:gd name="connsiteX7" fmla="*/ 4991100 w 7321165"/>
              <a:gd name="connsiteY7" fmla="*/ 11315700 h 16992600"/>
              <a:gd name="connsiteX8" fmla="*/ 5600700 w 7321165"/>
              <a:gd name="connsiteY8" fmla="*/ 14211300 h 16992600"/>
              <a:gd name="connsiteX9" fmla="*/ 7315200 w 7321165"/>
              <a:gd name="connsiteY9" fmla="*/ 15659100 h 16992600"/>
              <a:gd name="connsiteX10" fmla="*/ 6057900 w 7321165"/>
              <a:gd name="connsiteY10" fmla="*/ 16992600 h 16992600"/>
              <a:gd name="connsiteX0" fmla="*/ 0 w 7321165"/>
              <a:gd name="connsiteY0" fmla="*/ 0 h 16992600"/>
              <a:gd name="connsiteX1" fmla="*/ 1295400 w 7321165"/>
              <a:gd name="connsiteY1" fmla="*/ 2552700 h 16992600"/>
              <a:gd name="connsiteX2" fmla="*/ 1981200 w 7321165"/>
              <a:gd name="connsiteY2" fmla="*/ 4724400 h 16992600"/>
              <a:gd name="connsiteX3" fmla="*/ 1790700 w 7321165"/>
              <a:gd name="connsiteY3" fmla="*/ 6210300 h 16992600"/>
              <a:gd name="connsiteX4" fmla="*/ 3100614 w 7321165"/>
              <a:gd name="connsiteY4" fmla="*/ 6839857 h 16992600"/>
              <a:gd name="connsiteX5" fmla="*/ 3619500 w 7321165"/>
              <a:gd name="connsiteY5" fmla="*/ 7810500 h 16992600"/>
              <a:gd name="connsiteX6" fmla="*/ 3429000 w 7321165"/>
              <a:gd name="connsiteY6" fmla="*/ 10058400 h 16992600"/>
              <a:gd name="connsiteX7" fmla="*/ 4991100 w 7321165"/>
              <a:gd name="connsiteY7" fmla="*/ 11315700 h 16992600"/>
              <a:gd name="connsiteX8" fmla="*/ 5600700 w 7321165"/>
              <a:gd name="connsiteY8" fmla="*/ 14211300 h 16992600"/>
              <a:gd name="connsiteX9" fmla="*/ 7315200 w 7321165"/>
              <a:gd name="connsiteY9" fmla="*/ 15659100 h 16992600"/>
              <a:gd name="connsiteX10" fmla="*/ 6057900 w 7321165"/>
              <a:gd name="connsiteY10" fmla="*/ 16992600 h 16992600"/>
              <a:gd name="connsiteX0" fmla="*/ 0 w 7321165"/>
              <a:gd name="connsiteY0" fmla="*/ 0 h 16992600"/>
              <a:gd name="connsiteX1" fmla="*/ 1295400 w 7321165"/>
              <a:gd name="connsiteY1" fmla="*/ 2552700 h 16992600"/>
              <a:gd name="connsiteX2" fmla="*/ 1981200 w 7321165"/>
              <a:gd name="connsiteY2" fmla="*/ 4724400 h 16992600"/>
              <a:gd name="connsiteX3" fmla="*/ 1790700 w 7321165"/>
              <a:gd name="connsiteY3" fmla="*/ 6210300 h 16992600"/>
              <a:gd name="connsiteX4" fmla="*/ 3100614 w 7321165"/>
              <a:gd name="connsiteY4" fmla="*/ 6839857 h 16992600"/>
              <a:gd name="connsiteX5" fmla="*/ 3503386 w 7321165"/>
              <a:gd name="connsiteY5" fmla="*/ 7897586 h 16992600"/>
              <a:gd name="connsiteX6" fmla="*/ 3429000 w 7321165"/>
              <a:gd name="connsiteY6" fmla="*/ 10058400 h 16992600"/>
              <a:gd name="connsiteX7" fmla="*/ 4991100 w 7321165"/>
              <a:gd name="connsiteY7" fmla="*/ 11315700 h 16992600"/>
              <a:gd name="connsiteX8" fmla="*/ 5600700 w 7321165"/>
              <a:gd name="connsiteY8" fmla="*/ 14211300 h 16992600"/>
              <a:gd name="connsiteX9" fmla="*/ 7315200 w 7321165"/>
              <a:gd name="connsiteY9" fmla="*/ 15659100 h 16992600"/>
              <a:gd name="connsiteX10" fmla="*/ 6057900 w 7321165"/>
              <a:gd name="connsiteY10" fmla="*/ 16992600 h 16992600"/>
              <a:gd name="connsiteX0" fmla="*/ 0 w 7321165"/>
              <a:gd name="connsiteY0" fmla="*/ 0 h 16992600"/>
              <a:gd name="connsiteX1" fmla="*/ 1295400 w 7321165"/>
              <a:gd name="connsiteY1" fmla="*/ 2552700 h 16992600"/>
              <a:gd name="connsiteX2" fmla="*/ 1981200 w 7321165"/>
              <a:gd name="connsiteY2" fmla="*/ 4724400 h 16992600"/>
              <a:gd name="connsiteX3" fmla="*/ 1790700 w 7321165"/>
              <a:gd name="connsiteY3" fmla="*/ 6210300 h 16992600"/>
              <a:gd name="connsiteX4" fmla="*/ 3100614 w 7321165"/>
              <a:gd name="connsiteY4" fmla="*/ 6839857 h 16992600"/>
              <a:gd name="connsiteX5" fmla="*/ 3503386 w 7321165"/>
              <a:gd name="connsiteY5" fmla="*/ 7897586 h 16992600"/>
              <a:gd name="connsiteX6" fmla="*/ 3429000 w 7321165"/>
              <a:gd name="connsiteY6" fmla="*/ 10058400 h 16992600"/>
              <a:gd name="connsiteX7" fmla="*/ 4991100 w 7321165"/>
              <a:gd name="connsiteY7" fmla="*/ 11315700 h 16992600"/>
              <a:gd name="connsiteX8" fmla="*/ 5600700 w 7321165"/>
              <a:gd name="connsiteY8" fmla="*/ 14211300 h 16992600"/>
              <a:gd name="connsiteX9" fmla="*/ 7315200 w 7321165"/>
              <a:gd name="connsiteY9" fmla="*/ 15659100 h 16992600"/>
              <a:gd name="connsiteX10" fmla="*/ 6057900 w 7321165"/>
              <a:gd name="connsiteY10" fmla="*/ 16992600 h 16992600"/>
              <a:gd name="connsiteX0" fmla="*/ 0 w 7321165"/>
              <a:gd name="connsiteY0" fmla="*/ 0 h 16992600"/>
              <a:gd name="connsiteX1" fmla="*/ 1295400 w 7321165"/>
              <a:gd name="connsiteY1" fmla="*/ 2552700 h 16992600"/>
              <a:gd name="connsiteX2" fmla="*/ 1981200 w 7321165"/>
              <a:gd name="connsiteY2" fmla="*/ 4724400 h 16992600"/>
              <a:gd name="connsiteX3" fmla="*/ 1790700 w 7321165"/>
              <a:gd name="connsiteY3" fmla="*/ 6210300 h 16992600"/>
              <a:gd name="connsiteX4" fmla="*/ 3100614 w 7321165"/>
              <a:gd name="connsiteY4" fmla="*/ 6839857 h 16992600"/>
              <a:gd name="connsiteX5" fmla="*/ 3503386 w 7321165"/>
              <a:gd name="connsiteY5" fmla="*/ 7897586 h 16992600"/>
              <a:gd name="connsiteX6" fmla="*/ 3429000 w 7321165"/>
              <a:gd name="connsiteY6" fmla="*/ 10058400 h 16992600"/>
              <a:gd name="connsiteX7" fmla="*/ 4991100 w 7321165"/>
              <a:gd name="connsiteY7" fmla="*/ 11315700 h 16992600"/>
              <a:gd name="connsiteX8" fmla="*/ 5600700 w 7321165"/>
              <a:gd name="connsiteY8" fmla="*/ 14211300 h 16992600"/>
              <a:gd name="connsiteX9" fmla="*/ 7315200 w 7321165"/>
              <a:gd name="connsiteY9" fmla="*/ 15659100 h 16992600"/>
              <a:gd name="connsiteX10" fmla="*/ 6057900 w 7321165"/>
              <a:gd name="connsiteY10" fmla="*/ 16992600 h 16992600"/>
              <a:gd name="connsiteX0" fmla="*/ 0 w 7321165"/>
              <a:gd name="connsiteY0" fmla="*/ 0 h 16992600"/>
              <a:gd name="connsiteX1" fmla="*/ 1295400 w 7321165"/>
              <a:gd name="connsiteY1" fmla="*/ 2552700 h 16992600"/>
              <a:gd name="connsiteX2" fmla="*/ 1981200 w 7321165"/>
              <a:gd name="connsiteY2" fmla="*/ 4724400 h 16992600"/>
              <a:gd name="connsiteX3" fmla="*/ 1790700 w 7321165"/>
              <a:gd name="connsiteY3" fmla="*/ 6210300 h 16992600"/>
              <a:gd name="connsiteX4" fmla="*/ 3100614 w 7321165"/>
              <a:gd name="connsiteY4" fmla="*/ 6839857 h 16992600"/>
              <a:gd name="connsiteX5" fmla="*/ 3503386 w 7321165"/>
              <a:gd name="connsiteY5" fmla="*/ 7897586 h 16992600"/>
              <a:gd name="connsiteX6" fmla="*/ 3429000 w 7321165"/>
              <a:gd name="connsiteY6" fmla="*/ 10058400 h 16992600"/>
              <a:gd name="connsiteX7" fmla="*/ 4991100 w 7321165"/>
              <a:gd name="connsiteY7" fmla="*/ 11315700 h 16992600"/>
              <a:gd name="connsiteX8" fmla="*/ 5600700 w 7321165"/>
              <a:gd name="connsiteY8" fmla="*/ 14211300 h 16992600"/>
              <a:gd name="connsiteX9" fmla="*/ 7315200 w 7321165"/>
              <a:gd name="connsiteY9" fmla="*/ 15659100 h 16992600"/>
              <a:gd name="connsiteX10" fmla="*/ 6057900 w 7321165"/>
              <a:gd name="connsiteY10" fmla="*/ 16992600 h 16992600"/>
              <a:gd name="connsiteX0" fmla="*/ 0 w 7321165"/>
              <a:gd name="connsiteY0" fmla="*/ 0 h 16992600"/>
              <a:gd name="connsiteX1" fmla="*/ 1295400 w 7321165"/>
              <a:gd name="connsiteY1" fmla="*/ 2552700 h 16992600"/>
              <a:gd name="connsiteX2" fmla="*/ 1981200 w 7321165"/>
              <a:gd name="connsiteY2" fmla="*/ 4724400 h 16992600"/>
              <a:gd name="connsiteX3" fmla="*/ 1790700 w 7321165"/>
              <a:gd name="connsiteY3" fmla="*/ 6210300 h 16992600"/>
              <a:gd name="connsiteX4" fmla="*/ 3100614 w 7321165"/>
              <a:gd name="connsiteY4" fmla="*/ 6839857 h 16992600"/>
              <a:gd name="connsiteX5" fmla="*/ 3503386 w 7321165"/>
              <a:gd name="connsiteY5" fmla="*/ 7897586 h 16992600"/>
              <a:gd name="connsiteX6" fmla="*/ 3429000 w 7321165"/>
              <a:gd name="connsiteY6" fmla="*/ 10058400 h 16992600"/>
              <a:gd name="connsiteX7" fmla="*/ 4857750 w 7321165"/>
              <a:gd name="connsiteY7" fmla="*/ 11315700 h 16992600"/>
              <a:gd name="connsiteX8" fmla="*/ 5600700 w 7321165"/>
              <a:gd name="connsiteY8" fmla="*/ 14211300 h 16992600"/>
              <a:gd name="connsiteX9" fmla="*/ 7315200 w 7321165"/>
              <a:gd name="connsiteY9" fmla="*/ 15659100 h 16992600"/>
              <a:gd name="connsiteX10" fmla="*/ 6057900 w 7321165"/>
              <a:gd name="connsiteY10" fmla="*/ 16992600 h 16992600"/>
              <a:gd name="connsiteX0" fmla="*/ 0 w 7321165"/>
              <a:gd name="connsiteY0" fmla="*/ 0 h 16992600"/>
              <a:gd name="connsiteX1" fmla="*/ 1295400 w 7321165"/>
              <a:gd name="connsiteY1" fmla="*/ 2552700 h 16992600"/>
              <a:gd name="connsiteX2" fmla="*/ 1981200 w 7321165"/>
              <a:gd name="connsiteY2" fmla="*/ 4724400 h 16992600"/>
              <a:gd name="connsiteX3" fmla="*/ 1790700 w 7321165"/>
              <a:gd name="connsiteY3" fmla="*/ 6210300 h 16992600"/>
              <a:gd name="connsiteX4" fmla="*/ 3100614 w 7321165"/>
              <a:gd name="connsiteY4" fmla="*/ 6839857 h 16992600"/>
              <a:gd name="connsiteX5" fmla="*/ 3503386 w 7321165"/>
              <a:gd name="connsiteY5" fmla="*/ 7897586 h 16992600"/>
              <a:gd name="connsiteX6" fmla="*/ 3429000 w 7321165"/>
              <a:gd name="connsiteY6" fmla="*/ 10058400 h 16992600"/>
              <a:gd name="connsiteX7" fmla="*/ 4857750 w 7321165"/>
              <a:gd name="connsiteY7" fmla="*/ 11315700 h 16992600"/>
              <a:gd name="connsiteX8" fmla="*/ 5600700 w 7321165"/>
              <a:gd name="connsiteY8" fmla="*/ 14211300 h 16992600"/>
              <a:gd name="connsiteX9" fmla="*/ 7315200 w 7321165"/>
              <a:gd name="connsiteY9" fmla="*/ 15659100 h 16992600"/>
              <a:gd name="connsiteX10" fmla="*/ 6057900 w 7321165"/>
              <a:gd name="connsiteY10" fmla="*/ 16992600 h 16992600"/>
              <a:gd name="connsiteX0" fmla="*/ 0 w 7321165"/>
              <a:gd name="connsiteY0" fmla="*/ 0 h 16992600"/>
              <a:gd name="connsiteX1" fmla="*/ 1295400 w 7321165"/>
              <a:gd name="connsiteY1" fmla="*/ 2552700 h 16992600"/>
              <a:gd name="connsiteX2" fmla="*/ 1981200 w 7321165"/>
              <a:gd name="connsiteY2" fmla="*/ 4724400 h 16992600"/>
              <a:gd name="connsiteX3" fmla="*/ 1790700 w 7321165"/>
              <a:gd name="connsiteY3" fmla="*/ 6210300 h 16992600"/>
              <a:gd name="connsiteX4" fmla="*/ 3100614 w 7321165"/>
              <a:gd name="connsiteY4" fmla="*/ 6839857 h 16992600"/>
              <a:gd name="connsiteX5" fmla="*/ 3503386 w 7321165"/>
              <a:gd name="connsiteY5" fmla="*/ 7897586 h 16992600"/>
              <a:gd name="connsiteX6" fmla="*/ 3429000 w 7321165"/>
              <a:gd name="connsiteY6" fmla="*/ 10058400 h 16992600"/>
              <a:gd name="connsiteX7" fmla="*/ 4857750 w 7321165"/>
              <a:gd name="connsiteY7" fmla="*/ 11315700 h 16992600"/>
              <a:gd name="connsiteX8" fmla="*/ 5600700 w 7321165"/>
              <a:gd name="connsiteY8" fmla="*/ 14211300 h 16992600"/>
              <a:gd name="connsiteX9" fmla="*/ 7315200 w 7321165"/>
              <a:gd name="connsiteY9" fmla="*/ 15659100 h 16992600"/>
              <a:gd name="connsiteX10" fmla="*/ 6057900 w 7321165"/>
              <a:gd name="connsiteY10" fmla="*/ 16992600 h 16992600"/>
              <a:gd name="connsiteX0" fmla="*/ 0 w 7321165"/>
              <a:gd name="connsiteY0" fmla="*/ 0 h 16992600"/>
              <a:gd name="connsiteX1" fmla="*/ 1295400 w 7321165"/>
              <a:gd name="connsiteY1" fmla="*/ 2552700 h 16992600"/>
              <a:gd name="connsiteX2" fmla="*/ 1981200 w 7321165"/>
              <a:gd name="connsiteY2" fmla="*/ 4724400 h 16992600"/>
              <a:gd name="connsiteX3" fmla="*/ 1790700 w 7321165"/>
              <a:gd name="connsiteY3" fmla="*/ 6210300 h 16992600"/>
              <a:gd name="connsiteX4" fmla="*/ 3100614 w 7321165"/>
              <a:gd name="connsiteY4" fmla="*/ 6839857 h 16992600"/>
              <a:gd name="connsiteX5" fmla="*/ 3503386 w 7321165"/>
              <a:gd name="connsiteY5" fmla="*/ 7897586 h 16992600"/>
              <a:gd name="connsiteX6" fmla="*/ 3429000 w 7321165"/>
              <a:gd name="connsiteY6" fmla="*/ 10058400 h 16992600"/>
              <a:gd name="connsiteX7" fmla="*/ 4857750 w 7321165"/>
              <a:gd name="connsiteY7" fmla="*/ 11315700 h 16992600"/>
              <a:gd name="connsiteX8" fmla="*/ 5600700 w 7321165"/>
              <a:gd name="connsiteY8" fmla="*/ 14211300 h 16992600"/>
              <a:gd name="connsiteX9" fmla="*/ 7315200 w 7321165"/>
              <a:gd name="connsiteY9" fmla="*/ 15659100 h 16992600"/>
              <a:gd name="connsiteX10" fmla="*/ 6057900 w 7321165"/>
              <a:gd name="connsiteY10" fmla="*/ 16992600 h 16992600"/>
              <a:gd name="connsiteX0" fmla="*/ 0 w 7321165"/>
              <a:gd name="connsiteY0" fmla="*/ 0 h 16992600"/>
              <a:gd name="connsiteX1" fmla="*/ 1295400 w 7321165"/>
              <a:gd name="connsiteY1" fmla="*/ 2552700 h 16992600"/>
              <a:gd name="connsiteX2" fmla="*/ 1828800 w 7321165"/>
              <a:gd name="connsiteY2" fmla="*/ 4686300 h 16992600"/>
              <a:gd name="connsiteX3" fmla="*/ 1790700 w 7321165"/>
              <a:gd name="connsiteY3" fmla="*/ 6210300 h 16992600"/>
              <a:gd name="connsiteX4" fmla="*/ 3100614 w 7321165"/>
              <a:gd name="connsiteY4" fmla="*/ 6839857 h 16992600"/>
              <a:gd name="connsiteX5" fmla="*/ 3503386 w 7321165"/>
              <a:gd name="connsiteY5" fmla="*/ 7897586 h 16992600"/>
              <a:gd name="connsiteX6" fmla="*/ 3429000 w 7321165"/>
              <a:gd name="connsiteY6" fmla="*/ 10058400 h 16992600"/>
              <a:gd name="connsiteX7" fmla="*/ 4857750 w 7321165"/>
              <a:gd name="connsiteY7" fmla="*/ 11315700 h 16992600"/>
              <a:gd name="connsiteX8" fmla="*/ 5600700 w 7321165"/>
              <a:gd name="connsiteY8" fmla="*/ 14211300 h 16992600"/>
              <a:gd name="connsiteX9" fmla="*/ 7315200 w 7321165"/>
              <a:gd name="connsiteY9" fmla="*/ 15659100 h 16992600"/>
              <a:gd name="connsiteX10" fmla="*/ 6057900 w 7321165"/>
              <a:gd name="connsiteY10" fmla="*/ 16992600 h 16992600"/>
              <a:gd name="connsiteX0" fmla="*/ 0 w 7321165"/>
              <a:gd name="connsiteY0" fmla="*/ 0 h 16992600"/>
              <a:gd name="connsiteX1" fmla="*/ 1295400 w 7321165"/>
              <a:gd name="connsiteY1" fmla="*/ 2552700 h 16992600"/>
              <a:gd name="connsiteX2" fmla="*/ 1828800 w 7321165"/>
              <a:gd name="connsiteY2" fmla="*/ 4686300 h 16992600"/>
              <a:gd name="connsiteX3" fmla="*/ 1714500 w 7321165"/>
              <a:gd name="connsiteY3" fmla="*/ 6134100 h 16992600"/>
              <a:gd name="connsiteX4" fmla="*/ 3100614 w 7321165"/>
              <a:gd name="connsiteY4" fmla="*/ 6839857 h 16992600"/>
              <a:gd name="connsiteX5" fmla="*/ 3503386 w 7321165"/>
              <a:gd name="connsiteY5" fmla="*/ 7897586 h 16992600"/>
              <a:gd name="connsiteX6" fmla="*/ 3429000 w 7321165"/>
              <a:gd name="connsiteY6" fmla="*/ 10058400 h 16992600"/>
              <a:gd name="connsiteX7" fmla="*/ 4857750 w 7321165"/>
              <a:gd name="connsiteY7" fmla="*/ 11315700 h 16992600"/>
              <a:gd name="connsiteX8" fmla="*/ 5600700 w 7321165"/>
              <a:gd name="connsiteY8" fmla="*/ 14211300 h 16992600"/>
              <a:gd name="connsiteX9" fmla="*/ 7315200 w 7321165"/>
              <a:gd name="connsiteY9" fmla="*/ 15659100 h 16992600"/>
              <a:gd name="connsiteX10" fmla="*/ 6057900 w 7321165"/>
              <a:gd name="connsiteY10" fmla="*/ 16992600 h 16992600"/>
              <a:gd name="connsiteX0" fmla="*/ 0 w 7321165"/>
              <a:gd name="connsiteY0" fmla="*/ 0 h 16992600"/>
              <a:gd name="connsiteX1" fmla="*/ 1181100 w 7321165"/>
              <a:gd name="connsiteY1" fmla="*/ 2552700 h 16992600"/>
              <a:gd name="connsiteX2" fmla="*/ 1828800 w 7321165"/>
              <a:gd name="connsiteY2" fmla="*/ 4686300 h 16992600"/>
              <a:gd name="connsiteX3" fmla="*/ 1714500 w 7321165"/>
              <a:gd name="connsiteY3" fmla="*/ 6134100 h 16992600"/>
              <a:gd name="connsiteX4" fmla="*/ 3100614 w 7321165"/>
              <a:gd name="connsiteY4" fmla="*/ 6839857 h 16992600"/>
              <a:gd name="connsiteX5" fmla="*/ 3503386 w 7321165"/>
              <a:gd name="connsiteY5" fmla="*/ 7897586 h 16992600"/>
              <a:gd name="connsiteX6" fmla="*/ 3429000 w 7321165"/>
              <a:gd name="connsiteY6" fmla="*/ 10058400 h 16992600"/>
              <a:gd name="connsiteX7" fmla="*/ 4857750 w 7321165"/>
              <a:gd name="connsiteY7" fmla="*/ 11315700 h 16992600"/>
              <a:gd name="connsiteX8" fmla="*/ 5600700 w 7321165"/>
              <a:gd name="connsiteY8" fmla="*/ 14211300 h 16992600"/>
              <a:gd name="connsiteX9" fmla="*/ 7315200 w 7321165"/>
              <a:gd name="connsiteY9" fmla="*/ 15659100 h 16992600"/>
              <a:gd name="connsiteX10" fmla="*/ 6057900 w 7321165"/>
              <a:gd name="connsiteY10" fmla="*/ 16992600 h 16992600"/>
              <a:gd name="connsiteX0" fmla="*/ 0 w 7321165"/>
              <a:gd name="connsiteY0" fmla="*/ 0 h 16992600"/>
              <a:gd name="connsiteX1" fmla="*/ 1181100 w 7321165"/>
              <a:gd name="connsiteY1" fmla="*/ 2552700 h 16992600"/>
              <a:gd name="connsiteX2" fmla="*/ 1828800 w 7321165"/>
              <a:gd name="connsiteY2" fmla="*/ 4686300 h 16992600"/>
              <a:gd name="connsiteX3" fmla="*/ 1714500 w 7321165"/>
              <a:gd name="connsiteY3" fmla="*/ 6134100 h 16992600"/>
              <a:gd name="connsiteX4" fmla="*/ 3100614 w 7321165"/>
              <a:gd name="connsiteY4" fmla="*/ 6839857 h 16992600"/>
              <a:gd name="connsiteX5" fmla="*/ 3503386 w 7321165"/>
              <a:gd name="connsiteY5" fmla="*/ 7897586 h 16992600"/>
              <a:gd name="connsiteX6" fmla="*/ 3429000 w 7321165"/>
              <a:gd name="connsiteY6" fmla="*/ 10058400 h 16992600"/>
              <a:gd name="connsiteX7" fmla="*/ 4857750 w 7321165"/>
              <a:gd name="connsiteY7" fmla="*/ 11315700 h 16992600"/>
              <a:gd name="connsiteX8" fmla="*/ 5600700 w 7321165"/>
              <a:gd name="connsiteY8" fmla="*/ 14211300 h 16992600"/>
              <a:gd name="connsiteX9" fmla="*/ 7315200 w 7321165"/>
              <a:gd name="connsiteY9" fmla="*/ 15659100 h 16992600"/>
              <a:gd name="connsiteX10" fmla="*/ 6057900 w 7321165"/>
              <a:gd name="connsiteY10" fmla="*/ 16992600 h 1699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21165" h="16992600">
                <a:moveTo>
                  <a:pt x="0" y="0"/>
                </a:moveTo>
                <a:cubicBezTo>
                  <a:pt x="482600" y="882650"/>
                  <a:pt x="666750" y="1619250"/>
                  <a:pt x="1181100" y="2552700"/>
                </a:cubicBezTo>
                <a:cubicBezTo>
                  <a:pt x="1695450" y="3486150"/>
                  <a:pt x="1739900" y="4089400"/>
                  <a:pt x="1828800" y="4686300"/>
                </a:cubicBezTo>
                <a:cubicBezTo>
                  <a:pt x="1917700" y="5283200"/>
                  <a:pt x="1502531" y="5775174"/>
                  <a:pt x="1714500" y="6134100"/>
                </a:cubicBezTo>
                <a:cubicBezTo>
                  <a:pt x="1926469" y="6493026"/>
                  <a:pt x="2802466" y="6545943"/>
                  <a:pt x="3100614" y="6839857"/>
                </a:cubicBezTo>
                <a:cubicBezTo>
                  <a:pt x="3398762" y="7133771"/>
                  <a:pt x="3463170" y="7099905"/>
                  <a:pt x="3503386" y="7897586"/>
                </a:cubicBezTo>
                <a:cubicBezTo>
                  <a:pt x="3543602" y="8695267"/>
                  <a:pt x="3203273" y="9488714"/>
                  <a:pt x="3429000" y="10058400"/>
                </a:cubicBezTo>
                <a:cubicBezTo>
                  <a:pt x="3654727" y="10628086"/>
                  <a:pt x="4249057" y="10652578"/>
                  <a:pt x="4857750" y="11315700"/>
                </a:cubicBezTo>
                <a:cubicBezTo>
                  <a:pt x="5466443" y="11978822"/>
                  <a:pt x="5060497" y="12912635"/>
                  <a:pt x="5600700" y="14211300"/>
                </a:cubicBezTo>
                <a:cubicBezTo>
                  <a:pt x="6140903" y="15509965"/>
                  <a:pt x="7239000" y="15195550"/>
                  <a:pt x="7315200" y="15659100"/>
                </a:cubicBezTo>
                <a:cubicBezTo>
                  <a:pt x="7391400" y="16122650"/>
                  <a:pt x="6724650" y="16557625"/>
                  <a:pt x="6057900" y="16992600"/>
                </a:cubicBez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981767" cy="6858000"/>
          </a:xfrm>
          <a:custGeom>
            <a:avLst/>
            <a:gdLst>
              <a:gd name="connsiteX0" fmla="*/ 0 w 13965352"/>
              <a:gd name="connsiteY0" fmla="*/ 0 h 13716000"/>
              <a:gd name="connsiteX1" fmla="*/ 8115691 w 13965352"/>
              <a:gd name="connsiteY1" fmla="*/ 0 h 13716000"/>
              <a:gd name="connsiteX2" fmla="*/ 8123280 w 13965352"/>
              <a:gd name="connsiteY2" fmla="*/ 20060 h 13716000"/>
              <a:gd name="connsiteX3" fmla="*/ 8382241 w 13965352"/>
              <a:gd name="connsiteY3" fmla="*/ 645026 h 13716000"/>
              <a:gd name="connsiteX4" fmla="*/ 9525241 w 13965352"/>
              <a:gd name="connsiteY4" fmla="*/ 3197727 h 13716000"/>
              <a:gd name="connsiteX5" fmla="*/ 9334741 w 13965352"/>
              <a:gd name="connsiteY5" fmla="*/ 5102726 h 13716000"/>
              <a:gd name="connsiteX6" fmla="*/ 11163541 w 13965352"/>
              <a:gd name="connsiteY6" fmla="*/ 6093327 h 13716000"/>
              <a:gd name="connsiteX7" fmla="*/ 11201641 w 13965352"/>
              <a:gd name="connsiteY7" fmla="*/ 9293726 h 13716000"/>
              <a:gd name="connsiteX8" fmla="*/ 12801841 w 13965352"/>
              <a:gd name="connsiteY8" fmla="*/ 10589126 h 13716000"/>
              <a:gd name="connsiteX9" fmla="*/ 13335241 w 13965352"/>
              <a:gd name="connsiteY9" fmla="*/ 12875126 h 13716000"/>
              <a:gd name="connsiteX10" fmla="*/ 13886537 w 13965352"/>
              <a:gd name="connsiteY10" fmla="*/ 13631917 h 13716000"/>
              <a:gd name="connsiteX11" fmla="*/ 13965352 w 13965352"/>
              <a:gd name="connsiteY11" fmla="*/ 13716000 h 13716000"/>
              <a:gd name="connsiteX12" fmla="*/ 0 w 13965352"/>
              <a:gd name="connsiteY12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3965352" h="13716000">
                <a:moveTo>
                  <a:pt x="0" y="0"/>
                </a:moveTo>
                <a:lnTo>
                  <a:pt x="8115691" y="0"/>
                </a:lnTo>
                <a:lnTo>
                  <a:pt x="8123280" y="20060"/>
                </a:lnTo>
                <a:cubicBezTo>
                  <a:pt x="8182811" y="198244"/>
                  <a:pt x="8215554" y="406901"/>
                  <a:pt x="8382241" y="645026"/>
                </a:cubicBezTo>
                <a:cubicBezTo>
                  <a:pt x="8826741" y="1280026"/>
                  <a:pt x="9366491" y="2454776"/>
                  <a:pt x="9525241" y="3197727"/>
                </a:cubicBezTo>
                <a:cubicBezTo>
                  <a:pt x="9683991" y="3940676"/>
                  <a:pt x="9061691" y="4620126"/>
                  <a:pt x="9334741" y="5102726"/>
                </a:cubicBezTo>
                <a:cubicBezTo>
                  <a:pt x="9607791" y="5585326"/>
                  <a:pt x="10852391" y="5394827"/>
                  <a:pt x="11163541" y="6093327"/>
                </a:cubicBezTo>
                <a:cubicBezTo>
                  <a:pt x="11474691" y="6791828"/>
                  <a:pt x="10928591" y="8544426"/>
                  <a:pt x="11201641" y="9293726"/>
                </a:cubicBezTo>
                <a:cubicBezTo>
                  <a:pt x="11474691" y="10043026"/>
                  <a:pt x="12446241" y="9992226"/>
                  <a:pt x="12801841" y="10589126"/>
                </a:cubicBezTo>
                <a:cubicBezTo>
                  <a:pt x="13157441" y="11186026"/>
                  <a:pt x="13290791" y="12208376"/>
                  <a:pt x="13335241" y="12875126"/>
                </a:cubicBezTo>
                <a:cubicBezTo>
                  <a:pt x="13351910" y="13125157"/>
                  <a:pt x="13647185" y="13386797"/>
                  <a:pt x="13886537" y="13631917"/>
                </a:cubicBezTo>
                <a:lnTo>
                  <a:pt x="13965352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556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A2E444F-9933-4181-BB2D-2D85CD3C3F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D2A665B-9D01-4953-A500-2EFFF79F48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D747542-6044-4347-8249-0E5E74E6E1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D47794-8BA6-4EA9-BCB9-33B273E3FACA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2/20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C71B3E4-4A55-490A-BCA2-7D3BE4A6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8C54CE9-39EB-4F7E-9BFF-7D933A0E3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FD2794-D9F8-4B51-96E5-D7E3CF2375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71678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790446" y="628650"/>
            <a:ext cx="5447591" cy="2952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9245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2194560"/>
            <a:ext cx="6552347" cy="466344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787400" dist="393700" sx="98000" sy="98000" algn="l" rotWithShape="0">
              <a:schemeClr val="accent1">
                <a:lumMod val="60000"/>
                <a:lumOff val="40000"/>
                <a:alpha val="40000"/>
              </a:schemeClr>
            </a:outerShdw>
          </a:effec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35511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3984844" y="0"/>
            <a:ext cx="4243685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1331053" y="1656153"/>
            <a:ext cx="1322737" cy="1322180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5312051" y="993095"/>
            <a:ext cx="1594022" cy="15933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9548896" y="1656153"/>
            <a:ext cx="1322737" cy="1322180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792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665960" y="894863"/>
            <a:ext cx="5969107" cy="5068275"/>
          </a:xfrm>
          <a:custGeom>
            <a:avLst/>
            <a:gdLst>
              <a:gd name="connsiteX0" fmla="*/ 4140378 w 11939768"/>
              <a:gd name="connsiteY0" fmla="*/ 6609804 h 10136549"/>
              <a:gd name="connsiteX1" fmla="*/ 6296976 w 11939768"/>
              <a:gd name="connsiteY1" fmla="*/ 6609804 h 10136549"/>
              <a:gd name="connsiteX2" fmla="*/ 6296976 w 11939768"/>
              <a:gd name="connsiteY2" fmla="*/ 10136549 h 10136549"/>
              <a:gd name="connsiteX3" fmla="*/ 4140378 w 11939768"/>
              <a:gd name="connsiteY3" fmla="*/ 10136549 h 10136549"/>
              <a:gd name="connsiteX4" fmla="*/ 3317965 w 11939768"/>
              <a:gd name="connsiteY4" fmla="*/ 3317965 h 10136549"/>
              <a:gd name="connsiteX5" fmla="*/ 6323102 w 11939768"/>
              <a:gd name="connsiteY5" fmla="*/ 3317965 h 10136549"/>
              <a:gd name="connsiteX6" fmla="*/ 6323102 w 11939768"/>
              <a:gd name="connsiteY6" fmla="*/ 6321515 h 10136549"/>
              <a:gd name="connsiteX7" fmla="*/ 3317965 w 11939768"/>
              <a:gd name="connsiteY7" fmla="*/ 6321515 h 10136549"/>
              <a:gd name="connsiteX8" fmla="*/ 6635932 w 11939768"/>
              <a:gd name="connsiteY8" fmla="*/ 3317964 h 10136549"/>
              <a:gd name="connsiteX9" fmla="*/ 11939768 w 11939768"/>
              <a:gd name="connsiteY9" fmla="*/ 3317964 h 10136549"/>
              <a:gd name="connsiteX10" fmla="*/ 11939768 w 11939768"/>
              <a:gd name="connsiteY10" fmla="*/ 8618999 h 10136549"/>
              <a:gd name="connsiteX11" fmla="*/ 6635932 w 11939768"/>
              <a:gd name="connsiteY11" fmla="*/ 8618999 h 10136549"/>
              <a:gd name="connsiteX12" fmla="*/ 1240945 w 11939768"/>
              <a:gd name="connsiteY12" fmla="*/ 3304902 h 10136549"/>
              <a:gd name="connsiteX13" fmla="*/ 3005135 w 11939768"/>
              <a:gd name="connsiteY13" fmla="*/ 3304902 h 10136549"/>
              <a:gd name="connsiteX14" fmla="*/ 3005135 w 11939768"/>
              <a:gd name="connsiteY14" fmla="*/ 5068161 h 10136549"/>
              <a:gd name="connsiteX15" fmla="*/ 1240945 w 11939768"/>
              <a:gd name="connsiteY15" fmla="*/ 5068161 h 10136549"/>
              <a:gd name="connsiteX16" fmla="*/ 3317965 w 11939768"/>
              <a:gd name="connsiteY16" fmla="*/ 1240292 h 10136549"/>
              <a:gd name="connsiteX17" fmla="*/ 8543425 w 11939768"/>
              <a:gd name="connsiteY17" fmla="*/ 1240292 h 10136549"/>
              <a:gd name="connsiteX18" fmla="*/ 8543425 w 11939768"/>
              <a:gd name="connsiteY18" fmla="*/ 3003550 h 10136549"/>
              <a:gd name="connsiteX19" fmla="*/ 3317965 w 11939768"/>
              <a:gd name="connsiteY19" fmla="*/ 3003550 h 10136549"/>
              <a:gd name="connsiteX20" fmla="*/ 0 w 11939768"/>
              <a:gd name="connsiteY20" fmla="*/ 0 h 10136549"/>
              <a:gd name="connsiteX21" fmla="*/ 3005136 w 11939768"/>
              <a:gd name="connsiteY21" fmla="*/ 0 h 10136549"/>
              <a:gd name="connsiteX22" fmla="*/ 3005136 w 11939768"/>
              <a:gd name="connsiteY22" fmla="*/ 3003550 h 10136549"/>
              <a:gd name="connsiteX23" fmla="*/ 0 w 11939768"/>
              <a:gd name="connsiteY23" fmla="*/ 3003550 h 10136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1939768" h="10136549">
                <a:moveTo>
                  <a:pt x="4140378" y="6609804"/>
                </a:moveTo>
                <a:lnTo>
                  <a:pt x="6296976" y="6609804"/>
                </a:lnTo>
                <a:lnTo>
                  <a:pt x="6296976" y="10136549"/>
                </a:lnTo>
                <a:lnTo>
                  <a:pt x="4140378" y="10136549"/>
                </a:lnTo>
                <a:close/>
                <a:moveTo>
                  <a:pt x="3317965" y="3317965"/>
                </a:moveTo>
                <a:lnTo>
                  <a:pt x="6323102" y="3317965"/>
                </a:lnTo>
                <a:lnTo>
                  <a:pt x="6323102" y="6321515"/>
                </a:lnTo>
                <a:lnTo>
                  <a:pt x="3317965" y="6321515"/>
                </a:lnTo>
                <a:close/>
                <a:moveTo>
                  <a:pt x="6635932" y="3317964"/>
                </a:moveTo>
                <a:lnTo>
                  <a:pt x="11939768" y="3317964"/>
                </a:lnTo>
                <a:lnTo>
                  <a:pt x="11939768" y="8618999"/>
                </a:lnTo>
                <a:lnTo>
                  <a:pt x="6635932" y="8618999"/>
                </a:lnTo>
                <a:close/>
                <a:moveTo>
                  <a:pt x="1240945" y="3304902"/>
                </a:moveTo>
                <a:lnTo>
                  <a:pt x="3005135" y="3304902"/>
                </a:lnTo>
                <a:lnTo>
                  <a:pt x="3005135" y="5068161"/>
                </a:lnTo>
                <a:lnTo>
                  <a:pt x="1240945" y="5068161"/>
                </a:lnTo>
                <a:close/>
                <a:moveTo>
                  <a:pt x="3317965" y="1240292"/>
                </a:moveTo>
                <a:lnTo>
                  <a:pt x="8543425" y="1240292"/>
                </a:lnTo>
                <a:lnTo>
                  <a:pt x="8543425" y="3003550"/>
                </a:lnTo>
                <a:lnTo>
                  <a:pt x="3317965" y="3003550"/>
                </a:lnTo>
                <a:close/>
                <a:moveTo>
                  <a:pt x="0" y="0"/>
                </a:moveTo>
                <a:lnTo>
                  <a:pt x="3005136" y="0"/>
                </a:lnTo>
                <a:lnTo>
                  <a:pt x="3005136" y="3003550"/>
                </a:lnTo>
                <a:lnTo>
                  <a:pt x="0" y="300355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62443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8074890" y="1094336"/>
            <a:ext cx="2102846" cy="2103121"/>
          </a:xfrm>
          <a:custGeom>
            <a:avLst/>
            <a:gdLst>
              <a:gd name="connsiteX0" fmla="*/ 2560319 w 5120639"/>
              <a:gd name="connsiteY0" fmla="*/ 0 h 5120640"/>
              <a:gd name="connsiteX1" fmla="*/ 5120639 w 5120639"/>
              <a:gd name="connsiteY1" fmla="*/ 2560320 h 5120640"/>
              <a:gd name="connsiteX2" fmla="*/ 2560319 w 5120639"/>
              <a:gd name="connsiteY2" fmla="*/ 5120640 h 5120640"/>
              <a:gd name="connsiteX3" fmla="*/ 0 w 5120639"/>
              <a:gd name="connsiteY3" fmla="*/ 2560320 h 5120640"/>
              <a:gd name="connsiteX4" fmla="*/ 2560319 w 5120639"/>
              <a:gd name="connsiteY4" fmla="*/ 0 h 5120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20639" h="5120640">
                <a:moveTo>
                  <a:pt x="2560319" y="0"/>
                </a:moveTo>
                <a:cubicBezTo>
                  <a:pt x="3974347" y="0"/>
                  <a:pt x="5120639" y="1146294"/>
                  <a:pt x="5120639" y="2560320"/>
                </a:cubicBezTo>
                <a:cubicBezTo>
                  <a:pt x="5120639" y="3974346"/>
                  <a:pt x="3974347" y="5120640"/>
                  <a:pt x="2560319" y="5120640"/>
                </a:cubicBezTo>
                <a:cubicBezTo>
                  <a:pt x="1146294" y="5120640"/>
                  <a:pt x="0" y="3974346"/>
                  <a:pt x="0" y="2560320"/>
                </a:cubicBezTo>
                <a:cubicBezTo>
                  <a:pt x="0" y="1146294"/>
                  <a:pt x="1146294" y="0"/>
                  <a:pt x="256031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35" name="Picture Placeholder 34"/>
          <p:cNvSpPr>
            <a:spLocks noGrp="1"/>
          </p:cNvSpPr>
          <p:nvPr>
            <p:ph type="pic" sz="quarter" idx="11"/>
          </p:nvPr>
        </p:nvSpPr>
        <p:spPr>
          <a:xfrm>
            <a:off x="5245197" y="4153410"/>
            <a:ext cx="1423802" cy="14239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6" name="Picture Placeholder 34"/>
          <p:cNvSpPr>
            <a:spLocks noGrp="1"/>
          </p:cNvSpPr>
          <p:nvPr>
            <p:ph type="pic" sz="quarter" idx="12"/>
          </p:nvPr>
        </p:nvSpPr>
        <p:spPr>
          <a:xfrm>
            <a:off x="7243554" y="4153409"/>
            <a:ext cx="1423802" cy="14239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7" name="Picture Placeholder 34"/>
          <p:cNvSpPr>
            <a:spLocks noGrp="1"/>
          </p:cNvSpPr>
          <p:nvPr>
            <p:ph type="pic" sz="quarter" idx="13"/>
          </p:nvPr>
        </p:nvSpPr>
        <p:spPr>
          <a:xfrm>
            <a:off x="9241911" y="4144312"/>
            <a:ext cx="1423802" cy="14239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64433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8"/>
          <p:cNvSpPr>
            <a:spLocks noGrp="1"/>
          </p:cNvSpPr>
          <p:nvPr>
            <p:ph type="pic" sz="quarter" idx="16"/>
          </p:nvPr>
        </p:nvSpPr>
        <p:spPr>
          <a:xfrm>
            <a:off x="3415390" y="4985689"/>
            <a:ext cx="708139" cy="708231"/>
          </a:xfrm>
          <a:custGeom>
            <a:avLst/>
            <a:gdLst>
              <a:gd name="connsiteX0" fmla="*/ 708231 w 1416462"/>
              <a:gd name="connsiteY0" fmla="*/ 0 h 1416462"/>
              <a:gd name="connsiteX1" fmla="*/ 1416462 w 1416462"/>
              <a:gd name="connsiteY1" fmla="*/ 708231 h 1416462"/>
              <a:gd name="connsiteX2" fmla="*/ 708231 w 1416462"/>
              <a:gd name="connsiteY2" fmla="*/ 1416462 h 1416462"/>
              <a:gd name="connsiteX3" fmla="*/ 0 w 1416462"/>
              <a:gd name="connsiteY3" fmla="*/ 708231 h 1416462"/>
              <a:gd name="connsiteX4" fmla="*/ 708231 w 1416462"/>
              <a:gd name="connsiteY4" fmla="*/ 0 h 1416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16462" h="1416462">
                <a:moveTo>
                  <a:pt x="708231" y="0"/>
                </a:moveTo>
                <a:cubicBezTo>
                  <a:pt x="1099376" y="0"/>
                  <a:pt x="1416462" y="317086"/>
                  <a:pt x="1416462" y="708231"/>
                </a:cubicBezTo>
                <a:cubicBezTo>
                  <a:pt x="1416462" y="1099376"/>
                  <a:pt x="1099376" y="1416462"/>
                  <a:pt x="708231" y="1416462"/>
                </a:cubicBezTo>
                <a:cubicBezTo>
                  <a:pt x="317086" y="1416462"/>
                  <a:pt x="0" y="1099376"/>
                  <a:pt x="0" y="708231"/>
                </a:cubicBezTo>
                <a:cubicBezTo>
                  <a:pt x="0" y="317086"/>
                  <a:pt x="317086" y="0"/>
                  <a:pt x="70823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1211226" y="5202434"/>
            <a:ext cx="1061415" cy="1061553"/>
          </a:xfrm>
          <a:custGeom>
            <a:avLst/>
            <a:gdLst>
              <a:gd name="connsiteX0" fmla="*/ 1061553 w 2123106"/>
              <a:gd name="connsiteY0" fmla="*/ 0 h 2123106"/>
              <a:gd name="connsiteX1" fmla="*/ 2123106 w 2123106"/>
              <a:gd name="connsiteY1" fmla="*/ 1061553 h 2123106"/>
              <a:gd name="connsiteX2" fmla="*/ 1061553 w 2123106"/>
              <a:gd name="connsiteY2" fmla="*/ 2123106 h 2123106"/>
              <a:gd name="connsiteX3" fmla="*/ 0 w 2123106"/>
              <a:gd name="connsiteY3" fmla="*/ 1061553 h 2123106"/>
              <a:gd name="connsiteX4" fmla="*/ 1061553 w 2123106"/>
              <a:gd name="connsiteY4" fmla="*/ 0 h 2123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3106" h="2123106">
                <a:moveTo>
                  <a:pt x="1061553" y="0"/>
                </a:moveTo>
                <a:cubicBezTo>
                  <a:pt x="1647833" y="0"/>
                  <a:pt x="2123106" y="475273"/>
                  <a:pt x="2123106" y="1061553"/>
                </a:cubicBezTo>
                <a:cubicBezTo>
                  <a:pt x="2123106" y="1647833"/>
                  <a:pt x="1647833" y="2123106"/>
                  <a:pt x="1061553" y="2123106"/>
                </a:cubicBezTo>
                <a:cubicBezTo>
                  <a:pt x="475273" y="2123106"/>
                  <a:pt x="0" y="1647833"/>
                  <a:pt x="0" y="1061553"/>
                </a:cubicBezTo>
                <a:cubicBezTo>
                  <a:pt x="0" y="475273"/>
                  <a:pt x="475273" y="0"/>
                  <a:pt x="106155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3082319" y="238059"/>
            <a:ext cx="692264" cy="692354"/>
          </a:xfrm>
          <a:custGeom>
            <a:avLst/>
            <a:gdLst>
              <a:gd name="connsiteX0" fmla="*/ 692354 w 1384708"/>
              <a:gd name="connsiteY0" fmla="*/ 0 h 1384708"/>
              <a:gd name="connsiteX1" fmla="*/ 1384708 w 1384708"/>
              <a:gd name="connsiteY1" fmla="*/ 692354 h 1384708"/>
              <a:gd name="connsiteX2" fmla="*/ 692354 w 1384708"/>
              <a:gd name="connsiteY2" fmla="*/ 1384708 h 1384708"/>
              <a:gd name="connsiteX3" fmla="*/ 0 w 1384708"/>
              <a:gd name="connsiteY3" fmla="*/ 692354 h 1384708"/>
              <a:gd name="connsiteX4" fmla="*/ 692354 w 1384708"/>
              <a:gd name="connsiteY4" fmla="*/ 0 h 1384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4708" h="1384708">
                <a:moveTo>
                  <a:pt x="692354" y="0"/>
                </a:moveTo>
                <a:cubicBezTo>
                  <a:pt x="1074731" y="0"/>
                  <a:pt x="1384708" y="309977"/>
                  <a:pt x="1384708" y="692354"/>
                </a:cubicBezTo>
                <a:cubicBezTo>
                  <a:pt x="1384708" y="1074731"/>
                  <a:pt x="1074731" y="1384708"/>
                  <a:pt x="692354" y="1384708"/>
                </a:cubicBezTo>
                <a:cubicBezTo>
                  <a:pt x="309977" y="1384708"/>
                  <a:pt x="0" y="1074731"/>
                  <a:pt x="0" y="692354"/>
                </a:cubicBezTo>
                <a:cubicBezTo>
                  <a:pt x="0" y="309977"/>
                  <a:pt x="309977" y="0"/>
                  <a:pt x="69235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3"/>
          </p:nvPr>
        </p:nvSpPr>
        <p:spPr>
          <a:xfrm>
            <a:off x="1599787" y="1623081"/>
            <a:ext cx="894547" cy="894663"/>
          </a:xfrm>
          <a:custGeom>
            <a:avLst/>
            <a:gdLst>
              <a:gd name="connsiteX0" fmla="*/ 894663 w 1789326"/>
              <a:gd name="connsiteY0" fmla="*/ 0 h 1789326"/>
              <a:gd name="connsiteX1" fmla="*/ 1789326 w 1789326"/>
              <a:gd name="connsiteY1" fmla="*/ 894663 h 1789326"/>
              <a:gd name="connsiteX2" fmla="*/ 894663 w 1789326"/>
              <a:gd name="connsiteY2" fmla="*/ 1789326 h 1789326"/>
              <a:gd name="connsiteX3" fmla="*/ 0 w 1789326"/>
              <a:gd name="connsiteY3" fmla="*/ 894663 h 1789326"/>
              <a:gd name="connsiteX4" fmla="*/ 894663 w 1789326"/>
              <a:gd name="connsiteY4" fmla="*/ 0 h 1789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9326" h="1789326">
                <a:moveTo>
                  <a:pt x="894663" y="0"/>
                </a:moveTo>
                <a:cubicBezTo>
                  <a:pt x="1388772" y="0"/>
                  <a:pt x="1789326" y="400554"/>
                  <a:pt x="1789326" y="894663"/>
                </a:cubicBezTo>
                <a:cubicBezTo>
                  <a:pt x="1789326" y="1388772"/>
                  <a:pt x="1388772" y="1789326"/>
                  <a:pt x="894663" y="1789326"/>
                </a:cubicBezTo>
                <a:cubicBezTo>
                  <a:pt x="400554" y="1789326"/>
                  <a:pt x="0" y="1388772"/>
                  <a:pt x="0" y="894663"/>
                </a:cubicBezTo>
                <a:cubicBezTo>
                  <a:pt x="0" y="400554"/>
                  <a:pt x="400554" y="0"/>
                  <a:pt x="89466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2"/>
          </p:nvPr>
        </p:nvSpPr>
        <p:spPr>
          <a:xfrm>
            <a:off x="4414670" y="1711235"/>
            <a:ext cx="1057954" cy="1058092"/>
          </a:xfrm>
          <a:custGeom>
            <a:avLst/>
            <a:gdLst>
              <a:gd name="connsiteX0" fmla="*/ 1058092 w 2116184"/>
              <a:gd name="connsiteY0" fmla="*/ 0 h 2116184"/>
              <a:gd name="connsiteX1" fmla="*/ 2116184 w 2116184"/>
              <a:gd name="connsiteY1" fmla="*/ 1058092 h 2116184"/>
              <a:gd name="connsiteX2" fmla="*/ 1058092 w 2116184"/>
              <a:gd name="connsiteY2" fmla="*/ 2116184 h 2116184"/>
              <a:gd name="connsiteX3" fmla="*/ 0 w 2116184"/>
              <a:gd name="connsiteY3" fmla="*/ 1058092 h 2116184"/>
              <a:gd name="connsiteX4" fmla="*/ 1058092 w 2116184"/>
              <a:gd name="connsiteY4" fmla="*/ 0 h 2116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16184" h="2116184">
                <a:moveTo>
                  <a:pt x="1058092" y="0"/>
                </a:moveTo>
                <a:cubicBezTo>
                  <a:pt x="1642460" y="0"/>
                  <a:pt x="2116184" y="473724"/>
                  <a:pt x="2116184" y="1058092"/>
                </a:cubicBezTo>
                <a:cubicBezTo>
                  <a:pt x="2116184" y="1642460"/>
                  <a:pt x="1642460" y="2116184"/>
                  <a:pt x="1058092" y="2116184"/>
                </a:cubicBezTo>
                <a:cubicBezTo>
                  <a:pt x="473724" y="2116184"/>
                  <a:pt x="0" y="1642460"/>
                  <a:pt x="0" y="1058092"/>
                </a:cubicBezTo>
                <a:cubicBezTo>
                  <a:pt x="0" y="473724"/>
                  <a:pt x="473724" y="0"/>
                  <a:pt x="105809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5887244" y="3429000"/>
            <a:ext cx="764220" cy="764320"/>
          </a:xfrm>
          <a:custGeom>
            <a:avLst/>
            <a:gdLst>
              <a:gd name="connsiteX0" fmla="*/ 764320 w 1528640"/>
              <a:gd name="connsiteY0" fmla="*/ 0 h 1528640"/>
              <a:gd name="connsiteX1" fmla="*/ 1528640 w 1528640"/>
              <a:gd name="connsiteY1" fmla="*/ 764320 h 1528640"/>
              <a:gd name="connsiteX2" fmla="*/ 764320 w 1528640"/>
              <a:gd name="connsiteY2" fmla="*/ 1528640 h 1528640"/>
              <a:gd name="connsiteX3" fmla="*/ 0 w 1528640"/>
              <a:gd name="connsiteY3" fmla="*/ 764320 h 1528640"/>
              <a:gd name="connsiteX4" fmla="*/ 764320 w 1528640"/>
              <a:gd name="connsiteY4" fmla="*/ 0 h 152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8640" h="1528640">
                <a:moveTo>
                  <a:pt x="764320" y="0"/>
                </a:moveTo>
                <a:cubicBezTo>
                  <a:pt x="1186442" y="0"/>
                  <a:pt x="1528640" y="342198"/>
                  <a:pt x="1528640" y="764320"/>
                </a:cubicBezTo>
                <a:cubicBezTo>
                  <a:pt x="1528640" y="1186442"/>
                  <a:pt x="1186442" y="1528640"/>
                  <a:pt x="764320" y="1528640"/>
                </a:cubicBezTo>
                <a:cubicBezTo>
                  <a:pt x="342198" y="1528640"/>
                  <a:pt x="0" y="1186442"/>
                  <a:pt x="0" y="764320"/>
                </a:cubicBezTo>
                <a:cubicBezTo>
                  <a:pt x="0" y="342198"/>
                  <a:pt x="342198" y="0"/>
                  <a:pt x="76432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416109" y="2429590"/>
            <a:ext cx="1998561" cy="199882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548364" y="561601"/>
            <a:ext cx="5734051" cy="5734798"/>
            <a:chOff x="1096871" y="1123202"/>
            <a:chExt cx="11469596" cy="11469596"/>
          </a:xfrm>
        </p:grpSpPr>
        <p:sp>
          <p:nvSpPr>
            <p:cNvPr id="32" name="Oval 31"/>
            <p:cNvSpPr/>
            <p:nvPr userDrawn="1"/>
          </p:nvSpPr>
          <p:spPr>
            <a:xfrm>
              <a:off x="1096871" y="1123202"/>
              <a:ext cx="11469596" cy="1146959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2886198" y="2912529"/>
              <a:ext cx="7890943" cy="7890943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26999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_Picture_place-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9286947" y="3251389"/>
            <a:ext cx="1725337" cy="1725562"/>
          </a:xfrm>
          <a:custGeom>
            <a:avLst/>
            <a:gdLst>
              <a:gd name="connsiteX0" fmla="*/ 1725562 w 3451124"/>
              <a:gd name="connsiteY0" fmla="*/ 0 h 3451124"/>
              <a:gd name="connsiteX1" fmla="*/ 3451124 w 3451124"/>
              <a:gd name="connsiteY1" fmla="*/ 1725562 h 3451124"/>
              <a:gd name="connsiteX2" fmla="*/ 1725562 w 3451124"/>
              <a:gd name="connsiteY2" fmla="*/ 3451124 h 3451124"/>
              <a:gd name="connsiteX3" fmla="*/ 0 w 3451124"/>
              <a:gd name="connsiteY3" fmla="*/ 1725562 h 3451124"/>
              <a:gd name="connsiteX4" fmla="*/ 1725562 w 3451124"/>
              <a:gd name="connsiteY4" fmla="*/ 0 h 3451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51124" h="3451124">
                <a:moveTo>
                  <a:pt x="1725562" y="0"/>
                </a:moveTo>
                <a:cubicBezTo>
                  <a:pt x="2678564" y="0"/>
                  <a:pt x="3451124" y="772560"/>
                  <a:pt x="3451124" y="1725562"/>
                </a:cubicBezTo>
                <a:cubicBezTo>
                  <a:pt x="3451124" y="2678564"/>
                  <a:pt x="2678564" y="3451124"/>
                  <a:pt x="1725562" y="3451124"/>
                </a:cubicBezTo>
                <a:cubicBezTo>
                  <a:pt x="772560" y="3451124"/>
                  <a:pt x="0" y="2678564"/>
                  <a:pt x="0" y="1725562"/>
                </a:cubicBezTo>
                <a:cubicBezTo>
                  <a:pt x="0" y="772560"/>
                  <a:pt x="772560" y="0"/>
                  <a:pt x="172556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179716" y="3251389"/>
            <a:ext cx="1725337" cy="1725562"/>
          </a:xfrm>
          <a:custGeom>
            <a:avLst/>
            <a:gdLst>
              <a:gd name="connsiteX0" fmla="*/ 1725562 w 3451124"/>
              <a:gd name="connsiteY0" fmla="*/ 0 h 3451124"/>
              <a:gd name="connsiteX1" fmla="*/ 3451124 w 3451124"/>
              <a:gd name="connsiteY1" fmla="*/ 1725562 h 3451124"/>
              <a:gd name="connsiteX2" fmla="*/ 1725562 w 3451124"/>
              <a:gd name="connsiteY2" fmla="*/ 3451124 h 3451124"/>
              <a:gd name="connsiteX3" fmla="*/ 0 w 3451124"/>
              <a:gd name="connsiteY3" fmla="*/ 1725562 h 3451124"/>
              <a:gd name="connsiteX4" fmla="*/ 1725562 w 3451124"/>
              <a:gd name="connsiteY4" fmla="*/ 0 h 3451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51124" h="3451124">
                <a:moveTo>
                  <a:pt x="1725562" y="0"/>
                </a:moveTo>
                <a:cubicBezTo>
                  <a:pt x="2678564" y="0"/>
                  <a:pt x="3451124" y="772560"/>
                  <a:pt x="3451124" y="1725562"/>
                </a:cubicBezTo>
                <a:cubicBezTo>
                  <a:pt x="3451124" y="2678564"/>
                  <a:pt x="2678564" y="3451124"/>
                  <a:pt x="1725562" y="3451124"/>
                </a:cubicBezTo>
                <a:cubicBezTo>
                  <a:pt x="772560" y="3451124"/>
                  <a:pt x="0" y="2678564"/>
                  <a:pt x="0" y="1725562"/>
                </a:cubicBezTo>
                <a:cubicBezTo>
                  <a:pt x="0" y="772560"/>
                  <a:pt x="772560" y="0"/>
                  <a:pt x="172556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5415146" y="2151169"/>
            <a:ext cx="1387832" cy="1388013"/>
          </a:xfrm>
          <a:custGeom>
            <a:avLst/>
            <a:gdLst>
              <a:gd name="connsiteX0" fmla="*/ 1725562 w 3451124"/>
              <a:gd name="connsiteY0" fmla="*/ 0 h 3451124"/>
              <a:gd name="connsiteX1" fmla="*/ 3451124 w 3451124"/>
              <a:gd name="connsiteY1" fmla="*/ 1725562 h 3451124"/>
              <a:gd name="connsiteX2" fmla="*/ 1725562 w 3451124"/>
              <a:gd name="connsiteY2" fmla="*/ 3451124 h 3451124"/>
              <a:gd name="connsiteX3" fmla="*/ 0 w 3451124"/>
              <a:gd name="connsiteY3" fmla="*/ 1725562 h 3451124"/>
              <a:gd name="connsiteX4" fmla="*/ 1725562 w 3451124"/>
              <a:gd name="connsiteY4" fmla="*/ 0 h 3451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51124" h="3451124">
                <a:moveTo>
                  <a:pt x="1725562" y="0"/>
                </a:moveTo>
                <a:cubicBezTo>
                  <a:pt x="2678564" y="0"/>
                  <a:pt x="3451124" y="772560"/>
                  <a:pt x="3451124" y="1725562"/>
                </a:cubicBezTo>
                <a:cubicBezTo>
                  <a:pt x="3451124" y="2678564"/>
                  <a:pt x="2678564" y="3451124"/>
                  <a:pt x="1725562" y="3451124"/>
                </a:cubicBezTo>
                <a:cubicBezTo>
                  <a:pt x="772560" y="3451124"/>
                  <a:pt x="0" y="2678564"/>
                  <a:pt x="0" y="1725562"/>
                </a:cubicBezTo>
                <a:cubicBezTo>
                  <a:pt x="0" y="772560"/>
                  <a:pt x="772560" y="0"/>
                  <a:pt x="172556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29791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10315" y="678324"/>
            <a:ext cx="1926078" cy="26105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2925510" y="678324"/>
            <a:ext cx="1926078" cy="26105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5240705" y="678324"/>
            <a:ext cx="1926078" cy="26105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10315" y="3598504"/>
            <a:ext cx="1926078" cy="26105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2925510" y="3598504"/>
            <a:ext cx="1926078" cy="26105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5240705" y="3598504"/>
            <a:ext cx="1926078" cy="26105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7555900" y="678323"/>
            <a:ext cx="4025786" cy="55307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860401"/>
      </p:ext>
    </p:extLst>
  </p:cSld>
  <p:clrMapOvr>
    <a:masterClrMapping/>
  </p:clrMapOvr>
  <p:transition spd="slow">
    <p:push dir="u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646382" y="1135857"/>
            <a:ext cx="1401222" cy="3700463"/>
          </a:xfrm>
          <a:custGeom>
            <a:avLst/>
            <a:gdLst>
              <a:gd name="connsiteX0" fmla="*/ 0 w 2821858"/>
              <a:gd name="connsiteY0" fmla="*/ 0 h 6429375"/>
              <a:gd name="connsiteX1" fmla="*/ 2821858 w 2821858"/>
              <a:gd name="connsiteY1" fmla="*/ 0 h 6429375"/>
              <a:gd name="connsiteX2" fmla="*/ 2821858 w 2821858"/>
              <a:gd name="connsiteY2" fmla="*/ 6429375 h 6429375"/>
              <a:gd name="connsiteX3" fmla="*/ 0 w 2821858"/>
              <a:gd name="connsiteY3" fmla="*/ 6429375 h 6429375"/>
              <a:gd name="connsiteX4" fmla="*/ 0 w 2821858"/>
              <a:gd name="connsiteY4" fmla="*/ 0 h 6429375"/>
              <a:gd name="connsiteX0" fmla="*/ 19050 w 2821858"/>
              <a:gd name="connsiteY0" fmla="*/ 1638300 h 6429375"/>
              <a:gd name="connsiteX1" fmla="*/ 2821858 w 2821858"/>
              <a:gd name="connsiteY1" fmla="*/ 0 h 6429375"/>
              <a:gd name="connsiteX2" fmla="*/ 2821858 w 2821858"/>
              <a:gd name="connsiteY2" fmla="*/ 6429375 h 6429375"/>
              <a:gd name="connsiteX3" fmla="*/ 0 w 2821858"/>
              <a:gd name="connsiteY3" fmla="*/ 6429375 h 6429375"/>
              <a:gd name="connsiteX4" fmla="*/ 19050 w 2821858"/>
              <a:gd name="connsiteY4" fmla="*/ 1638300 h 6429375"/>
              <a:gd name="connsiteX0" fmla="*/ 0 w 2802808"/>
              <a:gd name="connsiteY0" fmla="*/ 1638300 h 7400925"/>
              <a:gd name="connsiteX1" fmla="*/ 2802808 w 2802808"/>
              <a:gd name="connsiteY1" fmla="*/ 0 h 7400925"/>
              <a:gd name="connsiteX2" fmla="*/ 2802808 w 2802808"/>
              <a:gd name="connsiteY2" fmla="*/ 6429375 h 7400925"/>
              <a:gd name="connsiteX3" fmla="*/ 0 w 2802808"/>
              <a:gd name="connsiteY3" fmla="*/ 7400925 h 7400925"/>
              <a:gd name="connsiteX4" fmla="*/ 0 w 2802808"/>
              <a:gd name="connsiteY4" fmla="*/ 1638300 h 7400925"/>
              <a:gd name="connsiteX0" fmla="*/ 0 w 2802808"/>
              <a:gd name="connsiteY0" fmla="*/ 1638300 h 7400925"/>
              <a:gd name="connsiteX1" fmla="*/ 2802808 w 2802808"/>
              <a:gd name="connsiteY1" fmla="*/ 0 h 7400925"/>
              <a:gd name="connsiteX2" fmla="*/ 2802808 w 2802808"/>
              <a:gd name="connsiteY2" fmla="*/ 5781675 h 7400925"/>
              <a:gd name="connsiteX3" fmla="*/ 0 w 2802808"/>
              <a:gd name="connsiteY3" fmla="*/ 7400925 h 7400925"/>
              <a:gd name="connsiteX4" fmla="*/ 0 w 2802808"/>
              <a:gd name="connsiteY4" fmla="*/ 1638300 h 7400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02808" h="7400925">
                <a:moveTo>
                  <a:pt x="0" y="1638300"/>
                </a:moveTo>
                <a:lnTo>
                  <a:pt x="2802808" y="0"/>
                </a:lnTo>
                <a:lnTo>
                  <a:pt x="2802808" y="5781675"/>
                </a:lnTo>
                <a:lnTo>
                  <a:pt x="0" y="7400925"/>
                </a:lnTo>
                <a:lnTo>
                  <a:pt x="0" y="16383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 rot="3380422">
            <a:off x="3422757" y="2984386"/>
            <a:ext cx="1658979" cy="3618040"/>
          </a:xfrm>
          <a:custGeom>
            <a:avLst/>
            <a:gdLst>
              <a:gd name="connsiteX0" fmla="*/ 0 w 3527425"/>
              <a:gd name="connsiteY0" fmla="*/ 0 h 6975475"/>
              <a:gd name="connsiteX1" fmla="*/ 3527425 w 3527425"/>
              <a:gd name="connsiteY1" fmla="*/ 0 h 6975475"/>
              <a:gd name="connsiteX2" fmla="*/ 3527425 w 3527425"/>
              <a:gd name="connsiteY2" fmla="*/ 6975475 h 6975475"/>
              <a:gd name="connsiteX3" fmla="*/ 0 w 3527425"/>
              <a:gd name="connsiteY3" fmla="*/ 6975475 h 6975475"/>
              <a:gd name="connsiteX4" fmla="*/ 0 w 3527425"/>
              <a:gd name="connsiteY4" fmla="*/ 0 h 6975475"/>
              <a:gd name="connsiteX0" fmla="*/ 0 w 3527425"/>
              <a:gd name="connsiteY0" fmla="*/ 1460981 h 8436456"/>
              <a:gd name="connsiteX1" fmla="*/ 2983202 w 3527425"/>
              <a:gd name="connsiteY1" fmla="*/ 0 h 8436456"/>
              <a:gd name="connsiteX2" fmla="*/ 3527425 w 3527425"/>
              <a:gd name="connsiteY2" fmla="*/ 8436456 h 8436456"/>
              <a:gd name="connsiteX3" fmla="*/ 0 w 3527425"/>
              <a:gd name="connsiteY3" fmla="*/ 8436456 h 8436456"/>
              <a:gd name="connsiteX4" fmla="*/ 0 w 3527425"/>
              <a:gd name="connsiteY4" fmla="*/ 1460981 h 8436456"/>
              <a:gd name="connsiteX0" fmla="*/ 56369 w 3527425"/>
              <a:gd name="connsiteY0" fmla="*/ 1481079 h 8436456"/>
              <a:gd name="connsiteX1" fmla="*/ 2983202 w 3527425"/>
              <a:gd name="connsiteY1" fmla="*/ 0 h 8436456"/>
              <a:gd name="connsiteX2" fmla="*/ 3527425 w 3527425"/>
              <a:gd name="connsiteY2" fmla="*/ 8436456 h 8436456"/>
              <a:gd name="connsiteX3" fmla="*/ 0 w 3527425"/>
              <a:gd name="connsiteY3" fmla="*/ 8436456 h 8436456"/>
              <a:gd name="connsiteX4" fmla="*/ 56369 w 3527425"/>
              <a:gd name="connsiteY4" fmla="*/ 1481079 h 8436456"/>
              <a:gd name="connsiteX0" fmla="*/ 375064 w 3846120"/>
              <a:gd name="connsiteY0" fmla="*/ 1481079 h 8436456"/>
              <a:gd name="connsiteX1" fmla="*/ 3301897 w 3846120"/>
              <a:gd name="connsiteY1" fmla="*/ 0 h 8436456"/>
              <a:gd name="connsiteX2" fmla="*/ 3846120 w 3846120"/>
              <a:gd name="connsiteY2" fmla="*/ 8436456 h 8436456"/>
              <a:gd name="connsiteX3" fmla="*/ 0 w 3846120"/>
              <a:gd name="connsiteY3" fmla="*/ 7160529 h 8436456"/>
              <a:gd name="connsiteX4" fmla="*/ 375064 w 3846120"/>
              <a:gd name="connsiteY4" fmla="*/ 1481079 h 8436456"/>
              <a:gd name="connsiteX0" fmla="*/ 375064 w 3301897"/>
              <a:gd name="connsiteY0" fmla="*/ 1481079 h 7160529"/>
              <a:gd name="connsiteX1" fmla="*/ 3301897 w 3301897"/>
              <a:gd name="connsiteY1" fmla="*/ 0 h 7160529"/>
              <a:gd name="connsiteX2" fmla="*/ 2898718 w 3301897"/>
              <a:gd name="connsiteY2" fmla="*/ 5800231 h 7160529"/>
              <a:gd name="connsiteX3" fmla="*/ 0 w 3301897"/>
              <a:gd name="connsiteY3" fmla="*/ 7160529 h 7160529"/>
              <a:gd name="connsiteX4" fmla="*/ 375064 w 3301897"/>
              <a:gd name="connsiteY4" fmla="*/ 1481079 h 7160529"/>
              <a:gd name="connsiteX0" fmla="*/ 391125 w 3317958"/>
              <a:gd name="connsiteY0" fmla="*/ 1481079 h 7237023"/>
              <a:gd name="connsiteX1" fmla="*/ 3317958 w 3317958"/>
              <a:gd name="connsiteY1" fmla="*/ 0 h 7237023"/>
              <a:gd name="connsiteX2" fmla="*/ 2914779 w 3317958"/>
              <a:gd name="connsiteY2" fmla="*/ 5800231 h 7237023"/>
              <a:gd name="connsiteX3" fmla="*/ 0 w 3317958"/>
              <a:gd name="connsiteY3" fmla="*/ 7237023 h 7237023"/>
              <a:gd name="connsiteX4" fmla="*/ 391125 w 3317958"/>
              <a:gd name="connsiteY4" fmla="*/ 1481079 h 7237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7958" h="7237023">
                <a:moveTo>
                  <a:pt x="391125" y="1481079"/>
                </a:moveTo>
                <a:lnTo>
                  <a:pt x="3317958" y="0"/>
                </a:lnTo>
                <a:lnTo>
                  <a:pt x="2914779" y="5800231"/>
                </a:lnTo>
                <a:lnTo>
                  <a:pt x="0" y="7237023"/>
                </a:lnTo>
                <a:lnTo>
                  <a:pt x="391125" y="1481079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346570"/>
      </p:ext>
    </p:extLst>
  </p:cSld>
  <p:clrMapOvr>
    <a:masterClrMapping/>
  </p:clrMapOvr>
  <p:transition spd="slow">
    <p:push dir="u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877747" y="2343150"/>
            <a:ext cx="4845213" cy="26447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228534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CFD5B2C6-D1FE-4E2E-9C96-56340082F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D47794-8BA6-4EA9-BCB9-33B273E3FACA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2/20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5438AA61-F3F3-4682-8143-1ED01FA518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164CA114-7405-4719-971A-3D9561984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FD2794-D9F8-4B51-96E5-D7E3CF2375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21762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995722" y="2006600"/>
            <a:ext cx="1286275" cy="2705100"/>
          </a:xfrm>
          <a:custGeom>
            <a:avLst/>
            <a:gdLst>
              <a:gd name="connsiteX0" fmla="*/ 402734 w 2572885"/>
              <a:gd name="connsiteY0" fmla="*/ 0 h 5410200"/>
              <a:gd name="connsiteX1" fmla="*/ 2170151 w 2572885"/>
              <a:gd name="connsiteY1" fmla="*/ 0 h 5410200"/>
              <a:gd name="connsiteX2" fmla="*/ 2572885 w 2572885"/>
              <a:gd name="connsiteY2" fmla="*/ 402734 h 5410200"/>
              <a:gd name="connsiteX3" fmla="*/ 2572885 w 2572885"/>
              <a:gd name="connsiteY3" fmla="*/ 5007466 h 5410200"/>
              <a:gd name="connsiteX4" fmla="*/ 2170151 w 2572885"/>
              <a:gd name="connsiteY4" fmla="*/ 5410200 h 5410200"/>
              <a:gd name="connsiteX5" fmla="*/ 402734 w 2572885"/>
              <a:gd name="connsiteY5" fmla="*/ 5410200 h 5410200"/>
              <a:gd name="connsiteX6" fmla="*/ 0 w 2572885"/>
              <a:gd name="connsiteY6" fmla="*/ 5007466 h 5410200"/>
              <a:gd name="connsiteX7" fmla="*/ 0 w 2572885"/>
              <a:gd name="connsiteY7" fmla="*/ 402734 h 5410200"/>
              <a:gd name="connsiteX8" fmla="*/ 402734 w 2572885"/>
              <a:gd name="connsiteY8" fmla="*/ 0 h 541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72885" h="5410200">
                <a:moveTo>
                  <a:pt x="402734" y="0"/>
                </a:moveTo>
                <a:lnTo>
                  <a:pt x="2170151" y="0"/>
                </a:lnTo>
                <a:cubicBezTo>
                  <a:pt x="2392575" y="0"/>
                  <a:pt x="2572885" y="180310"/>
                  <a:pt x="2572885" y="402734"/>
                </a:cubicBezTo>
                <a:lnTo>
                  <a:pt x="2572885" y="5007466"/>
                </a:lnTo>
                <a:cubicBezTo>
                  <a:pt x="2572885" y="5229890"/>
                  <a:pt x="2392575" y="5410200"/>
                  <a:pt x="2170151" y="5410200"/>
                </a:cubicBezTo>
                <a:lnTo>
                  <a:pt x="402734" y="5410200"/>
                </a:lnTo>
                <a:cubicBezTo>
                  <a:pt x="180310" y="5410200"/>
                  <a:pt x="0" y="5229890"/>
                  <a:pt x="0" y="5007466"/>
                </a:cubicBezTo>
                <a:lnTo>
                  <a:pt x="0" y="402734"/>
                </a:lnTo>
                <a:cubicBezTo>
                  <a:pt x="0" y="180310"/>
                  <a:pt x="180310" y="0"/>
                  <a:pt x="40273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1480768" y="1963420"/>
            <a:ext cx="2516597" cy="2931160"/>
          </a:xfrm>
          <a:custGeom>
            <a:avLst/>
            <a:gdLst>
              <a:gd name="connsiteX0" fmla="*/ 725428 w 5033850"/>
              <a:gd name="connsiteY0" fmla="*/ 0 h 5862320"/>
              <a:gd name="connsiteX1" fmla="*/ 4308422 w 5033850"/>
              <a:gd name="connsiteY1" fmla="*/ 0 h 5862320"/>
              <a:gd name="connsiteX2" fmla="*/ 5033850 w 5033850"/>
              <a:gd name="connsiteY2" fmla="*/ 725428 h 5862320"/>
              <a:gd name="connsiteX3" fmla="*/ 5033850 w 5033850"/>
              <a:gd name="connsiteY3" fmla="*/ 5136892 h 5862320"/>
              <a:gd name="connsiteX4" fmla="*/ 4308422 w 5033850"/>
              <a:gd name="connsiteY4" fmla="*/ 5862320 h 5862320"/>
              <a:gd name="connsiteX5" fmla="*/ 725428 w 5033850"/>
              <a:gd name="connsiteY5" fmla="*/ 5862320 h 5862320"/>
              <a:gd name="connsiteX6" fmla="*/ 0 w 5033850"/>
              <a:gd name="connsiteY6" fmla="*/ 5136892 h 5862320"/>
              <a:gd name="connsiteX7" fmla="*/ 0 w 5033850"/>
              <a:gd name="connsiteY7" fmla="*/ 725428 h 5862320"/>
              <a:gd name="connsiteX8" fmla="*/ 725428 w 5033850"/>
              <a:gd name="connsiteY8" fmla="*/ 0 h 5862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33850" h="5862320">
                <a:moveTo>
                  <a:pt x="725428" y="0"/>
                </a:moveTo>
                <a:lnTo>
                  <a:pt x="4308422" y="0"/>
                </a:lnTo>
                <a:cubicBezTo>
                  <a:pt x="4709065" y="0"/>
                  <a:pt x="5033850" y="324785"/>
                  <a:pt x="5033850" y="725428"/>
                </a:cubicBezTo>
                <a:lnTo>
                  <a:pt x="5033850" y="5136892"/>
                </a:lnTo>
                <a:cubicBezTo>
                  <a:pt x="5033850" y="5537535"/>
                  <a:pt x="4709065" y="5862320"/>
                  <a:pt x="4308422" y="5862320"/>
                </a:cubicBezTo>
                <a:lnTo>
                  <a:pt x="725428" y="5862320"/>
                </a:lnTo>
                <a:cubicBezTo>
                  <a:pt x="324785" y="5862320"/>
                  <a:pt x="0" y="5537535"/>
                  <a:pt x="0" y="5136892"/>
                </a:cubicBezTo>
                <a:lnTo>
                  <a:pt x="0" y="725428"/>
                </a:lnTo>
                <a:cubicBezTo>
                  <a:pt x="0" y="324785"/>
                  <a:pt x="324785" y="0"/>
                  <a:pt x="72542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79404"/>
      </p:ext>
    </p:extLst>
  </p:cSld>
  <p:clrMapOvr>
    <a:masterClrMapping/>
  </p:clrMapOvr>
  <p:transition spd="slow">
    <p:push dir="u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606341" y="3043646"/>
            <a:ext cx="6948377" cy="381435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8189640" y="4023519"/>
            <a:ext cx="2951572" cy="283448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476215"/>
      </p:ext>
    </p:extLst>
  </p:cSld>
  <p:clrMapOvr>
    <a:masterClrMapping/>
  </p:clrMapOvr>
  <p:transition spd="slow">
    <p:push dir="u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914559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2934548" y="1356852"/>
            <a:ext cx="2993533" cy="5869858"/>
          </a:xfrm>
          <a:custGeom>
            <a:avLst/>
            <a:gdLst>
              <a:gd name="connsiteX0" fmla="*/ 408072 w 5987845"/>
              <a:gd name="connsiteY0" fmla="*/ 0 h 11739715"/>
              <a:gd name="connsiteX1" fmla="*/ 5579773 w 5987845"/>
              <a:gd name="connsiteY1" fmla="*/ 0 h 11739715"/>
              <a:gd name="connsiteX2" fmla="*/ 5987845 w 5987845"/>
              <a:gd name="connsiteY2" fmla="*/ 408072 h 11739715"/>
              <a:gd name="connsiteX3" fmla="*/ 5987845 w 5987845"/>
              <a:gd name="connsiteY3" fmla="*/ 11331643 h 11739715"/>
              <a:gd name="connsiteX4" fmla="*/ 5579773 w 5987845"/>
              <a:gd name="connsiteY4" fmla="*/ 11739715 h 11739715"/>
              <a:gd name="connsiteX5" fmla="*/ 408072 w 5987845"/>
              <a:gd name="connsiteY5" fmla="*/ 11739715 h 11739715"/>
              <a:gd name="connsiteX6" fmla="*/ 0 w 5987845"/>
              <a:gd name="connsiteY6" fmla="*/ 11331643 h 11739715"/>
              <a:gd name="connsiteX7" fmla="*/ 0 w 5987845"/>
              <a:gd name="connsiteY7" fmla="*/ 408072 h 11739715"/>
              <a:gd name="connsiteX8" fmla="*/ 408072 w 5987845"/>
              <a:gd name="connsiteY8" fmla="*/ 0 h 11739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7845" h="11739715">
                <a:moveTo>
                  <a:pt x="408072" y="0"/>
                </a:moveTo>
                <a:lnTo>
                  <a:pt x="5579773" y="0"/>
                </a:lnTo>
                <a:cubicBezTo>
                  <a:pt x="5805145" y="0"/>
                  <a:pt x="5987845" y="182700"/>
                  <a:pt x="5987845" y="408072"/>
                </a:cubicBezTo>
                <a:lnTo>
                  <a:pt x="5987845" y="11331643"/>
                </a:lnTo>
                <a:cubicBezTo>
                  <a:pt x="5987845" y="11557015"/>
                  <a:pt x="5805145" y="11739715"/>
                  <a:pt x="5579773" y="11739715"/>
                </a:cubicBezTo>
                <a:lnTo>
                  <a:pt x="408072" y="11739715"/>
                </a:lnTo>
                <a:cubicBezTo>
                  <a:pt x="182700" y="11739715"/>
                  <a:pt x="0" y="11557015"/>
                  <a:pt x="0" y="11331643"/>
                </a:cubicBezTo>
                <a:lnTo>
                  <a:pt x="0" y="408072"/>
                </a:lnTo>
                <a:cubicBezTo>
                  <a:pt x="0" y="182700"/>
                  <a:pt x="182700" y="0"/>
                  <a:pt x="40807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813816" y="2300749"/>
            <a:ext cx="1121090" cy="4926346"/>
          </a:xfrm>
          <a:custGeom>
            <a:avLst/>
            <a:gdLst>
              <a:gd name="connsiteX0" fmla="*/ 408072 w 2242471"/>
              <a:gd name="connsiteY0" fmla="*/ 0 h 9852691"/>
              <a:gd name="connsiteX1" fmla="*/ 2242471 w 2242471"/>
              <a:gd name="connsiteY1" fmla="*/ 0 h 9852691"/>
              <a:gd name="connsiteX2" fmla="*/ 2242471 w 2242471"/>
              <a:gd name="connsiteY2" fmla="*/ 9852691 h 9852691"/>
              <a:gd name="connsiteX3" fmla="*/ 0 w 2242471"/>
              <a:gd name="connsiteY3" fmla="*/ 9852691 h 9852691"/>
              <a:gd name="connsiteX4" fmla="*/ 0 w 2242471"/>
              <a:gd name="connsiteY4" fmla="*/ 408071 h 9852691"/>
              <a:gd name="connsiteX5" fmla="*/ 408072 w 2242471"/>
              <a:gd name="connsiteY5" fmla="*/ 0 h 9852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42471" h="9852691">
                <a:moveTo>
                  <a:pt x="408072" y="0"/>
                </a:moveTo>
                <a:lnTo>
                  <a:pt x="2242471" y="0"/>
                </a:lnTo>
                <a:lnTo>
                  <a:pt x="2242471" y="9852691"/>
                </a:lnTo>
                <a:lnTo>
                  <a:pt x="0" y="9852691"/>
                </a:lnTo>
                <a:lnTo>
                  <a:pt x="0" y="408071"/>
                </a:lnTo>
                <a:cubicBezTo>
                  <a:pt x="0" y="182699"/>
                  <a:pt x="182700" y="0"/>
                  <a:pt x="40807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57556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2846017" y="1770063"/>
            <a:ext cx="2108719" cy="37163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99542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 rot="723032">
            <a:off x="8925381" y="1661066"/>
            <a:ext cx="1587231" cy="3173919"/>
          </a:xfrm>
          <a:custGeom>
            <a:avLst/>
            <a:gdLst>
              <a:gd name="connsiteX0" fmla="*/ 0 w 3429000"/>
              <a:gd name="connsiteY0" fmla="*/ 0 h 6343650"/>
              <a:gd name="connsiteX1" fmla="*/ 3429000 w 3429000"/>
              <a:gd name="connsiteY1" fmla="*/ 0 h 6343650"/>
              <a:gd name="connsiteX2" fmla="*/ 3429000 w 3429000"/>
              <a:gd name="connsiteY2" fmla="*/ 6343650 h 6343650"/>
              <a:gd name="connsiteX3" fmla="*/ 0 w 3429000"/>
              <a:gd name="connsiteY3" fmla="*/ 6343650 h 6343650"/>
              <a:gd name="connsiteX4" fmla="*/ 0 w 3429000"/>
              <a:gd name="connsiteY4" fmla="*/ 0 h 6343650"/>
              <a:gd name="connsiteX0" fmla="*/ 0 w 3429000"/>
              <a:gd name="connsiteY0" fmla="*/ 0 h 6343650"/>
              <a:gd name="connsiteX1" fmla="*/ 3429000 w 3429000"/>
              <a:gd name="connsiteY1" fmla="*/ 0 h 6343650"/>
              <a:gd name="connsiteX2" fmla="*/ 2858373 w 3429000"/>
              <a:gd name="connsiteY2" fmla="*/ 6134319 h 6343650"/>
              <a:gd name="connsiteX3" fmla="*/ 0 w 3429000"/>
              <a:gd name="connsiteY3" fmla="*/ 6343650 h 6343650"/>
              <a:gd name="connsiteX4" fmla="*/ 0 w 3429000"/>
              <a:gd name="connsiteY4" fmla="*/ 0 h 6343650"/>
              <a:gd name="connsiteX0" fmla="*/ 0 w 3429000"/>
              <a:gd name="connsiteY0" fmla="*/ 0 h 6407705"/>
              <a:gd name="connsiteX1" fmla="*/ 3429000 w 3429000"/>
              <a:gd name="connsiteY1" fmla="*/ 0 h 6407705"/>
              <a:gd name="connsiteX2" fmla="*/ 2858373 w 3429000"/>
              <a:gd name="connsiteY2" fmla="*/ 6134319 h 6407705"/>
              <a:gd name="connsiteX3" fmla="*/ 247425 w 3429000"/>
              <a:gd name="connsiteY3" fmla="*/ 6407705 h 6407705"/>
              <a:gd name="connsiteX4" fmla="*/ 0 w 3429000"/>
              <a:gd name="connsiteY4" fmla="*/ 0 h 6407705"/>
              <a:gd name="connsiteX0" fmla="*/ 692664 w 3181575"/>
              <a:gd name="connsiteY0" fmla="*/ 753794 h 6407705"/>
              <a:gd name="connsiteX1" fmla="*/ 3181575 w 3181575"/>
              <a:gd name="connsiteY1" fmla="*/ 0 h 6407705"/>
              <a:gd name="connsiteX2" fmla="*/ 2610948 w 3181575"/>
              <a:gd name="connsiteY2" fmla="*/ 6134319 h 6407705"/>
              <a:gd name="connsiteX3" fmla="*/ 0 w 3181575"/>
              <a:gd name="connsiteY3" fmla="*/ 6407705 h 6407705"/>
              <a:gd name="connsiteX4" fmla="*/ 692664 w 3181575"/>
              <a:gd name="connsiteY4" fmla="*/ 753794 h 6407705"/>
              <a:gd name="connsiteX0" fmla="*/ 692664 w 3174876"/>
              <a:gd name="connsiteY0" fmla="*/ 693926 h 6347837"/>
              <a:gd name="connsiteX1" fmla="*/ 3174876 w 3174876"/>
              <a:gd name="connsiteY1" fmla="*/ 0 h 6347837"/>
              <a:gd name="connsiteX2" fmla="*/ 2610948 w 3174876"/>
              <a:gd name="connsiteY2" fmla="*/ 6074451 h 6347837"/>
              <a:gd name="connsiteX3" fmla="*/ 0 w 3174876"/>
              <a:gd name="connsiteY3" fmla="*/ 6347837 h 6347837"/>
              <a:gd name="connsiteX4" fmla="*/ 692664 w 3174876"/>
              <a:gd name="connsiteY4" fmla="*/ 693926 h 6347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74876" h="6347837">
                <a:moveTo>
                  <a:pt x="692664" y="693926"/>
                </a:moveTo>
                <a:lnTo>
                  <a:pt x="3174876" y="0"/>
                </a:lnTo>
                <a:lnTo>
                  <a:pt x="2610948" y="6074451"/>
                </a:lnTo>
                <a:lnTo>
                  <a:pt x="0" y="6347837"/>
                </a:lnTo>
                <a:lnTo>
                  <a:pt x="692664" y="693926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961874" y="1428750"/>
            <a:ext cx="3952360" cy="4381500"/>
          </a:xfrm>
          <a:custGeom>
            <a:avLst/>
            <a:gdLst>
              <a:gd name="connsiteX0" fmla="*/ 0 w 8096250"/>
              <a:gd name="connsiteY0" fmla="*/ 0 h 8515350"/>
              <a:gd name="connsiteX1" fmla="*/ 8096250 w 8096250"/>
              <a:gd name="connsiteY1" fmla="*/ 0 h 8515350"/>
              <a:gd name="connsiteX2" fmla="*/ 8096250 w 8096250"/>
              <a:gd name="connsiteY2" fmla="*/ 8515350 h 8515350"/>
              <a:gd name="connsiteX3" fmla="*/ 0 w 8096250"/>
              <a:gd name="connsiteY3" fmla="*/ 8515350 h 8515350"/>
              <a:gd name="connsiteX4" fmla="*/ 0 w 8096250"/>
              <a:gd name="connsiteY4" fmla="*/ 0 h 8515350"/>
              <a:gd name="connsiteX0" fmla="*/ 0 w 8096250"/>
              <a:gd name="connsiteY0" fmla="*/ 0 h 8515350"/>
              <a:gd name="connsiteX1" fmla="*/ 5143500 w 8096250"/>
              <a:gd name="connsiteY1" fmla="*/ 285750 h 8515350"/>
              <a:gd name="connsiteX2" fmla="*/ 8096250 w 8096250"/>
              <a:gd name="connsiteY2" fmla="*/ 8515350 h 8515350"/>
              <a:gd name="connsiteX3" fmla="*/ 0 w 8096250"/>
              <a:gd name="connsiteY3" fmla="*/ 8515350 h 8515350"/>
              <a:gd name="connsiteX4" fmla="*/ 0 w 8096250"/>
              <a:gd name="connsiteY4" fmla="*/ 0 h 8515350"/>
              <a:gd name="connsiteX0" fmla="*/ 0 w 8096250"/>
              <a:gd name="connsiteY0" fmla="*/ 0 h 8782050"/>
              <a:gd name="connsiteX1" fmla="*/ 5143500 w 8096250"/>
              <a:gd name="connsiteY1" fmla="*/ 285750 h 8782050"/>
              <a:gd name="connsiteX2" fmla="*/ 8096250 w 8096250"/>
              <a:gd name="connsiteY2" fmla="*/ 8515350 h 8782050"/>
              <a:gd name="connsiteX3" fmla="*/ 2590800 w 8096250"/>
              <a:gd name="connsiteY3" fmla="*/ 8782050 h 8782050"/>
              <a:gd name="connsiteX4" fmla="*/ 0 w 8096250"/>
              <a:gd name="connsiteY4" fmla="*/ 0 h 8782050"/>
              <a:gd name="connsiteX0" fmla="*/ 0 w 7848600"/>
              <a:gd name="connsiteY0" fmla="*/ 0 h 8782050"/>
              <a:gd name="connsiteX1" fmla="*/ 5143500 w 7848600"/>
              <a:gd name="connsiteY1" fmla="*/ 285750 h 8782050"/>
              <a:gd name="connsiteX2" fmla="*/ 7848600 w 7848600"/>
              <a:gd name="connsiteY2" fmla="*/ 7981950 h 8782050"/>
              <a:gd name="connsiteX3" fmla="*/ 2590800 w 7848600"/>
              <a:gd name="connsiteY3" fmla="*/ 8782050 h 8782050"/>
              <a:gd name="connsiteX4" fmla="*/ 0 w 7848600"/>
              <a:gd name="connsiteY4" fmla="*/ 0 h 8782050"/>
              <a:gd name="connsiteX0" fmla="*/ 0 w 7848600"/>
              <a:gd name="connsiteY0" fmla="*/ 0 h 8782050"/>
              <a:gd name="connsiteX1" fmla="*/ 5162550 w 7848600"/>
              <a:gd name="connsiteY1" fmla="*/ 304800 h 8782050"/>
              <a:gd name="connsiteX2" fmla="*/ 7848600 w 7848600"/>
              <a:gd name="connsiteY2" fmla="*/ 7981950 h 8782050"/>
              <a:gd name="connsiteX3" fmla="*/ 2590800 w 7848600"/>
              <a:gd name="connsiteY3" fmla="*/ 8782050 h 8782050"/>
              <a:gd name="connsiteX4" fmla="*/ 0 w 7848600"/>
              <a:gd name="connsiteY4" fmla="*/ 0 h 8782050"/>
              <a:gd name="connsiteX0" fmla="*/ 0 w 7905750"/>
              <a:gd name="connsiteY0" fmla="*/ 0 h 8763000"/>
              <a:gd name="connsiteX1" fmla="*/ 5219700 w 7905750"/>
              <a:gd name="connsiteY1" fmla="*/ 285750 h 8763000"/>
              <a:gd name="connsiteX2" fmla="*/ 7905750 w 7905750"/>
              <a:gd name="connsiteY2" fmla="*/ 7962900 h 8763000"/>
              <a:gd name="connsiteX3" fmla="*/ 2647950 w 7905750"/>
              <a:gd name="connsiteY3" fmla="*/ 8763000 h 8763000"/>
              <a:gd name="connsiteX4" fmla="*/ 0 w 7905750"/>
              <a:gd name="connsiteY4" fmla="*/ 0 h 876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5750" h="8763000">
                <a:moveTo>
                  <a:pt x="0" y="0"/>
                </a:moveTo>
                <a:lnTo>
                  <a:pt x="5219700" y="285750"/>
                </a:lnTo>
                <a:lnTo>
                  <a:pt x="7905750" y="7962900"/>
                </a:lnTo>
                <a:lnTo>
                  <a:pt x="2647950" y="8763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6786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3109011"/>
      </p:ext>
    </p:extLst>
  </p:cSld>
  <p:clrMapOvr>
    <a:masterClrMapping/>
  </p:clrMapOvr>
  <p:transition spd="slow">
    <p:push dir="u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 userDrawn="1">
  <p:cSld name="3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">
            <a:extLst>
              <a:ext uri="{FF2B5EF4-FFF2-40B4-BE49-F238E27FC236}">
                <a16:creationId xmlns:a16="http://schemas.microsoft.com/office/drawing/2014/main" xmlns="" id="{51C0B361-6AB4-4DF7-B93E-FDC53E98EC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sp>
        <p:nvSpPr>
          <p:cNvPr id="6" name="TitleRectangle">
            <a:extLst>
              <a:ext uri="{FF2B5EF4-FFF2-40B4-BE49-F238E27FC236}">
                <a16:creationId xmlns:a16="http://schemas.microsoft.com/office/drawing/2014/main" xmlns="" id="{04449F8A-F3B0-4D59-8F40-FD315A0F00D3}"/>
              </a:ext>
            </a:extLst>
          </p:cNvPr>
          <p:cNvSpPr>
            <a:spLocks/>
          </p:cNvSpPr>
          <p:nvPr userDrawn="1"/>
        </p:nvSpPr>
        <p:spPr bwMode="white">
          <a:xfrm>
            <a:off x="5175162" y="1"/>
            <a:ext cx="7016838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47257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>
  <p:cSld name="4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 txBox="1">
            <a:spLocks noGrp="1"/>
          </p:cNvSpPr>
          <p:nvPr>
            <p:ph type="ctrTitle"/>
          </p:nvPr>
        </p:nvSpPr>
        <p:spPr>
          <a:xfrm>
            <a:off x="538412" y="2806411"/>
            <a:ext cx="9140082" cy="8913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102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1"/>
          </p:nvPr>
        </p:nvSpPr>
        <p:spPr>
          <a:xfrm>
            <a:off x="538411" y="5336813"/>
            <a:ext cx="520917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" name="Shape 17"/>
          <p:cNvSpPr txBox="1">
            <a:spLocks noGrp="1"/>
          </p:cNvSpPr>
          <p:nvPr>
            <p:ph type="body" idx="2"/>
          </p:nvPr>
        </p:nvSpPr>
        <p:spPr>
          <a:xfrm>
            <a:off x="538412" y="6159468"/>
            <a:ext cx="319353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96328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7785" y="602151"/>
            <a:ext cx="10856428" cy="415819"/>
          </a:xfrm>
        </p:spPr>
        <p:txBody>
          <a:bodyPr lIns="0" tIns="0" rIns="0" bIns="0"/>
          <a:lstStyle>
            <a:lvl1pPr>
              <a:defRPr sz="3002" b="1">
                <a:latin typeface="Proxima Nova Rg"/>
                <a:cs typeface="Proxima Nova Rg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976208" y="2384716"/>
            <a:ext cx="5853024" cy="246221"/>
          </a:xfrm>
        </p:spPr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marL="45435"/>
            <a:fld id="{81D60167-4931-47E6-BA6A-407CBD079E47}" type="slidenum">
              <a:rPr lang="en-US" sz="1334" b="1" spc="6" smtClean="0">
                <a:solidFill>
                  <a:srgbClr val="808083"/>
                </a:solidFill>
                <a:latin typeface="Proxima Nova Lt"/>
                <a:cs typeface="Proxima Nova Lt"/>
              </a:rPr>
              <a:pPr marL="45435"/>
              <a:t>‹#›</a:t>
            </a:fld>
            <a:endParaRPr lang="en-US" sz="1334">
              <a:latin typeface="Proxima Nova Lt"/>
              <a:cs typeface="Proxima Nova Lt"/>
            </a:endParaRPr>
          </a:p>
        </p:txBody>
      </p:sp>
    </p:spTree>
    <p:extLst>
      <p:ext uri="{BB962C8B-B14F-4D97-AF65-F5344CB8AC3E}">
        <p14:creationId xmlns:p14="http://schemas.microsoft.com/office/powerpoint/2010/main" val="22761186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41346" y="6650146"/>
            <a:ext cx="11263874" cy="188418"/>
          </a:xfrm>
          <a:prstGeom prst="rect">
            <a:avLst/>
          </a:prstGeom>
        </p:spPr>
        <p:txBody>
          <a:bodyPr lIns="91424" tIns="91424" rIns="91424" bIns="91424" anchor="b"/>
          <a:lstStyle>
            <a:lvl1pPr marL="233240" indent="0">
              <a:spcBef>
                <a:spcPts val="0"/>
              </a:spcBef>
              <a:buSzTx/>
              <a:buFontTx/>
              <a:buNone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indent="-330424">
              <a:spcBef>
                <a:spcPts val="0"/>
              </a:spcBef>
              <a:buSzPts val="1200"/>
              <a:buFontTx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2" indent="-326535">
              <a:spcBef>
                <a:spcPts val="0"/>
              </a:spcBef>
              <a:buSzPts val="1200"/>
              <a:buFontTx/>
              <a:buChar char="–"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indent="-326535">
              <a:spcBef>
                <a:spcPts val="0"/>
              </a:spcBef>
              <a:buSzPts val="1200"/>
              <a:buFontTx/>
              <a:buChar char="◦"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indent="-302434">
              <a:spcBef>
                <a:spcPts val="0"/>
              </a:spcBef>
              <a:buSzPts val="1200"/>
              <a:buFontTx/>
              <a:buChar char="-"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7" name="Title Text"/>
          <p:cNvSpPr txBox="1">
            <a:spLocks noGrp="1"/>
          </p:cNvSpPr>
          <p:nvPr>
            <p:ph type="title"/>
          </p:nvPr>
        </p:nvSpPr>
        <p:spPr>
          <a:xfrm>
            <a:off x="2457965" y="121419"/>
            <a:ext cx="9039153" cy="477322"/>
          </a:xfrm>
          <a:prstGeom prst="rect">
            <a:avLst/>
          </a:prstGeom>
        </p:spPr>
        <p:txBody>
          <a:bodyPr lIns="91424" tIns="91424" rIns="91424" bIns="91424" anchor="t"/>
          <a:lstStyle>
            <a:lvl1pPr>
              <a:lnSpc>
                <a:spcPct val="95000"/>
              </a:lnSpc>
              <a:defRPr sz="3200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</a:lstStyle>
          <a:p>
            <a:r>
              <a:t>Title Text</a:t>
            </a:r>
          </a:p>
        </p:txBody>
      </p:sp>
      <p:sp>
        <p:nvSpPr>
          <p:cNvPr id="148" name="Shape 22"/>
          <p:cNvSpPr txBox="1">
            <a:spLocks noGrp="1"/>
          </p:cNvSpPr>
          <p:nvPr>
            <p:ph type="body" sz="quarter" idx="13"/>
          </p:nvPr>
        </p:nvSpPr>
        <p:spPr>
          <a:xfrm>
            <a:off x="241345" y="6456627"/>
            <a:ext cx="11261132" cy="188418"/>
          </a:xfrm>
          <a:prstGeom prst="rect">
            <a:avLst/>
          </a:prstGeom>
        </p:spPr>
        <p:txBody>
          <a:bodyPr lIns="91424" tIns="91424" rIns="91424" bIns="91424" anchor="b"/>
          <a:lstStyle/>
          <a:p>
            <a:pPr marL="186592" indent="-122840" defTabSz="365760">
              <a:spcBef>
                <a:spcPts val="0"/>
              </a:spcBef>
              <a:buClr>
                <a:srgbClr val="8594A7"/>
              </a:buClr>
              <a:buSzPts val="400"/>
              <a:buFontTx/>
              <a:buAutoNum type="arabicPeriod"/>
              <a:defRPr sz="48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/>
          </a:p>
        </p:txBody>
      </p:sp>
      <p:sp>
        <p:nvSpPr>
          <p:cNvPr id="149" name="Shape 23"/>
          <p:cNvSpPr txBox="1">
            <a:spLocks noGrp="1"/>
          </p:cNvSpPr>
          <p:nvPr>
            <p:ph type="body" sz="quarter" idx="14"/>
          </p:nvPr>
        </p:nvSpPr>
        <p:spPr>
          <a:xfrm>
            <a:off x="2457965" y="613991"/>
            <a:ext cx="9039153" cy="328161"/>
          </a:xfrm>
          <a:prstGeom prst="rect">
            <a:avLst/>
          </a:prstGeom>
        </p:spPr>
        <p:txBody>
          <a:bodyPr lIns="91424" tIns="91424" rIns="91424" bIns="91424"/>
          <a:lstStyle/>
          <a:p>
            <a:pPr marL="233240" indent="0">
              <a:lnSpc>
                <a:spcPct val="95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/>
          </a:p>
        </p:txBody>
      </p:sp>
      <p:sp>
        <p:nvSpPr>
          <p:cNvPr id="150" name="Shape 24"/>
          <p:cNvSpPr txBox="1">
            <a:spLocks noGrp="1"/>
          </p:cNvSpPr>
          <p:nvPr>
            <p:ph type="body" sz="quarter" idx="15"/>
          </p:nvPr>
        </p:nvSpPr>
        <p:spPr>
          <a:xfrm>
            <a:off x="2963096" y="2258465"/>
            <a:ext cx="4906821" cy="1753324"/>
          </a:xfrm>
          <a:prstGeom prst="rect">
            <a:avLst/>
          </a:prstGeom>
        </p:spPr>
        <p:txBody>
          <a:bodyPr lIns="91424" tIns="91424" rIns="91424" bIns="91424"/>
          <a:lstStyle/>
          <a:p>
            <a:pPr marL="233240" indent="0">
              <a:spcBef>
                <a:spcPts val="200"/>
              </a:spcBef>
              <a:buSzTx/>
              <a:buFontTx/>
              <a:buNone/>
              <a:defRPr sz="2100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/>
          </a:p>
        </p:txBody>
      </p:sp>
      <p:sp>
        <p:nvSpPr>
          <p:cNvPr id="15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2160638"/>
      </p:ext>
    </p:extLst>
  </p:cSld>
  <p:clrMapOvr>
    <a:masterClrMapping/>
  </p:clrMapOvr>
  <p:transition spd="med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1"/>
          <p:cNvGrpSpPr>
            <a:grpSpLocks/>
          </p:cNvGrpSpPr>
          <p:nvPr userDrawn="1"/>
        </p:nvGrpSpPr>
        <p:grpSpPr bwMode="auto">
          <a:xfrm>
            <a:off x="-1219200" y="762001"/>
            <a:ext cx="847969" cy="5334000"/>
            <a:chOff x="6462" y="601"/>
            <a:chExt cx="320" cy="3808"/>
          </a:xfrm>
        </p:grpSpPr>
        <p:sp>
          <p:nvSpPr>
            <p:cNvPr id="5" name="Rectangle 33"/>
            <p:cNvSpPr>
              <a:spLocks noChangeArrowheads="1"/>
            </p:cNvSpPr>
            <p:nvPr userDrawn="1"/>
          </p:nvSpPr>
          <p:spPr bwMode="auto">
            <a:xfrm>
              <a:off x="6462" y="601"/>
              <a:ext cx="320" cy="377"/>
            </a:xfrm>
            <a:prstGeom prst="rect">
              <a:avLst/>
            </a:prstGeom>
            <a:solidFill>
              <a:srgbClr val="317F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4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27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97</a:t>
              </a:r>
            </a:p>
          </p:txBody>
        </p:sp>
        <p:sp>
          <p:nvSpPr>
            <p:cNvPr id="6" name="Rectangle 34"/>
            <p:cNvSpPr>
              <a:spLocks noChangeArrowheads="1"/>
            </p:cNvSpPr>
            <p:nvPr userDrawn="1"/>
          </p:nvSpPr>
          <p:spPr bwMode="auto">
            <a:xfrm>
              <a:off x="6462" y="1091"/>
              <a:ext cx="320" cy="377"/>
            </a:xfrm>
            <a:prstGeom prst="rect">
              <a:avLst/>
            </a:prstGeom>
            <a:solidFill>
              <a:srgbClr val="37B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4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6</a:t>
              </a:r>
            </a:p>
          </p:txBody>
        </p:sp>
        <p:sp>
          <p:nvSpPr>
            <p:cNvPr id="7" name="Rectangle 35"/>
            <p:cNvSpPr>
              <a:spLocks noChangeArrowheads="1"/>
            </p:cNvSpPr>
            <p:nvPr userDrawn="1"/>
          </p:nvSpPr>
          <p:spPr bwMode="auto">
            <a:xfrm>
              <a:off x="6462" y="1581"/>
              <a:ext cx="320" cy="375"/>
            </a:xfrm>
            <a:prstGeom prst="rect">
              <a:avLst/>
            </a:prstGeom>
            <a:solidFill>
              <a:srgbClr val="FFCA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02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01</a:t>
              </a:r>
            </a:p>
          </p:txBody>
        </p:sp>
        <p:sp>
          <p:nvSpPr>
            <p:cNvPr id="8" name="Rectangle 36"/>
            <p:cNvSpPr>
              <a:spLocks noChangeArrowheads="1"/>
            </p:cNvSpPr>
            <p:nvPr userDrawn="1"/>
          </p:nvSpPr>
          <p:spPr bwMode="auto">
            <a:xfrm>
              <a:off x="6462" y="3051"/>
              <a:ext cx="320" cy="376"/>
            </a:xfrm>
            <a:prstGeom prst="rect">
              <a:avLst/>
            </a:prstGeom>
            <a:solidFill>
              <a:srgbClr val="4C7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7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1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66</a:t>
              </a:r>
            </a:p>
          </p:txBody>
        </p:sp>
        <p:sp>
          <p:nvSpPr>
            <p:cNvPr id="9" name="Rectangle 37"/>
            <p:cNvSpPr>
              <a:spLocks noChangeArrowheads="1"/>
            </p:cNvSpPr>
            <p:nvPr userDrawn="1"/>
          </p:nvSpPr>
          <p:spPr bwMode="auto">
            <a:xfrm>
              <a:off x="6462" y="4032"/>
              <a:ext cx="320" cy="377"/>
            </a:xfrm>
            <a:prstGeom prst="rect">
              <a:avLst/>
            </a:prstGeom>
            <a:solidFill>
              <a:srgbClr val="DFDF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</p:txBody>
        </p:sp>
        <p:sp>
          <p:nvSpPr>
            <p:cNvPr id="10" name="Rectangle 38"/>
            <p:cNvSpPr>
              <a:spLocks noChangeArrowheads="1"/>
            </p:cNvSpPr>
            <p:nvPr userDrawn="1"/>
          </p:nvSpPr>
          <p:spPr bwMode="auto">
            <a:xfrm>
              <a:off x="6462" y="2071"/>
              <a:ext cx="320" cy="377"/>
            </a:xfrm>
            <a:prstGeom prst="rect">
              <a:avLst/>
            </a:prstGeom>
            <a:solidFill>
              <a:srgbClr val="941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4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2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8</a:t>
              </a:r>
            </a:p>
          </p:txBody>
        </p:sp>
        <p:sp>
          <p:nvSpPr>
            <p:cNvPr id="11" name="Rectangle 39"/>
            <p:cNvSpPr>
              <a:spLocks noChangeArrowheads="1"/>
            </p:cNvSpPr>
            <p:nvPr userDrawn="1"/>
          </p:nvSpPr>
          <p:spPr bwMode="auto">
            <a:xfrm>
              <a:off x="6462" y="2561"/>
              <a:ext cx="320" cy="377"/>
            </a:xfrm>
            <a:prstGeom prst="rect">
              <a:avLst/>
            </a:prstGeom>
            <a:solidFill>
              <a:srgbClr val="245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6</a:t>
              </a:r>
            </a:p>
          </p:txBody>
        </p:sp>
        <p:sp>
          <p:nvSpPr>
            <p:cNvPr id="12" name="Rectangle 40"/>
            <p:cNvSpPr>
              <a:spLocks noChangeArrowheads="1"/>
            </p:cNvSpPr>
            <p:nvPr userDrawn="1"/>
          </p:nvSpPr>
          <p:spPr bwMode="auto">
            <a:xfrm>
              <a:off x="6462" y="3541"/>
              <a:ext cx="320" cy="377"/>
            </a:xfrm>
            <a:prstGeom prst="rect">
              <a:avLst/>
            </a:prstGeom>
            <a:solidFill>
              <a:srgbClr val="BAD5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1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1</a:t>
              </a:r>
            </a:p>
          </p:txBody>
        </p:sp>
      </p:grpSp>
      <p:sp>
        <p:nvSpPr>
          <p:cNvPr id="161796" name="Rectangle 4"/>
          <p:cNvSpPr>
            <a:spLocks noGrp="1" noChangeArrowheads="1"/>
          </p:cNvSpPr>
          <p:nvPr>
            <p:ph type="ctrTitle"/>
          </p:nvPr>
        </p:nvSpPr>
        <p:spPr bwMode="auto">
          <a:xfrm>
            <a:off x="914017" y="2867173"/>
            <a:ext cx="10363969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1840" name="Rectangle 4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021774" y="1334901"/>
            <a:ext cx="3165378" cy="261610"/>
          </a:xfrm>
        </p:spPr>
        <p:txBody>
          <a:bodyPr/>
          <a:lstStyle>
            <a:lvl1pPr>
              <a:defRPr sz="17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75737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 userDrawn="1">
  <p:cSld name="3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">
            <a:extLst>
              <a:ext uri="{FF2B5EF4-FFF2-40B4-BE49-F238E27FC236}">
                <a16:creationId xmlns:a16="http://schemas.microsoft.com/office/drawing/2014/main" xmlns="" id="{51C0B361-6AB4-4DF7-B93E-FDC53E98EC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sp>
        <p:nvSpPr>
          <p:cNvPr id="6" name="TitleRectangle">
            <a:extLst>
              <a:ext uri="{FF2B5EF4-FFF2-40B4-BE49-F238E27FC236}">
                <a16:creationId xmlns:a16="http://schemas.microsoft.com/office/drawing/2014/main" xmlns="" id="{04449F8A-F3B0-4D59-8F40-FD315A0F00D3}"/>
              </a:ext>
            </a:extLst>
          </p:cNvPr>
          <p:cNvSpPr>
            <a:spLocks/>
          </p:cNvSpPr>
          <p:nvPr userDrawn="1"/>
        </p:nvSpPr>
        <p:spPr bwMode="white">
          <a:xfrm>
            <a:off x="5175162" y="1"/>
            <a:ext cx="7016838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20437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>
  <p:cSld name="4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 txBox="1">
            <a:spLocks noGrp="1"/>
          </p:cNvSpPr>
          <p:nvPr>
            <p:ph type="ctrTitle"/>
          </p:nvPr>
        </p:nvSpPr>
        <p:spPr>
          <a:xfrm>
            <a:off x="538412" y="2806411"/>
            <a:ext cx="9140082" cy="8913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102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1"/>
          </p:nvPr>
        </p:nvSpPr>
        <p:spPr>
          <a:xfrm>
            <a:off x="538411" y="5336813"/>
            <a:ext cx="520917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" name="Shape 17"/>
          <p:cNvSpPr txBox="1">
            <a:spLocks noGrp="1"/>
          </p:cNvSpPr>
          <p:nvPr>
            <p:ph type="body" idx="2"/>
          </p:nvPr>
        </p:nvSpPr>
        <p:spPr>
          <a:xfrm>
            <a:off x="538412" y="6159468"/>
            <a:ext cx="319353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0237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7785" y="602151"/>
            <a:ext cx="10856428" cy="415819"/>
          </a:xfrm>
        </p:spPr>
        <p:txBody>
          <a:bodyPr lIns="0" tIns="0" rIns="0" bIns="0"/>
          <a:lstStyle>
            <a:lvl1pPr>
              <a:defRPr sz="3002" b="1">
                <a:latin typeface="Proxima Nova Rg"/>
                <a:cs typeface="Proxima Nova Rg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976208" y="2384716"/>
            <a:ext cx="5853024" cy="246221"/>
          </a:xfrm>
        </p:spPr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marL="45435"/>
            <a:fld id="{81D60167-4931-47E6-BA6A-407CBD079E47}" type="slidenum">
              <a:rPr lang="en-US" sz="1334" b="1" spc="6" smtClean="0">
                <a:solidFill>
                  <a:srgbClr val="808083"/>
                </a:solidFill>
                <a:latin typeface="Proxima Nova Lt"/>
                <a:cs typeface="Proxima Nova Lt"/>
              </a:rPr>
              <a:pPr marL="45435"/>
              <a:t>‹#›</a:t>
            </a:fld>
            <a:endParaRPr lang="en-US" sz="1334">
              <a:latin typeface="Proxima Nova Lt"/>
              <a:cs typeface="Proxima Nova Lt"/>
            </a:endParaRPr>
          </a:p>
        </p:txBody>
      </p:sp>
    </p:spTree>
    <p:extLst>
      <p:ext uri="{BB962C8B-B14F-4D97-AF65-F5344CB8AC3E}">
        <p14:creationId xmlns:p14="http://schemas.microsoft.com/office/powerpoint/2010/main" val="289482831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1"/>
          <p:cNvGrpSpPr>
            <a:grpSpLocks/>
          </p:cNvGrpSpPr>
          <p:nvPr userDrawn="1"/>
        </p:nvGrpSpPr>
        <p:grpSpPr bwMode="auto">
          <a:xfrm>
            <a:off x="-1219200" y="762001"/>
            <a:ext cx="847969" cy="5334000"/>
            <a:chOff x="6462" y="601"/>
            <a:chExt cx="320" cy="3808"/>
          </a:xfrm>
        </p:grpSpPr>
        <p:sp>
          <p:nvSpPr>
            <p:cNvPr id="5" name="Rectangle 33"/>
            <p:cNvSpPr>
              <a:spLocks noChangeArrowheads="1"/>
            </p:cNvSpPr>
            <p:nvPr userDrawn="1"/>
          </p:nvSpPr>
          <p:spPr bwMode="auto">
            <a:xfrm>
              <a:off x="6462" y="601"/>
              <a:ext cx="320" cy="377"/>
            </a:xfrm>
            <a:prstGeom prst="rect">
              <a:avLst/>
            </a:prstGeom>
            <a:solidFill>
              <a:srgbClr val="317F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4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27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97</a:t>
              </a:r>
            </a:p>
          </p:txBody>
        </p:sp>
        <p:sp>
          <p:nvSpPr>
            <p:cNvPr id="6" name="Rectangle 34"/>
            <p:cNvSpPr>
              <a:spLocks noChangeArrowheads="1"/>
            </p:cNvSpPr>
            <p:nvPr userDrawn="1"/>
          </p:nvSpPr>
          <p:spPr bwMode="auto">
            <a:xfrm>
              <a:off x="6462" y="1091"/>
              <a:ext cx="320" cy="377"/>
            </a:xfrm>
            <a:prstGeom prst="rect">
              <a:avLst/>
            </a:prstGeom>
            <a:solidFill>
              <a:srgbClr val="37B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4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6</a:t>
              </a:r>
            </a:p>
          </p:txBody>
        </p:sp>
        <p:sp>
          <p:nvSpPr>
            <p:cNvPr id="7" name="Rectangle 35"/>
            <p:cNvSpPr>
              <a:spLocks noChangeArrowheads="1"/>
            </p:cNvSpPr>
            <p:nvPr userDrawn="1"/>
          </p:nvSpPr>
          <p:spPr bwMode="auto">
            <a:xfrm>
              <a:off x="6462" y="1581"/>
              <a:ext cx="320" cy="375"/>
            </a:xfrm>
            <a:prstGeom prst="rect">
              <a:avLst/>
            </a:prstGeom>
            <a:solidFill>
              <a:srgbClr val="FFCA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02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01</a:t>
              </a:r>
            </a:p>
          </p:txBody>
        </p:sp>
        <p:sp>
          <p:nvSpPr>
            <p:cNvPr id="8" name="Rectangle 36"/>
            <p:cNvSpPr>
              <a:spLocks noChangeArrowheads="1"/>
            </p:cNvSpPr>
            <p:nvPr userDrawn="1"/>
          </p:nvSpPr>
          <p:spPr bwMode="auto">
            <a:xfrm>
              <a:off x="6462" y="3051"/>
              <a:ext cx="320" cy="376"/>
            </a:xfrm>
            <a:prstGeom prst="rect">
              <a:avLst/>
            </a:prstGeom>
            <a:solidFill>
              <a:srgbClr val="4C7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7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1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66</a:t>
              </a:r>
            </a:p>
          </p:txBody>
        </p:sp>
        <p:sp>
          <p:nvSpPr>
            <p:cNvPr id="9" name="Rectangle 37"/>
            <p:cNvSpPr>
              <a:spLocks noChangeArrowheads="1"/>
            </p:cNvSpPr>
            <p:nvPr userDrawn="1"/>
          </p:nvSpPr>
          <p:spPr bwMode="auto">
            <a:xfrm>
              <a:off x="6462" y="4032"/>
              <a:ext cx="320" cy="377"/>
            </a:xfrm>
            <a:prstGeom prst="rect">
              <a:avLst/>
            </a:prstGeom>
            <a:solidFill>
              <a:srgbClr val="DFDF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</p:txBody>
        </p:sp>
        <p:sp>
          <p:nvSpPr>
            <p:cNvPr id="10" name="Rectangle 38"/>
            <p:cNvSpPr>
              <a:spLocks noChangeArrowheads="1"/>
            </p:cNvSpPr>
            <p:nvPr userDrawn="1"/>
          </p:nvSpPr>
          <p:spPr bwMode="auto">
            <a:xfrm>
              <a:off x="6462" y="2071"/>
              <a:ext cx="320" cy="377"/>
            </a:xfrm>
            <a:prstGeom prst="rect">
              <a:avLst/>
            </a:prstGeom>
            <a:solidFill>
              <a:srgbClr val="941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4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2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8</a:t>
              </a:r>
            </a:p>
          </p:txBody>
        </p:sp>
        <p:sp>
          <p:nvSpPr>
            <p:cNvPr id="11" name="Rectangle 39"/>
            <p:cNvSpPr>
              <a:spLocks noChangeArrowheads="1"/>
            </p:cNvSpPr>
            <p:nvPr userDrawn="1"/>
          </p:nvSpPr>
          <p:spPr bwMode="auto">
            <a:xfrm>
              <a:off x="6462" y="2561"/>
              <a:ext cx="320" cy="377"/>
            </a:xfrm>
            <a:prstGeom prst="rect">
              <a:avLst/>
            </a:prstGeom>
            <a:solidFill>
              <a:srgbClr val="245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6</a:t>
              </a:r>
            </a:p>
          </p:txBody>
        </p:sp>
        <p:sp>
          <p:nvSpPr>
            <p:cNvPr id="12" name="Rectangle 40"/>
            <p:cNvSpPr>
              <a:spLocks noChangeArrowheads="1"/>
            </p:cNvSpPr>
            <p:nvPr userDrawn="1"/>
          </p:nvSpPr>
          <p:spPr bwMode="auto">
            <a:xfrm>
              <a:off x="6462" y="3541"/>
              <a:ext cx="320" cy="377"/>
            </a:xfrm>
            <a:prstGeom prst="rect">
              <a:avLst/>
            </a:prstGeom>
            <a:solidFill>
              <a:srgbClr val="BAD5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1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1</a:t>
              </a:r>
            </a:p>
          </p:txBody>
        </p:sp>
      </p:grpSp>
      <p:sp>
        <p:nvSpPr>
          <p:cNvPr id="161796" name="Rectangle 4"/>
          <p:cNvSpPr>
            <a:spLocks noGrp="1" noChangeArrowheads="1"/>
          </p:cNvSpPr>
          <p:nvPr>
            <p:ph type="ctrTitle"/>
          </p:nvPr>
        </p:nvSpPr>
        <p:spPr bwMode="auto">
          <a:xfrm>
            <a:off x="914017" y="2867173"/>
            <a:ext cx="10363969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1840" name="Rectangle 4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021774" y="1334901"/>
            <a:ext cx="3165378" cy="261610"/>
          </a:xfrm>
        </p:spPr>
        <p:txBody>
          <a:bodyPr/>
          <a:lstStyle>
            <a:lvl1pPr>
              <a:defRPr sz="17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388964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 userDrawn="1">
  <p:cSld name="3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">
            <a:extLst>
              <a:ext uri="{FF2B5EF4-FFF2-40B4-BE49-F238E27FC236}">
                <a16:creationId xmlns:a16="http://schemas.microsoft.com/office/drawing/2014/main" xmlns="" id="{51C0B361-6AB4-4DF7-B93E-FDC53E98EC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sp>
        <p:nvSpPr>
          <p:cNvPr id="6" name="TitleRectangle">
            <a:extLst>
              <a:ext uri="{FF2B5EF4-FFF2-40B4-BE49-F238E27FC236}">
                <a16:creationId xmlns:a16="http://schemas.microsoft.com/office/drawing/2014/main" xmlns="" id="{04449F8A-F3B0-4D59-8F40-FD315A0F00D3}"/>
              </a:ext>
            </a:extLst>
          </p:cNvPr>
          <p:cNvSpPr>
            <a:spLocks/>
          </p:cNvSpPr>
          <p:nvPr userDrawn="1"/>
        </p:nvSpPr>
        <p:spPr bwMode="white">
          <a:xfrm>
            <a:off x="5175162" y="1"/>
            <a:ext cx="7016838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15781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>
  <p:cSld name="4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 txBox="1">
            <a:spLocks noGrp="1"/>
          </p:cNvSpPr>
          <p:nvPr>
            <p:ph type="ctrTitle"/>
          </p:nvPr>
        </p:nvSpPr>
        <p:spPr>
          <a:xfrm>
            <a:off x="538412" y="2806411"/>
            <a:ext cx="9140082" cy="8913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102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1"/>
          </p:nvPr>
        </p:nvSpPr>
        <p:spPr>
          <a:xfrm>
            <a:off x="538411" y="5336813"/>
            <a:ext cx="520917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" name="Shape 17"/>
          <p:cNvSpPr txBox="1">
            <a:spLocks noGrp="1"/>
          </p:cNvSpPr>
          <p:nvPr>
            <p:ph type="body" idx="2"/>
          </p:nvPr>
        </p:nvSpPr>
        <p:spPr>
          <a:xfrm>
            <a:off x="538412" y="6159468"/>
            <a:ext cx="319353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85864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7785" y="602151"/>
            <a:ext cx="10856428" cy="415819"/>
          </a:xfrm>
        </p:spPr>
        <p:txBody>
          <a:bodyPr lIns="0" tIns="0" rIns="0" bIns="0"/>
          <a:lstStyle>
            <a:lvl1pPr>
              <a:defRPr sz="3002" b="1">
                <a:latin typeface="Proxima Nova Rg"/>
                <a:cs typeface="Proxima Nova Rg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976208" y="2384716"/>
            <a:ext cx="5853024" cy="246221"/>
          </a:xfrm>
        </p:spPr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marL="45435"/>
            <a:fld id="{81D60167-4931-47E6-BA6A-407CBD079E47}" type="slidenum">
              <a:rPr lang="en-US" sz="1334" b="1" spc="6" smtClean="0">
                <a:solidFill>
                  <a:srgbClr val="808083"/>
                </a:solidFill>
                <a:latin typeface="Proxima Nova Lt"/>
                <a:cs typeface="Proxima Nova Lt"/>
              </a:rPr>
              <a:pPr marL="45435"/>
              <a:t>‹#›</a:t>
            </a:fld>
            <a:endParaRPr lang="en-US" sz="1334">
              <a:latin typeface="Proxima Nova Lt"/>
              <a:cs typeface="Proxima Nova Lt"/>
            </a:endParaRPr>
          </a:p>
        </p:txBody>
      </p:sp>
    </p:spTree>
    <p:extLst>
      <p:ext uri="{BB962C8B-B14F-4D97-AF65-F5344CB8AC3E}">
        <p14:creationId xmlns:p14="http://schemas.microsoft.com/office/powerpoint/2010/main" val="133887540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1"/>
          <p:cNvGrpSpPr>
            <a:grpSpLocks/>
          </p:cNvGrpSpPr>
          <p:nvPr userDrawn="1"/>
        </p:nvGrpSpPr>
        <p:grpSpPr bwMode="auto">
          <a:xfrm>
            <a:off x="-1219200" y="762001"/>
            <a:ext cx="847969" cy="5334000"/>
            <a:chOff x="6462" y="601"/>
            <a:chExt cx="320" cy="3808"/>
          </a:xfrm>
        </p:grpSpPr>
        <p:sp>
          <p:nvSpPr>
            <p:cNvPr id="5" name="Rectangle 33"/>
            <p:cNvSpPr>
              <a:spLocks noChangeArrowheads="1"/>
            </p:cNvSpPr>
            <p:nvPr userDrawn="1"/>
          </p:nvSpPr>
          <p:spPr bwMode="auto">
            <a:xfrm>
              <a:off x="6462" y="601"/>
              <a:ext cx="320" cy="377"/>
            </a:xfrm>
            <a:prstGeom prst="rect">
              <a:avLst/>
            </a:prstGeom>
            <a:solidFill>
              <a:srgbClr val="317F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4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27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97</a:t>
              </a:r>
            </a:p>
          </p:txBody>
        </p:sp>
        <p:sp>
          <p:nvSpPr>
            <p:cNvPr id="6" name="Rectangle 34"/>
            <p:cNvSpPr>
              <a:spLocks noChangeArrowheads="1"/>
            </p:cNvSpPr>
            <p:nvPr userDrawn="1"/>
          </p:nvSpPr>
          <p:spPr bwMode="auto">
            <a:xfrm>
              <a:off x="6462" y="1091"/>
              <a:ext cx="320" cy="377"/>
            </a:xfrm>
            <a:prstGeom prst="rect">
              <a:avLst/>
            </a:prstGeom>
            <a:solidFill>
              <a:srgbClr val="37B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4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6</a:t>
              </a:r>
            </a:p>
          </p:txBody>
        </p:sp>
        <p:sp>
          <p:nvSpPr>
            <p:cNvPr id="7" name="Rectangle 35"/>
            <p:cNvSpPr>
              <a:spLocks noChangeArrowheads="1"/>
            </p:cNvSpPr>
            <p:nvPr userDrawn="1"/>
          </p:nvSpPr>
          <p:spPr bwMode="auto">
            <a:xfrm>
              <a:off x="6462" y="1581"/>
              <a:ext cx="320" cy="375"/>
            </a:xfrm>
            <a:prstGeom prst="rect">
              <a:avLst/>
            </a:prstGeom>
            <a:solidFill>
              <a:srgbClr val="FFCA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02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01</a:t>
              </a:r>
            </a:p>
          </p:txBody>
        </p:sp>
        <p:sp>
          <p:nvSpPr>
            <p:cNvPr id="8" name="Rectangle 36"/>
            <p:cNvSpPr>
              <a:spLocks noChangeArrowheads="1"/>
            </p:cNvSpPr>
            <p:nvPr userDrawn="1"/>
          </p:nvSpPr>
          <p:spPr bwMode="auto">
            <a:xfrm>
              <a:off x="6462" y="3051"/>
              <a:ext cx="320" cy="376"/>
            </a:xfrm>
            <a:prstGeom prst="rect">
              <a:avLst/>
            </a:prstGeom>
            <a:solidFill>
              <a:srgbClr val="4C7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7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1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66</a:t>
              </a:r>
            </a:p>
          </p:txBody>
        </p:sp>
        <p:sp>
          <p:nvSpPr>
            <p:cNvPr id="9" name="Rectangle 37"/>
            <p:cNvSpPr>
              <a:spLocks noChangeArrowheads="1"/>
            </p:cNvSpPr>
            <p:nvPr userDrawn="1"/>
          </p:nvSpPr>
          <p:spPr bwMode="auto">
            <a:xfrm>
              <a:off x="6462" y="4032"/>
              <a:ext cx="320" cy="377"/>
            </a:xfrm>
            <a:prstGeom prst="rect">
              <a:avLst/>
            </a:prstGeom>
            <a:solidFill>
              <a:srgbClr val="DFDF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</p:txBody>
        </p:sp>
        <p:sp>
          <p:nvSpPr>
            <p:cNvPr id="10" name="Rectangle 38"/>
            <p:cNvSpPr>
              <a:spLocks noChangeArrowheads="1"/>
            </p:cNvSpPr>
            <p:nvPr userDrawn="1"/>
          </p:nvSpPr>
          <p:spPr bwMode="auto">
            <a:xfrm>
              <a:off x="6462" y="2071"/>
              <a:ext cx="320" cy="377"/>
            </a:xfrm>
            <a:prstGeom prst="rect">
              <a:avLst/>
            </a:prstGeom>
            <a:solidFill>
              <a:srgbClr val="941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4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2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8</a:t>
              </a:r>
            </a:p>
          </p:txBody>
        </p:sp>
        <p:sp>
          <p:nvSpPr>
            <p:cNvPr id="11" name="Rectangle 39"/>
            <p:cNvSpPr>
              <a:spLocks noChangeArrowheads="1"/>
            </p:cNvSpPr>
            <p:nvPr userDrawn="1"/>
          </p:nvSpPr>
          <p:spPr bwMode="auto">
            <a:xfrm>
              <a:off x="6462" y="2561"/>
              <a:ext cx="320" cy="377"/>
            </a:xfrm>
            <a:prstGeom prst="rect">
              <a:avLst/>
            </a:prstGeom>
            <a:solidFill>
              <a:srgbClr val="245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6</a:t>
              </a:r>
            </a:p>
          </p:txBody>
        </p:sp>
        <p:sp>
          <p:nvSpPr>
            <p:cNvPr id="12" name="Rectangle 40"/>
            <p:cNvSpPr>
              <a:spLocks noChangeArrowheads="1"/>
            </p:cNvSpPr>
            <p:nvPr userDrawn="1"/>
          </p:nvSpPr>
          <p:spPr bwMode="auto">
            <a:xfrm>
              <a:off x="6462" y="3541"/>
              <a:ext cx="320" cy="377"/>
            </a:xfrm>
            <a:prstGeom prst="rect">
              <a:avLst/>
            </a:prstGeom>
            <a:solidFill>
              <a:srgbClr val="BAD5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1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1</a:t>
              </a:r>
            </a:p>
          </p:txBody>
        </p:sp>
      </p:grpSp>
      <p:sp>
        <p:nvSpPr>
          <p:cNvPr id="161796" name="Rectangle 4"/>
          <p:cNvSpPr>
            <a:spLocks noGrp="1" noChangeArrowheads="1"/>
          </p:cNvSpPr>
          <p:nvPr>
            <p:ph type="ctrTitle"/>
          </p:nvPr>
        </p:nvSpPr>
        <p:spPr bwMode="auto">
          <a:xfrm>
            <a:off x="914017" y="2867173"/>
            <a:ext cx="10363969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1840" name="Rectangle 4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021774" y="1334901"/>
            <a:ext cx="3165378" cy="261610"/>
          </a:xfrm>
        </p:spPr>
        <p:txBody>
          <a:bodyPr/>
          <a:lstStyle>
            <a:lvl1pPr>
              <a:defRPr sz="17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815268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 userDrawn="1">
  <p:cSld name="3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">
            <a:extLst>
              <a:ext uri="{FF2B5EF4-FFF2-40B4-BE49-F238E27FC236}">
                <a16:creationId xmlns:a16="http://schemas.microsoft.com/office/drawing/2014/main" xmlns="" id="{51C0B361-6AB4-4DF7-B93E-FDC53E98EC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sp>
        <p:nvSpPr>
          <p:cNvPr id="6" name="TitleRectangle">
            <a:extLst>
              <a:ext uri="{FF2B5EF4-FFF2-40B4-BE49-F238E27FC236}">
                <a16:creationId xmlns:a16="http://schemas.microsoft.com/office/drawing/2014/main" xmlns="" id="{04449F8A-F3B0-4D59-8F40-FD315A0F00D3}"/>
              </a:ext>
            </a:extLst>
          </p:cNvPr>
          <p:cNvSpPr>
            <a:spLocks/>
          </p:cNvSpPr>
          <p:nvPr userDrawn="1"/>
        </p:nvSpPr>
        <p:spPr bwMode="white">
          <a:xfrm>
            <a:off x="5175162" y="1"/>
            <a:ext cx="7016838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41340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119" y="2141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3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Объект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41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82A6487C-F9B9-4A47-9978-D3C12F73CC8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2043161" y="1718549"/>
            <a:ext cx="8442609" cy="1231107"/>
          </a:xfrm>
        </p:spPr>
        <p:txBody>
          <a:bodyPr>
            <a:spAutoFit/>
          </a:bodyPr>
          <a:lstStyle>
            <a:lvl1pPr>
              <a:buClr>
                <a:schemeClr val="tx1">
                  <a:lumMod val="75000"/>
                  <a:lumOff val="25000"/>
                </a:schemeClr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Title Placeholder 2">
            <a:extLst>
              <a:ext uri="{FF2B5EF4-FFF2-40B4-BE49-F238E27FC236}">
                <a16:creationId xmlns:a16="http://schemas.microsoft.com/office/drawing/2014/main" xmlns="" id="{A96858CA-0CA3-42DD-AA24-FFCB2769DFE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231769"/>
            <a:ext cx="1119218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80676640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>
  <p:cSld name="4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 txBox="1">
            <a:spLocks noGrp="1"/>
          </p:cNvSpPr>
          <p:nvPr>
            <p:ph type="ctrTitle"/>
          </p:nvPr>
        </p:nvSpPr>
        <p:spPr>
          <a:xfrm>
            <a:off x="538412" y="2806411"/>
            <a:ext cx="9140082" cy="8913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102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1"/>
          </p:nvPr>
        </p:nvSpPr>
        <p:spPr>
          <a:xfrm>
            <a:off x="538411" y="5336813"/>
            <a:ext cx="520917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" name="Shape 17"/>
          <p:cNvSpPr txBox="1">
            <a:spLocks noGrp="1"/>
          </p:cNvSpPr>
          <p:nvPr>
            <p:ph type="body" idx="2"/>
          </p:nvPr>
        </p:nvSpPr>
        <p:spPr>
          <a:xfrm>
            <a:off x="538412" y="6159468"/>
            <a:ext cx="319353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56481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7785" y="602151"/>
            <a:ext cx="10856428" cy="415819"/>
          </a:xfrm>
        </p:spPr>
        <p:txBody>
          <a:bodyPr lIns="0" tIns="0" rIns="0" bIns="0"/>
          <a:lstStyle>
            <a:lvl1pPr>
              <a:defRPr sz="3002" b="1">
                <a:latin typeface="Proxima Nova Rg"/>
                <a:cs typeface="Proxima Nova Rg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976208" y="2384716"/>
            <a:ext cx="5853024" cy="246221"/>
          </a:xfrm>
        </p:spPr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marL="45435"/>
            <a:fld id="{81D60167-4931-47E6-BA6A-407CBD079E47}" type="slidenum">
              <a:rPr lang="en-US" sz="1334" b="1" spc="6" smtClean="0">
                <a:solidFill>
                  <a:srgbClr val="808083"/>
                </a:solidFill>
                <a:latin typeface="Proxima Nova Lt"/>
                <a:cs typeface="Proxima Nova Lt"/>
              </a:rPr>
              <a:pPr marL="45435"/>
              <a:t>‹#›</a:t>
            </a:fld>
            <a:endParaRPr lang="en-US" sz="1334">
              <a:latin typeface="Proxima Nova Lt"/>
              <a:cs typeface="Proxima Nova Lt"/>
            </a:endParaRPr>
          </a:p>
        </p:txBody>
      </p:sp>
    </p:spTree>
    <p:extLst>
      <p:ext uri="{BB962C8B-B14F-4D97-AF65-F5344CB8AC3E}">
        <p14:creationId xmlns:p14="http://schemas.microsoft.com/office/powerpoint/2010/main" val="266671636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1"/>
          <p:cNvGrpSpPr>
            <a:grpSpLocks/>
          </p:cNvGrpSpPr>
          <p:nvPr userDrawn="1"/>
        </p:nvGrpSpPr>
        <p:grpSpPr bwMode="auto">
          <a:xfrm>
            <a:off x="-1219200" y="762001"/>
            <a:ext cx="847969" cy="5334000"/>
            <a:chOff x="6462" y="601"/>
            <a:chExt cx="320" cy="3808"/>
          </a:xfrm>
        </p:grpSpPr>
        <p:sp>
          <p:nvSpPr>
            <p:cNvPr id="5" name="Rectangle 33"/>
            <p:cNvSpPr>
              <a:spLocks noChangeArrowheads="1"/>
            </p:cNvSpPr>
            <p:nvPr userDrawn="1"/>
          </p:nvSpPr>
          <p:spPr bwMode="auto">
            <a:xfrm>
              <a:off x="6462" y="601"/>
              <a:ext cx="320" cy="377"/>
            </a:xfrm>
            <a:prstGeom prst="rect">
              <a:avLst/>
            </a:prstGeom>
            <a:solidFill>
              <a:srgbClr val="317F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4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27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97</a:t>
              </a:r>
            </a:p>
          </p:txBody>
        </p:sp>
        <p:sp>
          <p:nvSpPr>
            <p:cNvPr id="6" name="Rectangle 34"/>
            <p:cNvSpPr>
              <a:spLocks noChangeArrowheads="1"/>
            </p:cNvSpPr>
            <p:nvPr userDrawn="1"/>
          </p:nvSpPr>
          <p:spPr bwMode="auto">
            <a:xfrm>
              <a:off x="6462" y="1091"/>
              <a:ext cx="320" cy="377"/>
            </a:xfrm>
            <a:prstGeom prst="rect">
              <a:avLst/>
            </a:prstGeom>
            <a:solidFill>
              <a:srgbClr val="37B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4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6</a:t>
              </a:r>
            </a:p>
          </p:txBody>
        </p:sp>
        <p:sp>
          <p:nvSpPr>
            <p:cNvPr id="7" name="Rectangle 35"/>
            <p:cNvSpPr>
              <a:spLocks noChangeArrowheads="1"/>
            </p:cNvSpPr>
            <p:nvPr userDrawn="1"/>
          </p:nvSpPr>
          <p:spPr bwMode="auto">
            <a:xfrm>
              <a:off x="6462" y="1581"/>
              <a:ext cx="320" cy="375"/>
            </a:xfrm>
            <a:prstGeom prst="rect">
              <a:avLst/>
            </a:prstGeom>
            <a:solidFill>
              <a:srgbClr val="FFCA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02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01</a:t>
              </a:r>
            </a:p>
          </p:txBody>
        </p:sp>
        <p:sp>
          <p:nvSpPr>
            <p:cNvPr id="8" name="Rectangle 36"/>
            <p:cNvSpPr>
              <a:spLocks noChangeArrowheads="1"/>
            </p:cNvSpPr>
            <p:nvPr userDrawn="1"/>
          </p:nvSpPr>
          <p:spPr bwMode="auto">
            <a:xfrm>
              <a:off x="6462" y="3051"/>
              <a:ext cx="320" cy="376"/>
            </a:xfrm>
            <a:prstGeom prst="rect">
              <a:avLst/>
            </a:prstGeom>
            <a:solidFill>
              <a:srgbClr val="4C7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7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1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66</a:t>
              </a:r>
            </a:p>
          </p:txBody>
        </p:sp>
        <p:sp>
          <p:nvSpPr>
            <p:cNvPr id="9" name="Rectangle 37"/>
            <p:cNvSpPr>
              <a:spLocks noChangeArrowheads="1"/>
            </p:cNvSpPr>
            <p:nvPr userDrawn="1"/>
          </p:nvSpPr>
          <p:spPr bwMode="auto">
            <a:xfrm>
              <a:off x="6462" y="4032"/>
              <a:ext cx="320" cy="377"/>
            </a:xfrm>
            <a:prstGeom prst="rect">
              <a:avLst/>
            </a:prstGeom>
            <a:solidFill>
              <a:srgbClr val="DFDF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</p:txBody>
        </p:sp>
        <p:sp>
          <p:nvSpPr>
            <p:cNvPr id="10" name="Rectangle 38"/>
            <p:cNvSpPr>
              <a:spLocks noChangeArrowheads="1"/>
            </p:cNvSpPr>
            <p:nvPr userDrawn="1"/>
          </p:nvSpPr>
          <p:spPr bwMode="auto">
            <a:xfrm>
              <a:off x="6462" y="2071"/>
              <a:ext cx="320" cy="377"/>
            </a:xfrm>
            <a:prstGeom prst="rect">
              <a:avLst/>
            </a:prstGeom>
            <a:solidFill>
              <a:srgbClr val="941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4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2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8</a:t>
              </a:r>
            </a:p>
          </p:txBody>
        </p:sp>
        <p:sp>
          <p:nvSpPr>
            <p:cNvPr id="11" name="Rectangle 39"/>
            <p:cNvSpPr>
              <a:spLocks noChangeArrowheads="1"/>
            </p:cNvSpPr>
            <p:nvPr userDrawn="1"/>
          </p:nvSpPr>
          <p:spPr bwMode="auto">
            <a:xfrm>
              <a:off x="6462" y="2561"/>
              <a:ext cx="320" cy="377"/>
            </a:xfrm>
            <a:prstGeom prst="rect">
              <a:avLst/>
            </a:prstGeom>
            <a:solidFill>
              <a:srgbClr val="245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6</a:t>
              </a:r>
            </a:p>
          </p:txBody>
        </p:sp>
        <p:sp>
          <p:nvSpPr>
            <p:cNvPr id="12" name="Rectangle 40"/>
            <p:cNvSpPr>
              <a:spLocks noChangeArrowheads="1"/>
            </p:cNvSpPr>
            <p:nvPr userDrawn="1"/>
          </p:nvSpPr>
          <p:spPr bwMode="auto">
            <a:xfrm>
              <a:off x="6462" y="3541"/>
              <a:ext cx="320" cy="377"/>
            </a:xfrm>
            <a:prstGeom prst="rect">
              <a:avLst/>
            </a:prstGeom>
            <a:solidFill>
              <a:srgbClr val="BAD5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1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1</a:t>
              </a:r>
            </a:p>
          </p:txBody>
        </p:sp>
      </p:grpSp>
      <p:sp>
        <p:nvSpPr>
          <p:cNvPr id="161796" name="Rectangle 4"/>
          <p:cNvSpPr>
            <a:spLocks noGrp="1" noChangeArrowheads="1"/>
          </p:cNvSpPr>
          <p:nvPr>
            <p:ph type="ctrTitle"/>
          </p:nvPr>
        </p:nvSpPr>
        <p:spPr bwMode="auto">
          <a:xfrm>
            <a:off x="914017" y="2867173"/>
            <a:ext cx="10363969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1840" name="Rectangle 4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021774" y="1334901"/>
            <a:ext cx="3165378" cy="261610"/>
          </a:xfrm>
        </p:spPr>
        <p:txBody>
          <a:bodyPr/>
          <a:lstStyle>
            <a:lvl1pPr>
              <a:defRPr sz="17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84229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 userDrawn="1">
  <p:cSld name="3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">
            <a:extLst>
              <a:ext uri="{FF2B5EF4-FFF2-40B4-BE49-F238E27FC236}">
                <a16:creationId xmlns:a16="http://schemas.microsoft.com/office/drawing/2014/main" xmlns="" id="{51C0B361-6AB4-4DF7-B93E-FDC53E98EC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sp>
        <p:nvSpPr>
          <p:cNvPr id="6" name="TitleRectangle">
            <a:extLst>
              <a:ext uri="{FF2B5EF4-FFF2-40B4-BE49-F238E27FC236}">
                <a16:creationId xmlns:a16="http://schemas.microsoft.com/office/drawing/2014/main" xmlns="" id="{04449F8A-F3B0-4D59-8F40-FD315A0F00D3}"/>
              </a:ext>
            </a:extLst>
          </p:cNvPr>
          <p:cNvSpPr>
            <a:spLocks/>
          </p:cNvSpPr>
          <p:nvPr userDrawn="1"/>
        </p:nvSpPr>
        <p:spPr bwMode="white">
          <a:xfrm>
            <a:off x="5175162" y="1"/>
            <a:ext cx="7016838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43658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>
  <p:cSld name="4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 txBox="1">
            <a:spLocks noGrp="1"/>
          </p:cNvSpPr>
          <p:nvPr>
            <p:ph type="ctrTitle"/>
          </p:nvPr>
        </p:nvSpPr>
        <p:spPr>
          <a:xfrm>
            <a:off x="538412" y="2806411"/>
            <a:ext cx="9140082" cy="8913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102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1"/>
          </p:nvPr>
        </p:nvSpPr>
        <p:spPr>
          <a:xfrm>
            <a:off x="538411" y="5336813"/>
            <a:ext cx="520917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" name="Shape 17"/>
          <p:cNvSpPr txBox="1">
            <a:spLocks noGrp="1"/>
          </p:cNvSpPr>
          <p:nvPr>
            <p:ph type="body" idx="2"/>
          </p:nvPr>
        </p:nvSpPr>
        <p:spPr>
          <a:xfrm>
            <a:off x="538412" y="6159468"/>
            <a:ext cx="319353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41811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7785" y="602151"/>
            <a:ext cx="10856428" cy="415819"/>
          </a:xfrm>
        </p:spPr>
        <p:txBody>
          <a:bodyPr lIns="0" tIns="0" rIns="0" bIns="0"/>
          <a:lstStyle>
            <a:lvl1pPr>
              <a:defRPr sz="3002" b="1">
                <a:latin typeface="Proxima Nova Rg"/>
                <a:cs typeface="Proxima Nova Rg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976208" y="2384716"/>
            <a:ext cx="5853024" cy="246221"/>
          </a:xfrm>
        </p:spPr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marL="45435"/>
            <a:fld id="{81D60167-4931-47E6-BA6A-407CBD079E47}" type="slidenum">
              <a:rPr lang="en-US" sz="1334" b="1" spc="6" smtClean="0">
                <a:solidFill>
                  <a:srgbClr val="808083"/>
                </a:solidFill>
                <a:latin typeface="Proxima Nova Lt"/>
                <a:cs typeface="Proxima Nova Lt"/>
              </a:rPr>
              <a:pPr marL="45435"/>
              <a:t>‹#›</a:t>
            </a:fld>
            <a:endParaRPr lang="en-US" sz="1334">
              <a:latin typeface="Proxima Nova Lt"/>
              <a:cs typeface="Proxima Nova Lt"/>
            </a:endParaRPr>
          </a:p>
        </p:txBody>
      </p:sp>
    </p:spTree>
    <p:extLst>
      <p:ext uri="{BB962C8B-B14F-4D97-AF65-F5344CB8AC3E}">
        <p14:creationId xmlns:p14="http://schemas.microsoft.com/office/powerpoint/2010/main" val="400110044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1"/>
          <p:cNvGrpSpPr>
            <a:grpSpLocks/>
          </p:cNvGrpSpPr>
          <p:nvPr userDrawn="1"/>
        </p:nvGrpSpPr>
        <p:grpSpPr bwMode="auto">
          <a:xfrm>
            <a:off x="-1219200" y="762001"/>
            <a:ext cx="847969" cy="5334000"/>
            <a:chOff x="6462" y="601"/>
            <a:chExt cx="320" cy="3808"/>
          </a:xfrm>
        </p:grpSpPr>
        <p:sp>
          <p:nvSpPr>
            <p:cNvPr id="5" name="Rectangle 33"/>
            <p:cNvSpPr>
              <a:spLocks noChangeArrowheads="1"/>
            </p:cNvSpPr>
            <p:nvPr userDrawn="1"/>
          </p:nvSpPr>
          <p:spPr bwMode="auto">
            <a:xfrm>
              <a:off x="6462" y="601"/>
              <a:ext cx="320" cy="377"/>
            </a:xfrm>
            <a:prstGeom prst="rect">
              <a:avLst/>
            </a:prstGeom>
            <a:solidFill>
              <a:srgbClr val="317F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4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27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97</a:t>
              </a:r>
            </a:p>
          </p:txBody>
        </p:sp>
        <p:sp>
          <p:nvSpPr>
            <p:cNvPr id="6" name="Rectangle 34"/>
            <p:cNvSpPr>
              <a:spLocks noChangeArrowheads="1"/>
            </p:cNvSpPr>
            <p:nvPr userDrawn="1"/>
          </p:nvSpPr>
          <p:spPr bwMode="auto">
            <a:xfrm>
              <a:off x="6462" y="1091"/>
              <a:ext cx="320" cy="377"/>
            </a:xfrm>
            <a:prstGeom prst="rect">
              <a:avLst/>
            </a:prstGeom>
            <a:solidFill>
              <a:srgbClr val="37B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4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6</a:t>
              </a:r>
            </a:p>
          </p:txBody>
        </p:sp>
        <p:sp>
          <p:nvSpPr>
            <p:cNvPr id="7" name="Rectangle 35"/>
            <p:cNvSpPr>
              <a:spLocks noChangeArrowheads="1"/>
            </p:cNvSpPr>
            <p:nvPr userDrawn="1"/>
          </p:nvSpPr>
          <p:spPr bwMode="auto">
            <a:xfrm>
              <a:off x="6462" y="1581"/>
              <a:ext cx="320" cy="375"/>
            </a:xfrm>
            <a:prstGeom prst="rect">
              <a:avLst/>
            </a:prstGeom>
            <a:solidFill>
              <a:srgbClr val="FFCA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02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01</a:t>
              </a:r>
            </a:p>
          </p:txBody>
        </p:sp>
        <p:sp>
          <p:nvSpPr>
            <p:cNvPr id="8" name="Rectangle 36"/>
            <p:cNvSpPr>
              <a:spLocks noChangeArrowheads="1"/>
            </p:cNvSpPr>
            <p:nvPr userDrawn="1"/>
          </p:nvSpPr>
          <p:spPr bwMode="auto">
            <a:xfrm>
              <a:off x="6462" y="3051"/>
              <a:ext cx="320" cy="376"/>
            </a:xfrm>
            <a:prstGeom prst="rect">
              <a:avLst/>
            </a:prstGeom>
            <a:solidFill>
              <a:srgbClr val="4C7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7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1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66</a:t>
              </a:r>
            </a:p>
          </p:txBody>
        </p:sp>
        <p:sp>
          <p:nvSpPr>
            <p:cNvPr id="9" name="Rectangle 37"/>
            <p:cNvSpPr>
              <a:spLocks noChangeArrowheads="1"/>
            </p:cNvSpPr>
            <p:nvPr userDrawn="1"/>
          </p:nvSpPr>
          <p:spPr bwMode="auto">
            <a:xfrm>
              <a:off x="6462" y="4032"/>
              <a:ext cx="320" cy="377"/>
            </a:xfrm>
            <a:prstGeom prst="rect">
              <a:avLst/>
            </a:prstGeom>
            <a:solidFill>
              <a:srgbClr val="DFDF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</p:txBody>
        </p:sp>
        <p:sp>
          <p:nvSpPr>
            <p:cNvPr id="10" name="Rectangle 38"/>
            <p:cNvSpPr>
              <a:spLocks noChangeArrowheads="1"/>
            </p:cNvSpPr>
            <p:nvPr userDrawn="1"/>
          </p:nvSpPr>
          <p:spPr bwMode="auto">
            <a:xfrm>
              <a:off x="6462" y="2071"/>
              <a:ext cx="320" cy="377"/>
            </a:xfrm>
            <a:prstGeom prst="rect">
              <a:avLst/>
            </a:prstGeom>
            <a:solidFill>
              <a:srgbClr val="941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4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2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8</a:t>
              </a:r>
            </a:p>
          </p:txBody>
        </p:sp>
        <p:sp>
          <p:nvSpPr>
            <p:cNvPr id="11" name="Rectangle 39"/>
            <p:cNvSpPr>
              <a:spLocks noChangeArrowheads="1"/>
            </p:cNvSpPr>
            <p:nvPr userDrawn="1"/>
          </p:nvSpPr>
          <p:spPr bwMode="auto">
            <a:xfrm>
              <a:off x="6462" y="2561"/>
              <a:ext cx="320" cy="377"/>
            </a:xfrm>
            <a:prstGeom prst="rect">
              <a:avLst/>
            </a:prstGeom>
            <a:solidFill>
              <a:srgbClr val="245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6</a:t>
              </a:r>
            </a:p>
          </p:txBody>
        </p:sp>
        <p:sp>
          <p:nvSpPr>
            <p:cNvPr id="12" name="Rectangle 40"/>
            <p:cNvSpPr>
              <a:spLocks noChangeArrowheads="1"/>
            </p:cNvSpPr>
            <p:nvPr userDrawn="1"/>
          </p:nvSpPr>
          <p:spPr bwMode="auto">
            <a:xfrm>
              <a:off x="6462" y="3541"/>
              <a:ext cx="320" cy="377"/>
            </a:xfrm>
            <a:prstGeom prst="rect">
              <a:avLst/>
            </a:prstGeom>
            <a:solidFill>
              <a:srgbClr val="BAD5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1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1</a:t>
              </a:r>
            </a:p>
          </p:txBody>
        </p:sp>
      </p:grpSp>
      <p:sp>
        <p:nvSpPr>
          <p:cNvPr id="161796" name="Rectangle 4"/>
          <p:cNvSpPr>
            <a:spLocks noGrp="1" noChangeArrowheads="1"/>
          </p:cNvSpPr>
          <p:nvPr>
            <p:ph type="ctrTitle"/>
          </p:nvPr>
        </p:nvSpPr>
        <p:spPr bwMode="auto">
          <a:xfrm>
            <a:off x="914017" y="2867173"/>
            <a:ext cx="10363969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1840" name="Rectangle 4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021774" y="1334901"/>
            <a:ext cx="3165378" cy="261610"/>
          </a:xfrm>
        </p:spPr>
        <p:txBody>
          <a:bodyPr/>
          <a:lstStyle>
            <a:lvl1pPr>
              <a:defRPr sz="17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0584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 userDrawn="1">
  <p:cSld name="3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">
            <a:extLst>
              <a:ext uri="{FF2B5EF4-FFF2-40B4-BE49-F238E27FC236}">
                <a16:creationId xmlns:a16="http://schemas.microsoft.com/office/drawing/2014/main" xmlns="" id="{51C0B361-6AB4-4DF7-B93E-FDC53E98EC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sp>
        <p:nvSpPr>
          <p:cNvPr id="6" name="TitleRectangle">
            <a:extLst>
              <a:ext uri="{FF2B5EF4-FFF2-40B4-BE49-F238E27FC236}">
                <a16:creationId xmlns:a16="http://schemas.microsoft.com/office/drawing/2014/main" xmlns="" id="{04449F8A-F3B0-4D59-8F40-FD315A0F00D3}"/>
              </a:ext>
            </a:extLst>
          </p:cNvPr>
          <p:cNvSpPr>
            <a:spLocks/>
          </p:cNvSpPr>
          <p:nvPr userDrawn="1"/>
        </p:nvSpPr>
        <p:spPr bwMode="white">
          <a:xfrm>
            <a:off x="5175162" y="1"/>
            <a:ext cx="7016838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3975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>
  <p:cSld name="4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 txBox="1">
            <a:spLocks noGrp="1"/>
          </p:cNvSpPr>
          <p:nvPr>
            <p:ph type="ctrTitle"/>
          </p:nvPr>
        </p:nvSpPr>
        <p:spPr>
          <a:xfrm>
            <a:off x="538412" y="2806411"/>
            <a:ext cx="9140082" cy="8913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102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1"/>
          </p:nvPr>
        </p:nvSpPr>
        <p:spPr>
          <a:xfrm>
            <a:off x="538411" y="5336813"/>
            <a:ext cx="520917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" name="Shape 17"/>
          <p:cNvSpPr txBox="1">
            <a:spLocks noGrp="1"/>
          </p:cNvSpPr>
          <p:nvPr>
            <p:ph type="body" idx="2"/>
          </p:nvPr>
        </p:nvSpPr>
        <p:spPr>
          <a:xfrm>
            <a:off x="538412" y="6159468"/>
            <a:ext cx="319353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68074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7785" y="602151"/>
            <a:ext cx="10856428" cy="415819"/>
          </a:xfrm>
        </p:spPr>
        <p:txBody>
          <a:bodyPr lIns="0" tIns="0" rIns="0" bIns="0"/>
          <a:lstStyle>
            <a:lvl1pPr>
              <a:defRPr sz="3002" b="1">
                <a:latin typeface="Proxima Nova Rg"/>
                <a:cs typeface="Proxima Nova Rg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976208" y="2384716"/>
            <a:ext cx="5853024" cy="246221"/>
          </a:xfrm>
        </p:spPr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marL="45435"/>
            <a:fld id="{81D60167-4931-47E6-BA6A-407CBD079E47}" type="slidenum">
              <a:rPr lang="en-US" sz="1334" b="1" spc="6" smtClean="0">
                <a:solidFill>
                  <a:srgbClr val="808083"/>
                </a:solidFill>
                <a:latin typeface="Proxima Nova Lt"/>
                <a:cs typeface="Proxima Nova Lt"/>
              </a:rPr>
              <a:pPr marL="45435"/>
              <a:t>‹#›</a:t>
            </a:fld>
            <a:endParaRPr lang="en-US" sz="1334">
              <a:latin typeface="Proxima Nova Lt"/>
              <a:cs typeface="Proxima Nova Lt"/>
            </a:endParaRPr>
          </a:p>
        </p:txBody>
      </p:sp>
    </p:spTree>
    <p:extLst>
      <p:ext uri="{BB962C8B-B14F-4D97-AF65-F5344CB8AC3E}">
        <p14:creationId xmlns:p14="http://schemas.microsoft.com/office/powerpoint/2010/main" val="3362243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text" preserve="1">
  <p:cSld name="2_Title and tex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 txBox="1">
            <a:spLocks noGrp="1"/>
          </p:cNvSpPr>
          <p:nvPr>
            <p:ph type="body" idx="1"/>
          </p:nvPr>
        </p:nvSpPr>
        <p:spPr>
          <a:xfrm>
            <a:off x="241347" y="6650146"/>
            <a:ext cx="11263872" cy="188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466481" marR="0" lvl="0" indent="-23324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24" b="0" i="0" u="none" strike="noStrike" cap="none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330424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500"/>
              <a:buFont typeface="Arial"/>
              <a:buChar char="•"/>
              <a:defRPr sz="1224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26536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440"/>
              <a:buFont typeface="Arial"/>
              <a:buChar char="–"/>
              <a:defRPr sz="1224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26536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440"/>
              <a:buFont typeface="Arial"/>
              <a:buChar char="◦"/>
              <a:defRPr sz="1224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02434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068"/>
              <a:buFont typeface="Arial"/>
              <a:buChar char="-"/>
              <a:defRPr sz="1224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2457965" y="121419"/>
            <a:ext cx="9039152" cy="4773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65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2"/>
          </p:nvPr>
        </p:nvSpPr>
        <p:spPr>
          <a:xfrm>
            <a:off x="241346" y="6456628"/>
            <a:ext cx="11261130" cy="188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466481" marR="0" lvl="0" indent="-307100" algn="l" rtl="0">
              <a:spcBef>
                <a:spcPts val="0"/>
              </a:spcBef>
              <a:spcAft>
                <a:spcPts val="0"/>
              </a:spcAft>
              <a:buClr>
                <a:srgbClr val="8594A7"/>
              </a:buClr>
              <a:buSzPts val="1140"/>
              <a:buFont typeface="Trebuchet MS"/>
              <a:buAutoNum type="arabicPeriod"/>
              <a:defRPr sz="1224" b="0" i="0" u="none" strike="noStrike" cap="none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3"/>
          </p:nvPr>
        </p:nvSpPr>
        <p:spPr>
          <a:xfrm>
            <a:off x="2457965" y="613991"/>
            <a:ext cx="9039152" cy="328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66481" marR="0" lvl="0" indent="-233241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45" b="0" i="0" u="none" strike="noStrike" cap="none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  <p:sp>
        <p:nvSpPr>
          <p:cNvPr id="24" name="Shape 24"/>
          <p:cNvSpPr txBox="1">
            <a:spLocks noGrp="1"/>
          </p:cNvSpPr>
          <p:nvPr>
            <p:ph type="body" idx="4"/>
          </p:nvPr>
        </p:nvSpPr>
        <p:spPr>
          <a:xfrm>
            <a:off x="2963097" y="2258465"/>
            <a:ext cx="4906819" cy="1753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52398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1"/>
          <p:cNvGrpSpPr>
            <a:grpSpLocks/>
          </p:cNvGrpSpPr>
          <p:nvPr userDrawn="1"/>
        </p:nvGrpSpPr>
        <p:grpSpPr bwMode="auto">
          <a:xfrm>
            <a:off x="-1219200" y="762001"/>
            <a:ext cx="847969" cy="5334000"/>
            <a:chOff x="6462" y="601"/>
            <a:chExt cx="320" cy="3808"/>
          </a:xfrm>
        </p:grpSpPr>
        <p:sp>
          <p:nvSpPr>
            <p:cNvPr id="5" name="Rectangle 33"/>
            <p:cNvSpPr>
              <a:spLocks noChangeArrowheads="1"/>
            </p:cNvSpPr>
            <p:nvPr userDrawn="1"/>
          </p:nvSpPr>
          <p:spPr bwMode="auto">
            <a:xfrm>
              <a:off x="6462" y="601"/>
              <a:ext cx="320" cy="377"/>
            </a:xfrm>
            <a:prstGeom prst="rect">
              <a:avLst/>
            </a:prstGeom>
            <a:solidFill>
              <a:srgbClr val="317F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4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27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97</a:t>
              </a:r>
            </a:p>
          </p:txBody>
        </p:sp>
        <p:sp>
          <p:nvSpPr>
            <p:cNvPr id="6" name="Rectangle 34"/>
            <p:cNvSpPr>
              <a:spLocks noChangeArrowheads="1"/>
            </p:cNvSpPr>
            <p:nvPr userDrawn="1"/>
          </p:nvSpPr>
          <p:spPr bwMode="auto">
            <a:xfrm>
              <a:off x="6462" y="1091"/>
              <a:ext cx="320" cy="377"/>
            </a:xfrm>
            <a:prstGeom prst="rect">
              <a:avLst/>
            </a:prstGeom>
            <a:solidFill>
              <a:srgbClr val="37B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4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6</a:t>
              </a:r>
            </a:p>
          </p:txBody>
        </p:sp>
        <p:sp>
          <p:nvSpPr>
            <p:cNvPr id="7" name="Rectangle 35"/>
            <p:cNvSpPr>
              <a:spLocks noChangeArrowheads="1"/>
            </p:cNvSpPr>
            <p:nvPr userDrawn="1"/>
          </p:nvSpPr>
          <p:spPr bwMode="auto">
            <a:xfrm>
              <a:off x="6462" y="1581"/>
              <a:ext cx="320" cy="375"/>
            </a:xfrm>
            <a:prstGeom prst="rect">
              <a:avLst/>
            </a:prstGeom>
            <a:solidFill>
              <a:srgbClr val="FFCA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02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01</a:t>
              </a:r>
            </a:p>
          </p:txBody>
        </p:sp>
        <p:sp>
          <p:nvSpPr>
            <p:cNvPr id="8" name="Rectangle 36"/>
            <p:cNvSpPr>
              <a:spLocks noChangeArrowheads="1"/>
            </p:cNvSpPr>
            <p:nvPr userDrawn="1"/>
          </p:nvSpPr>
          <p:spPr bwMode="auto">
            <a:xfrm>
              <a:off x="6462" y="3051"/>
              <a:ext cx="320" cy="376"/>
            </a:xfrm>
            <a:prstGeom prst="rect">
              <a:avLst/>
            </a:prstGeom>
            <a:solidFill>
              <a:srgbClr val="4C7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7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1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66</a:t>
              </a:r>
            </a:p>
          </p:txBody>
        </p:sp>
        <p:sp>
          <p:nvSpPr>
            <p:cNvPr id="9" name="Rectangle 37"/>
            <p:cNvSpPr>
              <a:spLocks noChangeArrowheads="1"/>
            </p:cNvSpPr>
            <p:nvPr userDrawn="1"/>
          </p:nvSpPr>
          <p:spPr bwMode="auto">
            <a:xfrm>
              <a:off x="6462" y="4032"/>
              <a:ext cx="320" cy="377"/>
            </a:xfrm>
            <a:prstGeom prst="rect">
              <a:avLst/>
            </a:prstGeom>
            <a:solidFill>
              <a:srgbClr val="DFDF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</p:txBody>
        </p:sp>
        <p:sp>
          <p:nvSpPr>
            <p:cNvPr id="10" name="Rectangle 38"/>
            <p:cNvSpPr>
              <a:spLocks noChangeArrowheads="1"/>
            </p:cNvSpPr>
            <p:nvPr userDrawn="1"/>
          </p:nvSpPr>
          <p:spPr bwMode="auto">
            <a:xfrm>
              <a:off x="6462" y="2071"/>
              <a:ext cx="320" cy="377"/>
            </a:xfrm>
            <a:prstGeom prst="rect">
              <a:avLst/>
            </a:prstGeom>
            <a:solidFill>
              <a:srgbClr val="941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4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2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8</a:t>
              </a:r>
            </a:p>
          </p:txBody>
        </p:sp>
        <p:sp>
          <p:nvSpPr>
            <p:cNvPr id="11" name="Rectangle 39"/>
            <p:cNvSpPr>
              <a:spLocks noChangeArrowheads="1"/>
            </p:cNvSpPr>
            <p:nvPr userDrawn="1"/>
          </p:nvSpPr>
          <p:spPr bwMode="auto">
            <a:xfrm>
              <a:off x="6462" y="2561"/>
              <a:ext cx="320" cy="377"/>
            </a:xfrm>
            <a:prstGeom prst="rect">
              <a:avLst/>
            </a:prstGeom>
            <a:solidFill>
              <a:srgbClr val="245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6</a:t>
              </a:r>
            </a:p>
          </p:txBody>
        </p:sp>
        <p:sp>
          <p:nvSpPr>
            <p:cNvPr id="12" name="Rectangle 40"/>
            <p:cNvSpPr>
              <a:spLocks noChangeArrowheads="1"/>
            </p:cNvSpPr>
            <p:nvPr userDrawn="1"/>
          </p:nvSpPr>
          <p:spPr bwMode="auto">
            <a:xfrm>
              <a:off x="6462" y="3541"/>
              <a:ext cx="320" cy="377"/>
            </a:xfrm>
            <a:prstGeom prst="rect">
              <a:avLst/>
            </a:prstGeom>
            <a:solidFill>
              <a:srgbClr val="BAD5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1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1</a:t>
              </a:r>
            </a:p>
          </p:txBody>
        </p:sp>
      </p:grpSp>
      <p:sp>
        <p:nvSpPr>
          <p:cNvPr id="161796" name="Rectangle 4"/>
          <p:cNvSpPr>
            <a:spLocks noGrp="1" noChangeArrowheads="1"/>
          </p:cNvSpPr>
          <p:nvPr>
            <p:ph type="ctrTitle"/>
          </p:nvPr>
        </p:nvSpPr>
        <p:spPr bwMode="auto">
          <a:xfrm>
            <a:off x="914017" y="2867173"/>
            <a:ext cx="10363969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1840" name="Rectangle 4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021774" y="1334901"/>
            <a:ext cx="3165378" cy="261610"/>
          </a:xfrm>
        </p:spPr>
        <p:txBody>
          <a:bodyPr/>
          <a:lstStyle>
            <a:lvl1pPr>
              <a:defRPr sz="17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483342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 userDrawn="1">
  <p:cSld name="3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">
            <a:extLst>
              <a:ext uri="{FF2B5EF4-FFF2-40B4-BE49-F238E27FC236}">
                <a16:creationId xmlns:a16="http://schemas.microsoft.com/office/drawing/2014/main" xmlns="" id="{51C0B361-6AB4-4DF7-B93E-FDC53E98EC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sp>
        <p:nvSpPr>
          <p:cNvPr id="6" name="TitleRectangle">
            <a:extLst>
              <a:ext uri="{FF2B5EF4-FFF2-40B4-BE49-F238E27FC236}">
                <a16:creationId xmlns:a16="http://schemas.microsoft.com/office/drawing/2014/main" xmlns="" id="{04449F8A-F3B0-4D59-8F40-FD315A0F00D3}"/>
              </a:ext>
            </a:extLst>
          </p:cNvPr>
          <p:cNvSpPr>
            <a:spLocks/>
          </p:cNvSpPr>
          <p:nvPr userDrawn="1"/>
        </p:nvSpPr>
        <p:spPr bwMode="white">
          <a:xfrm>
            <a:off x="5175162" y="1"/>
            <a:ext cx="7016838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46508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>
  <p:cSld name="4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 txBox="1">
            <a:spLocks noGrp="1"/>
          </p:cNvSpPr>
          <p:nvPr>
            <p:ph type="ctrTitle"/>
          </p:nvPr>
        </p:nvSpPr>
        <p:spPr>
          <a:xfrm>
            <a:off x="538412" y="2806411"/>
            <a:ext cx="9140082" cy="8913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102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1"/>
          </p:nvPr>
        </p:nvSpPr>
        <p:spPr>
          <a:xfrm>
            <a:off x="538411" y="5336813"/>
            <a:ext cx="520917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" name="Shape 17"/>
          <p:cNvSpPr txBox="1">
            <a:spLocks noGrp="1"/>
          </p:cNvSpPr>
          <p:nvPr>
            <p:ph type="body" idx="2"/>
          </p:nvPr>
        </p:nvSpPr>
        <p:spPr>
          <a:xfrm>
            <a:off x="538412" y="6159468"/>
            <a:ext cx="319353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01764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7785" y="602151"/>
            <a:ext cx="10856428" cy="415819"/>
          </a:xfrm>
        </p:spPr>
        <p:txBody>
          <a:bodyPr lIns="0" tIns="0" rIns="0" bIns="0"/>
          <a:lstStyle>
            <a:lvl1pPr>
              <a:defRPr sz="3002" b="1">
                <a:latin typeface="Proxima Nova Rg"/>
                <a:cs typeface="Proxima Nova Rg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976208" y="2384716"/>
            <a:ext cx="5853024" cy="246221"/>
          </a:xfrm>
        </p:spPr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marL="45435"/>
            <a:fld id="{81D60167-4931-47E6-BA6A-407CBD079E47}" type="slidenum">
              <a:rPr lang="en-US" sz="1334" b="1" spc="6" smtClean="0">
                <a:solidFill>
                  <a:srgbClr val="808083"/>
                </a:solidFill>
                <a:latin typeface="Proxima Nova Lt"/>
                <a:cs typeface="Proxima Nova Lt"/>
              </a:rPr>
              <a:pPr marL="45435"/>
              <a:t>‹#›</a:t>
            </a:fld>
            <a:endParaRPr lang="en-US" sz="1334">
              <a:latin typeface="Proxima Nova Lt"/>
              <a:cs typeface="Proxima Nova Lt"/>
            </a:endParaRPr>
          </a:p>
        </p:txBody>
      </p:sp>
    </p:spTree>
    <p:extLst>
      <p:ext uri="{BB962C8B-B14F-4D97-AF65-F5344CB8AC3E}">
        <p14:creationId xmlns:p14="http://schemas.microsoft.com/office/powerpoint/2010/main" val="380072765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1"/>
          <p:cNvGrpSpPr>
            <a:grpSpLocks/>
          </p:cNvGrpSpPr>
          <p:nvPr userDrawn="1"/>
        </p:nvGrpSpPr>
        <p:grpSpPr bwMode="auto">
          <a:xfrm>
            <a:off x="-1219200" y="762001"/>
            <a:ext cx="847969" cy="5334000"/>
            <a:chOff x="6462" y="601"/>
            <a:chExt cx="320" cy="3808"/>
          </a:xfrm>
        </p:grpSpPr>
        <p:sp>
          <p:nvSpPr>
            <p:cNvPr id="5" name="Rectangle 33"/>
            <p:cNvSpPr>
              <a:spLocks noChangeArrowheads="1"/>
            </p:cNvSpPr>
            <p:nvPr userDrawn="1"/>
          </p:nvSpPr>
          <p:spPr bwMode="auto">
            <a:xfrm>
              <a:off x="6462" y="601"/>
              <a:ext cx="320" cy="377"/>
            </a:xfrm>
            <a:prstGeom prst="rect">
              <a:avLst/>
            </a:prstGeom>
            <a:solidFill>
              <a:srgbClr val="317F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4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27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97</a:t>
              </a:r>
            </a:p>
          </p:txBody>
        </p:sp>
        <p:sp>
          <p:nvSpPr>
            <p:cNvPr id="6" name="Rectangle 34"/>
            <p:cNvSpPr>
              <a:spLocks noChangeArrowheads="1"/>
            </p:cNvSpPr>
            <p:nvPr userDrawn="1"/>
          </p:nvSpPr>
          <p:spPr bwMode="auto">
            <a:xfrm>
              <a:off x="6462" y="1091"/>
              <a:ext cx="320" cy="377"/>
            </a:xfrm>
            <a:prstGeom prst="rect">
              <a:avLst/>
            </a:prstGeom>
            <a:solidFill>
              <a:srgbClr val="37B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4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6</a:t>
              </a:r>
            </a:p>
          </p:txBody>
        </p:sp>
        <p:sp>
          <p:nvSpPr>
            <p:cNvPr id="7" name="Rectangle 35"/>
            <p:cNvSpPr>
              <a:spLocks noChangeArrowheads="1"/>
            </p:cNvSpPr>
            <p:nvPr userDrawn="1"/>
          </p:nvSpPr>
          <p:spPr bwMode="auto">
            <a:xfrm>
              <a:off x="6462" y="1581"/>
              <a:ext cx="320" cy="375"/>
            </a:xfrm>
            <a:prstGeom prst="rect">
              <a:avLst/>
            </a:prstGeom>
            <a:solidFill>
              <a:srgbClr val="FFCA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02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01</a:t>
              </a:r>
            </a:p>
          </p:txBody>
        </p:sp>
        <p:sp>
          <p:nvSpPr>
            <p:cNvPr id="8" name="Rectangle 36"/>
            <p:cNvSpPr>
              <a:spLocks noChangeArrowheads="1"/>
            </p:cNvSpPr>
            <p:nvPr userDrawn="1"/>
          </p:nvSpPr>
          <p:spPr bwMode="auto">
            <a:xfrm>
              <a:off x="6462" y="3051"/>
              <a:ext cx="320" cy="376"/>
            </a:xfrm>
            <a:prstGeom prst="rect">
              <a:avLst/>
            </a:prstGeom>
            <a:solidFill>
              <a:srgbClr val="4C7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7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1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66</a:t>
              </a:r>
            </a:p>
          </p:txBody>
        </p:sp>
        <p:sp>
          <p:nvSpPr>
            <p:cNvPr id="9" name="Rectangle 37"/>
            <p:cNvSpPr>
              <a:spLocks noChangeArrowheads="1"/>
            </p:cNvSpPr>
            <p:nvPr userDrawn="1"/>
          </p:nvSpPr>
          <p:spPr bwMode="auto">
            <a:xfrm>
              <a:off x="6462" y="4032"/>
              <a:ext cx="320" cy="377"/>
            </a:xfrm>
            <a:prstGeom prst="rect">
              <a:avLst/>
            </a:prstGeom>
            <a:solidFill>
              <a:srgbClr val="DFDF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</p:txBody>
        </p:sp>
        <p:sp>
          <p:nvSpPr>
            <p:cNvPr id="10" name="Rectangle 38"/>
            <p:cNvSpPr>
              <a:spLocks noChangeArrowheads="1"/>
            </p:cNvSpPr>
            <p:nvPr userDrawn="1"/>
          </p:nvSpPr>
          <p:spPr bwMode="auto">
            <a:xfrm>
              <a:off x="6462" y="2071"/>
              <a:ext cx="320" cy="377"/>
            </a:xfrm>
            <a:prstGeom prst="rect">
              <a:avLst/>
            </a:prstGeom>
            <a:solidFill>
              <a:srgbClr val="941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4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2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8</a:t>
              </a:r>
            </a:p>
          </p:txBody>
        </p:sp>
        <p:sp>
          <p:nvSpPr>
            <p:cNvPr id="11" name="Rectangle 39"/>
            <p:cNvSpPr>
              <a:spLocks noChangeArrowheads="1"/>
            </p:cNvSpPr>
            <p:nvPr userDrawn="1"/>
          </p:nvSpPr>
          <p:spPr bwMode="auto">
            <a:xfrm>
              <a:off x="6462" y="2561"/>
              <a:ext cx="320" cy="377"/>
            </a:xfrm>
            <a:prstGeom prst="rect">
              <a:avLst/>
            </a:prstGeom>
            <a:solidFill>
              <a:srgbClr val="245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6</a:t>
              </a:r>
            </a:p>
          </p:txBody>
        </p:sp>
        <p:sp>
          <p:nvSpPr>
            <p:cNvPr id="12" name="Rectangle 40"/>
            <p:cNvSpPr>
              <a:spLocks noChangeArrowheads="1"/>
            </p:cNvSpPr>
            <p:nvPr userDrawn="1"/>
          </p:nvSpPr>
          <p:spPr bwMode="auto">
            <a:xfrm>
              <a:off x="6462" y="3541"/>
              <a:ext cx="320" cy="377"/>
            </a:xfrm>
            <a:prstGeom prst="rect">
              <a:avLst/>
            </a:prstGeom>
            <a:solidFill>
              <a:srgbClr val="BAD5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1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1</a:t>
              </a:r>
            </a:p>
          </p:txBody>
        </p:sp>
      </p:grpSp>
      <p:sp>
        <p:nvSpPr>
          <p:cNvPr id="161796" name="Rectangle 4"/>
          <p:cNvSpPr>
            <a:spLocks noGrp="1" noChangeArrowheads="1"/>
          </p:cNvSpPr>
          <p:nvPr>
            <p:ph type="ctrTitle"/>
          </p:nvPr>
        </p:nvSpPr>
        <p:spPr bwMode="auto">
          <a:xfrm>
            <a:off x="914017" y="2867173"/>
            <a:ext cx="10363969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1840" name="Rectangle 4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021774" y="1334901"/>
            <a:ext cx="3165378" cy="261610"/>
          </a:xfrm>
        </p:spPr>
        <p:txBody>
          <a:bodyPr/>
          <a:lstStyle>
            <a:lvl1pPr>
              <a:defRPr sz="17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809351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 userDrawn="1">
  <p:cSld name="3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">
            <a:extLst>
              <a:ext uri="{FF2B5EF4-FFF2-40B4-BE49-F238E27FC236}">
                <a16:creationId xmlns:a16="http://schemas.microsoft.com/office/drawing/2014/main" xmlns="" id="{51C0B361-6AB4-4DF7-B93E-FDC53E98EC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sp>
        <p:nvSpPr>
          <p:cNvPr id="6" name="TitleRectangle">
            <a:extLst>
              <a:ext uri="{FF2B5EF4-FFF2-40B4-BE49-F238E27FC236}">
                <a16:creationId xmlns:a16="http://schemas.microsoft.com/office/drawing/2014/main" xmlns="" id="{04449F8A-F3B0-4D59-8F40-FD315A0F00D3}"/>
              </a:ext>
            </a:extLst>
          </p:cNvPr>
          <p:cNvSpPr>
            <a:spLocks/>
          </p:cNvSpPr>
          <p:nvPr userDrawn="1"/>
        </p:nvSpPr>
        <p:spPr bwMode="white">
          <a:xfrm>
            <a:off x="5175162" y="1"/>
            <a:ext cx="7016838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1311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>
  <p:cSld name="4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 txBox="1">
            <a:spLocks noGrp="1"/>
          </p:cNvSpPr>
          <p:nvPr>
            <p:ph type="ctrTitle"/>
          </p:nvPr>
        </p:nvSpPr>
        <p:spPr>
          <a:xfrm>
            <a:off x="538412" y="2806411"/>
            <a:ext cx="9140082" cy="8913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102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51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1"/>
          </p:nvPr>
        </p:nvSpPr>
        <p:spPr>
          <a:xfrm>
            <a:off x="538411" y="5336813"/>
            <a:ext cx="520917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" name="Shape 17"/>
          <p:cNvSpPr txBox="1">
            <a:spLocks noGrp="1"/>
          </p:cNvSpPr>
          <p:nvPr>
            <p:ph type="body" idx="2"/>
          </p:nvPr>
        </p:nvSpPr>
        <p:spPr>
          <a:xfrm>
            <a:off x="538412" y="6159468"/>
            <a:ext cx="3193536" cy="61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66481" marR="0" lvl="0" indent="-233241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653" b="0" i="0" u="none" strike="noStrike" cap="none">
                <a:solidFill>
                  <a:srgbClr val="4E5C6D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62" marR="0" lvl="1" indent="-40331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43" marR="0" lvl="2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925" marR="0" lvl="3" indent="-39650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406" marR="0" lvl="4" indent="-35433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87" marR="0" lvl="5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368" marR="0" lvl="6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849" marR="0" lvl="7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330" marR="0" lvl="8" indent="-354331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43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72768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7785" y="602151"/>
            <a:ext cx="10856428" cy="415819"/>
          </a:xfrm>
        </p:spPr>
        <p:txBody>
          <a:bodyPr lIns="0" tIns="0" rIns="0" bIns="0"/>
          <a:lstStyle>
            <a:lvl1pPr>
              <a:defRPr sz="3002" b="1">
                <a:latin typeface="Proxima Nova Rg"/>
                <a:cs typeface="Proxima Nova Rg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976208" y="2384716"/>
            <a:ext cx="5853024" cy="246221"/>
          </a:xfrm>
        </p:spPr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marL="45435"/>
            <a:fld id="{81D60167-4931-47E6-BA6A-407CBD079E47}" type="slidenum">
              <a:rPr lang="en-US" sz="1334" b="1" spc="6" smtClean="0">
                <a:solidFill>
                  <a:srgbClr val="808083"/>
                </a:solidFill>
                <a:latin typeface="Proxima Nova Lt"/>
                <a:cs typeface="Proxima Nova Lt"/>
              </a:rPr>
              <a:pPr marL="45435"/>
              <a:t>‹#›</a:t>
            </a:fld>
            <a:endParaRPr lang="en-US" sz="1334">
              <a:latin typeface="Proxima Nova Lt"/>
              <a:cs typeface="Proxima Nova Lt"/>
            </a:endParaRPr>
          </a:p>
        </p:txBody>
      </p:sp>
    </p:spTree>
    <p:extLst>
      <p:ext uri="{BB962C8B-B14F-4D97-AF65-F5344CB8AC3E}">
        <p14:creationId xmlns:p14="http://schemas.microsoft.com/office/powerpoint/2010/main" val="180581839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1"/>
          <p:cNvGrpSpPr>
            <a:grpSpLocks/>
          </p:cNvGrpSpPr>
          <p:nvPr userDrawn="1"/>
        </p:nvGrpSpPr>
        <p:grpSpPr bwMode="auto">
          <a:xfrm>
            <a:off x="-1219200" y="762001"/>
            <a:ext cx="847969" cy="5334000"/>
            <a:chOff x="6462" y="601"/>
            <a:chExt cx="320" cy="3808"/>
          </a:xfrm>
        </p:grpSpPr>
        <p:sp>
          <p:nvSpPr>
            <p:cNvPr id="5" name="Rectangle 33"/>
            <p:cNvSpPr>
              <a:spLocks noChangeArrowheads="1"/>
            </p:cNvSpPr>
            <p:nvPr userDrawn="1"/>
          </p:nvSpPr>
          <p:spPr bwMode="auto">
            <a:xfrm>
              <a:off x="6462" y="601"/>
              <a:ext cx="320" cy="377"/>
            </a:xfrm>
            <a:prstGeom prst="rect">
              <a:avLst/>
            </a:prstGeom>
            <a:solidFill>
              <a:srgbClr val="317F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4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27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97</a:t>
              </a:r>
            </a:p>
          </p:txBody>
        </p:sp>
        <p:sp>
          <p:nvSpPr>
            <p:cNvPr id="6" name="Rectangle 34"/>
            <p:cNvSpPr>
              <a:spLocks noChangeArrowheads="1"/>
            </p:cNvSpPr>
            <p:nvPr userDrawn="1"/>
          </p:nvSpPr>
          <p:spPr bwMode="auto">
            <a:xfrm>
              <a:off x="6462" y="1091"/>
              <a:ext cx="320" cy="377"/>
            </a:xfrm>
            <a:prstGeom prst="rect">
              <a:avLst/>
            </a:prstGeom>
            <a:solidFill>
              <a:srgbClr val="37B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4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6</a:t>
              </a:r>
            </a:p>
          </p:txBody>
        </p:sp>
        <p:sp>
          <p:nvSpPr>
            <p:cNvPr id="7" name="Rectangle 35"/>
            <p:cNvSpPr>
              <a:spLocks noChangeArrowheads="1"/>
            </p:cNvSpPr>
            <p:nvPr userDrawn="1"/>
          </p:nvSpPr>
          <p:spPr bwMode="auto">
            <a:xfrm>
              <a:off x="6462" y="1581"/>
              <a:ext cx="320" cy="375"/>
            </a:xfrm>
            <a:prstGeom prst="rect">
              <a:avLst/>
            </a:prstGeom>
            <a:solidFill>
              <a:srgbClr val="FFCA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5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02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001</a:t>
              </a:r>
            </a:p>
          </p:txBody>
        </p:sp>
        <p:sp>
          <p:nvSpPr>
            <p:cNvPr id="8" name="Rectangle 36"/>
            <p:cNvSpPr>
              <a:spLocks noChangeArrowheads="1"/>
            </p:cNvSpPr>
            <p:nvPr userDrawn="1"/>
          </p:nvSpPr>
          <p:spPr bwMode="auto">
            <a:xfrm>
              <a:off x="6462" y="3051"/>
              <a:ext cx="320" cy="376"/>
            </a:xfrm>
            <a:prstGeom prst="rect">
              <a:avLst/>
            </a:prstGeom>
            <a:solidFill>
              <a:srgbClr val="4C7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79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1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066</a:t>
              </a:r>
            </a:p>
          </p:txBody>
        </p:sp>
        <p:sp>
          <p:nvSpPr>
            <p:cNvPr id="9" name="Rectangle 37"/>
            <p:cNvSpPr>
              <a:spLocks noChangeArrowheads="1"/>
            </p:cNvSpPr>
            <p:nvPr userDrawn="1"/>
          </p:nvSpPr>
          <p:spPr bwMode="auto">
            <a:xfrm>
              <a:off x="6462" y="4032"/>
              <a:ext cx="320" cy="377"/>
            </a:xfrm>
            <a:prstGeom prst="rect">
              <a:avLst/>
            </a:prstGeom>
            <a:solidFill>
              <a:srgbClr val="DFDF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23</a:t>
              </a:r>
            </a:p>
          </p:txBody>
        </p:sp>
        <p:sp>
          <p:nvSpPr>
            <p:cNvPr id="10" name="Rectangle 38"/>
            <p:cNvSpPr>
              <a:spLocks noChangeArrowheads="1"/>
            </p:cNvSpPr>
            <p:nvPr userDrawn="1"/>
          </p:nvSpPr>
          <p:spPr bwMode="auto">
            <a:xfrm>
              <a:off x="6462" y="2071"/>
              <a:ext cx="320" cy="377"/>
            </a:xfrm>
            <a:prstGeom prst="rect">
              <a:avLst/>
            </a:prstGeom>
            <a:solidFill>
              <a:srgbClr val="941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14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2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8</a:t>
              </a:r>
            </a:p>
          </p:txBody>
        </p:sp>
        <p:sp>
          <p:nvSpPr>
            <p:cNvPr id="11" name="Rectangle 39"/>
            <p:cNvSpPr>
              <a:spLocks noChangeArrowheads="1"/>
            </p:cNvSpPr>
            <p:nvPr userDrawn="1"/>
          </p:nvSpPr>
          <p:spPr bwMode="auto">
            <a:xfrm>
              <a:off x="6462" y="2561"/>
              <a:ext cx="320" cy="377"/>
            </a:xfrm>
            <a:prstGeom prst="rect">
              <a:avLst/>
            </a:prstGeom>
            <a:solidFill>
              <a:srgbClr val="245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3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FFFFFF"/>
                  </a:solidFill>
                  <a:latin typeface="Arial" charset="0"/>
                  <a:cs typeface="Arial" charset="0"/>
                </a:rPr>
                <a:t>96</a:t>
              </a:r>
            </a:p>
          </p:txBody>
        </p:sp>
        <p:sp>
          <p:nvSpPr>
            <p:cNvPr id="12" name="Rectangle 40"/>
            <p:cNvSpPr>
              <a:spLocks noChangeArrowheads="1"/>
            </p:cNvSpPr>
            <p:nvPr userDrawn="1"/>
          </p:nvSpPr>
          <p:spPr bwMode="auto">
            <a:xfrm>
              <a:off x="6462" y="3541"/>
              <a:ext cx="320" cy="377"/>
            </a:xfrm>
            <a:prstGeom prst="rect">
              <a:avLst/>
            </a:prstGeom>
            <a:solidFill>
              <a:srgbClr val="BAD5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8" tIns="45710" rIns="91418" bIns="4571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186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13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231</a:t>
              </a:r>
            </a:p>
          </p:txBody>
        </p:sp>
      </p:grpSp>
      <p:sp>
        <p:nvSpPr>
          <p:cNvPr id="161796" name="Rectangle 4"/>
          <p:cNvSpPr>
            <a:spLocks noGrp="1" noChangeArrowheads="1"/>
          </p:cNvSpPr>
          <p:nvPr>
            <p:ph type="ctrTitle"/>
          </p:nvPr>
        </p:nvSpPr>
        <p:spPr bwMode="auto">
          <a:xfrm>
            <a:off x="914017" y="2867173"/>
            <a:ext cx="10363969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1840" name="Rectangle 4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021774" y="1334901"/>
            <a:ext cx="3165378" cy="261610"/>
          </a:xfrm>
        </p:spPr>
        <p:txBody>
          <a:bodyPr/>
          <a:lstStyle>
            <a:lvl1pPr>
              <a:defRPr sz="17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589547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" userDrawn="1">
  <p:cSld name="3_Title Slide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">
            <a:extLst>
              <a:ext uri="{FF2B5EF4-FFF2-40B4-BE49-F238E27FC236}">
                <a16:creationId xmlns:a16="http://schemas.microsoft.com/office/drawing/2014/main" xmlns="" id="{51C0B361-6AB4-4DF7-B93E-FDC53E98EC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sp>
        <p:nvSpPr>
          <p:cNvPr id="6" name="TitleRectangle">
            <a:extLst>
              <a:ext uri="{FF2B5EF4-FFF2-40B4-BE49-F238E27FC236}">
                <a16:creationId xmlns:a16="http://schemas.microsoft.com/office/drawing/2014/main" xmlns="" id="{04449F8A-F3B0-4D59-8F40-FD315A0F00D3}"/>
              </a:ext>
            </a:extLst>
          </p:cNvPr>
          <p:cNvSpPr>
            <a:spLocks/>
          </p:cNvSpPr>
          <p:nvPr userDrawn="1"/>
        </p:nvSpPr>
        <p:spPr bwMode="white">
          <a:xfrm>
            <a:off x="5175162" y="1"/>
            <a:ext cx="7016838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32272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85.xml"/><Relationship Id="rId7" Type="http://schemas.openxmlformats.org/officeDocument/2006/relationships/tags" Target="../tags/tag21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vmlDrawing" Target="../drawings/vmlDrawing12.vml"/><Relationship Id="rId5" Type="http://schemas.openxmlformats.org/officeDocument/2006/relationships/theme" Target="../theme/theme1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6.xml"/><Relationship Id="rId9" Type="http://schemas.openxmlformats.org/officeDocument/2006/relationships/oleObject" Target="../embeddings/oleObject12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slideLayout" Target="../slideLayouts/slideLayout89.xml"/><Relationship Id="rId7" Type="http://schemas.openxmlformats.org/officeDocument/2006/relationships/tags" Target="../tags/tag23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vmlDrawing" Target="../drawings/vmlDrawing13.vml"/><Relationship Id="rId5" Type="http://schemas.openxmlformats.org/officeDocument/2006/relationships/theme" Target="../theme/theme1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0.xml"/><Relationship Id="rId9" Type="http://schemas.openxmlformats.org/officeDocument/2006/relationships/oleObject" Target="../embeddings/oleObject13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3" Type="http://schemas.openxmlformats.org/officeDocument/2006/relationships/slideLayout" Target="../slideLayouts/slideLayout93.xml"/><Relationship Id="rId7" Type="http://schemas.openxmlformats.org/officeDocument/2006/relationships/tags" Target="../tags/tag25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vmlDrawing" Target="../drawings/vmlDrawing14.vml"/><Relationship Id="rId5" Type="http://schemas.openxmlformats.org/officeDocument/2006/relationships/theme" Target="../theme/theme1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4.xml"/><Relationship Id="rId9" Type="http://schemas.openxmlformats.org/officeDocument/2006/relationships/oleObject" Target="../embeddings/oleObject14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slideLayout" Target="../slideLayouts/slideLayout97.xml"/><Relationship Id="rId7" Type="http://schemas.openxmlformats.org/officeDocument/2006/relationships/tags" Target="../tags/tag27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vmlDrawing" Target="../drawings/vmlDrawing15.vml"/><Relationship Id="rId5" Type="http://schemas.openxmlformats.org/officeDocument/2006/relationships/theme" Target="../theme/theme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8.xml"/><Relationship Id="rId9" Type="http://schemas.openxmlformats.org/officeDocument/2006/relationships/oleObject" Target="../embeddings/oleObject15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slideLayout" Target="../slideLayouts/slideLayout101.xml"/><Relationship Id="rId7" Type="http://schemas.openxmlformats.org/officeDocument/2006/relationships/tags" Target="../tags/tag29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vmlDrawing" Target="../drawings/vmlDrawing16.vml"/><Relationship Id="rId5" Type="http://schemas.openxmlformats.org/officeDocument/2006/relationships/theme" Target="../theme/theme1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2.xml"/><Relationship Id="rId9" Type="http://schemas.openxmlformats.org/officeDocument/2006/relationships/oleObject" Target="../embeddings/oleObject16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slideLayout" Target="../slideLayouts/slideLayout105.xml"/><Relationship Id="rId7" Type="http://schemas.openxmlformats.org/officeDocument/2006/relationships/tags" Target="../tags/tag32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tags" Target="../tags/tag31.xml"/><Relationship Id="rId5" Type="http://schemas.openxmlformats.org/officeDocument/2006/relationships/vmlDrawing" Target="../drawings/vmlDrawing17.vml"/><Relationship Id="rId4" Type="http://schemas.openxmlformats.org/officeDocument/2006/relationships/theme" Target="../theme/theme15.xml"/><Relationship Id="rId9" Type="http://schemas.openxmlformats.org/officeDocument/2006/relationships/image" Target="../media/image1.emf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slideLayout" Target="../slideLayouts/slideLayout108.xml"/><Relationship Id="rId7" Type="http://schemas.openxmlformats.org/officeDocument/2006/relationships/tags" Target="../tags/tag33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vmlDrawing" Target="../drawings/vmlDrawing18.vml"/><Relationship Id="rId5" Type="http://schemas.openxmlformats.org/officeDocument/2006/relationships/theme" Target="../theme/theme1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9.xml"/><Relationship Id="rId9" Type="http://schemas.openxmlformats.org/officeDocument/2006/relationships/oleObject" Target="../embeddings/oleObject18.bin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2.xml"/><Relationship Id="rId18" Type="http://schemas.openxmlformats.org/officeDocument/2006/relationships/theme" Target="../theme/theme17.xml"/><Relationship Id="rId3" Type="http://schemas.openxmlformats.org/officeDocument/2006/relationships/slideLayout" Target="../slideLayouts/slideLayout112.xml"/><Relationship Id="rId21" Type="http://schemas.openxmlformats.org/officeDocument/2006/relationships/oleObject" Target="../embeddings/oleObject19.bin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11.xml"/><Relationship Id="rId16" Type="http://schemas.openxmlformats.org/officeDocument/2006/relationships/slideLayout" Target="../slideLayouts/slideLayout125.xml"/><Relationship Id="rId20" Type="http://schemas.openxmlformats.org/officeDocument/2006/relationships/tags" Target="../tags/tag35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4.xml"/><Relationship Id="rId10" Type="http://schemas.openxmlformats.org/officeDocument/2006/relationships/slideLayout" Target="../slideLayouts/slideLayout119.xml"/><Relationship Id="rId19" Type="http://schemas.openxmlformats.org/officeDocument/2006/relationships/vmlDrawing" Target="../drawings/vmlDrawing19.v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Relationship Id="rId22" Type="http://schemas.openxmlformats.org/officeDocument/2006/relationships/image" Target="../media/image3.emf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9.xml"/><Relationship Id="rId7" Type="http://schemas.openxmlformats.org/officeDocument/2006/relationships/theme" Target="../theme/theme18.xml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30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7.vml"/><Relationship Id="rId3" Type="http://schemas.openxmlformats.org/officeDocument/2006/relationships/slideLayout" Target="../slideLayouts/slideLayout135.xml"/><Relationship Id="rId7" Type="http://schemas.openxmlformats.org/officeDocument/2006/relationships/theme" Target="../theme/theme19.xml"/><Relationship Id="rId12" Type="http://schemas.openxmlformats.org/officeDocument/2006/relationships/image" Target="../media/image14.emf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oleObject" Target="../embeddings/oleObject37.bin"/><Relationship Id="rId5" Type="http://schemas.openxmlformats.org/officeDocument/2006/relationships/slideLayout" Target="../slideLayouts/slideLayout137.xml"/><Relationship Id="rId10" Type="http://schemas.openxmlformats.org/officeDocument/2006/relationships/tags" Target="../tags/tag54.xml"/><Relationship Id="rId4" Type="http://schemas.openxmlformats.org/officeDocument/2006/relationships/slideLayout" Target="../slideLayouts/slideLayout136.xml"/><Relationship Id="rId9" Type="http://schemas.openxmlformats.org/officeDocument/2006/relationships/tags" Target="../tags/tag5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2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vmlDrawing" Target="../drawings/vmlDrawing4.v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theme" Target="../theme/theme20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slideLayout" Target="../slideLayouts/slideLayout143.xml"/><Relationship Id="rId7" Type="http://schemas.openxmlformats.org/officeDocument/2006/relationships/tags" Target="../tags/tag57.xml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vmlDrawing" Target="../drawings/vmlDrawing39.vml"/><Relationship Id="rId5" Type="http://schemas.openxmlformats.org/officeDocument/2006/relationships/theme" Target="../theme/theme2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44.xml"/><Relationship Id="rId9" Type="http://schemas.openxmlformats.org/officeDocument/2006/relationships/oleObject" Target="../embeddings/oleObject39.bin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theme" Target="../theme/theme22.xml"/><Relationship Id="rId5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4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theme" Target="../theme/theme5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3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slideLayout" Target="../slideLayouts/slideLayout69.xml"/><Relationship Id="rId7" Type="http://schemas.openxmlformats.org/officeDocument/2006/relationships/tags" Target="../tags/tag13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vmlDrawing" Target="../drawings/vmlDrawing8.vml"/><Relationship Id="rId5" Type="http://schemas.openxmlformats.org/officeDocument/2006/relationships/theme" Target="../theme/theme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70.xml"/><Relationship Id="rId9" Type="http://schemas.openxmlformats.org/officeDocument/2006/relationships/oleObject" Target="../embeddings/oleObject8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slideLayout" Target="../slideLayouts/slideLayout73.xml"/><Relationship Id="rId7" Type="http://schemas.openxmlformats.org/officeDocument/2006/relationships/tags" Target="../tags/tag15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vmlDrawing" Target="../drawings/vmlDrawing9.vml"/><Relationship Id="rId5" Type="http://schemas.openxmlformats.org/officeDocument/2006/relationships/theme" Target="../theme/theme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74.xml"/><Relationship Id="rId9" Type="http://schemas.openxmlformats.org/officeDocument/2006/relationships/oleObject" Target="../embeddings/oleObject9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slideLayout" Target="../slideLayouts/slideLayout77.xml"/><Relationship Id="rId7" Type="http://schemas.openxmlformats.org/officeDocument/2006/relationships/tags" Target="../tags/tag17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78.xml"/><Relationship Id="rId9" Type="http://schemas.openxmlformats.org/officeDocument/2006/relationships/oleObject" Target="../embeddings/oleObject10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slideLayout" Target="../slideLayouts/slideLayout81.xml"/><Relationship Id="rId7" Type="http://schemas.openxmlformats.org/officeDocument/2006/relationships/tags" Target="../tags/tag19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vmlDrawing" Target="../drawings/vmlDrawing11.vml"/><Relationship Id="rId5" Type="http://schemas.openxmlformats.org/officeDocument/2006/relationships/theme" Target="../theme/theme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2.xml"/><Relationship Id="rId9" Type="http://schemas.openxmlformats.org/officeDocument/2006/relationships/oleObject" Target="../embeddings/oleObject1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25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3C70EE7B-8A80-42ED-830D-189F7B08921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231769"/>
            <a:ext cx="1119218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7" y="39203"/>
            <a:ext cx="540212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7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 Narrow"/>
                <a:ea typeface="+mn-ea"/>
                <a:cs typeface="Arial" panose="020B0604020202020204" pitchFamily="34" charset="0"/>
                <a:sym typeface="Arial Narrow" panose="020B060602020203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624558"/>
            <a:ext cx="111664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/>
            </a:pP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Arial Narrow" panose="020B0606020202030204" pitchFamily="34" charset="0"/>
              </a:rPr>
              <a:t>Unit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Arial Narrow" panose="020B0606020202030204" pitchFamily="34" charset="0"/>
              </a:rPr>
              <a:t>of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Arial Narrow" panose="020B0606020202030204" pitchFamily="34" charset="0"/>
              </a:rPr>
              <a:t>measure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7" name="Group 6" hidden="1"/>
          <p:cNvGrpSpPr/>
          <p:nvPr/>
        </p:nvGrpSpPr>
        <p:grpSpPr>
          <a:xfrm>
            <a:off x="161986" y="6346474"/>
            <a:ext cx="11458513" cy="380605"/>
            <a:chOff x="694372" y="6247387"/>
            <a:chExt cx="10487978" cy="380604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694372" y="6247387"/>
              <a:ext cx="10487978" cy="164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4775" marR="0" lvl="0" indent="-104775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lang="ru-RU"/>
              </a:pPr>
              <a:r>
                <a:rPr kumimoji="0" lang="ru-RU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  <a:sym typeface="Arial Narrow" panose="020B0606020202030204" pitchFamily="34" charset="0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694372" y="6463779"/>
              <a:ext cx="10487978" cy="164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>
              <a:spAutoFit/>
            </a:bodyPr>
            <a:lstStyle/>
            <a:p>
              <a:pPr marL="846158" marR="0" lvl="0" indent="-846158" algn="l" defTabSz="1242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50563" algn="l"/>
                </a:tabLst>
                <a:defRPr/>
              </a:pPr>
              <a:r>
                <a:rPr kumimoji="0" lang="ru-RU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 Narrow"/>
                  <a:ea typeface="+mn-ea"/>
                  <a:cs typeface="Arial" panose="020B0604020202020204" pitchFamily="34" charset="0"/>
                  <a:sym typeface="Arial Narrow" panose="020B0606020202030204" pitchFamily="34" charset="0"/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2384716"/>
            <a:ext cx="5853024" cy="12311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68510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 Narrow"/>
                  <a:ea typeface="+mn-ea"/>
                  <a:cs typeface="Arial" panose="020B0604020202020204" pitchFamily="34" charset="0"/>
                  <a:sym typeface="Arial Narrow" panose="020B0606020202030204" pitchFamily="34" charset="0"/>
                </a:rPr>
                <a:t>Titl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 Narrow"/>
                  <a:ea typeface="+mn-ea"/>
                  <a:cs typeface="Arial" panose="020B0604020202020204" pitchFamily="34" charset="0"/>
                  <a:sym typeface="Arial Narrow" panose="020B0606020202030204" pitchFamily="34" charset="0"/>
                </a:rPr>
                <a:t>Unit of measure</a:t>
              </a:r>
            </a:p>
          </p:txBody>
        </p:sp>
      </p:grpSp>
      <p:sp>
        <p:nvSpPr>
          <p:cNvPr id="64" name="Slide Number"/>
          <p:cNvSpPr txBox="1">
            <a:spLocks/>
          </p:cNvSpPr>
          <p:nvPr/>
        </p:nvSpPr>
        <p:spPr bwMode="auto">
          <a:xfrm>
            <a:off x="11885344" y="6562854"/>
            <a:ext cx="136256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1067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 Narrow"/>
                <a:ea typeface="+mn-ea"/>
                <a:cs typeface="Arial" panose="020B0604020202020204" pitchFamily="34" charset="0"/>
                <a:sym typeface="Arial Narrow" panose="020B060602020203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67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 Narrow"/>
              <a:ea typeface="+mn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17" name="McKSticker" hidden="1"/>
          <p:cNvGrpSpPr/>
          <p:nvPr/>
        </p:nvGrpSpPr>
        <p:grpSpPr bwMode="gray">
          <a:xfrm>
            <a:off x="11584362" y="690217"/>
            <a:ext cx="452495" cy="171265"/>
            <a:chOff x="8408181" y="285750"/>
            <a:chExt cx="332594" cy="16785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8181" y="285750"/>
              <a:ext cx="332594" cy="16785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1242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933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 Narrow"/>
                  <a:ea typeface="+mn-ea"/>
                  <a:cs typeface="Arial" panose="020B0604020202020204" pitchFamily="34" charset="0"/>
                  <a:sym typeface="Arial Narrow" panose="020B060602020203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8181" y="285750"/>
              <a:ext cx="0" cy="16785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8181" y="453607"/>
              <a:ext cx="332594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Freeform 6"/>
          <p:cNvSpPr>
            <a:spLocks/>
          </p:cNvSpPr>
          <p:nvPr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</p:spPr>
        <p:txBody>
          <a:bodyPr lIns="102615" tIns="102615" rIns="102615" bIns="102615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>
              <a:ln>
                <a:noFill/>
              </a:ln>
              <a:solidFill>
                <a:srgbClr val="787E7F"/>
              </a:solidFill>
              <a:effectLst/>
              <a:uLnTx/>
              <a:uFillTx/>
              <a:latin typeface="Arial Narrow"/>
              <a:ea typeface="+mn-ea"/>
              <a:cs typeface="+mn-cs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7849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1242792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374600" algn="l"/>
        </a:tabLst>
        <a:defRPr lang="ru-RU" sz="2400" b="0" baseline="0">
          <a:solidFill>
            <a:srgbClr val="5D6578"/>
          </a:solidFill>
          <a:latin typeface="Arial Narrow" panose="020B0606020202030204" pitchFamily="34" charset="0"/>
          <a:ea typeface="+mj-ea"/>
          <a:cs typeface="Arial" panose="020B0604020202020204" pitchFamily="34" charset="0"/>
          <a:sym typeface="Arial Narrow" panose="020B0606020202030204" pitchFamily="34" charset="0"/>
        </a:defRPr>
      </a:lvl1pPr>
      <a:lvl2pPr algn="l" defTabSz="1242792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2pPr>
      <a:lvl3pPr algn="l" defTabSz="1242792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3pPr>
      <a:lvl4pPr algn="l" defTabSz="1242792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4pPr>
      <a:lvl5pPr algn="l" defTabSz="1242792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5pPr>
      <a:lvl6pPr marL="634616" algn="l" defTabSz="1242792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6pPr>
      <a:lvl7pPr marL="1269234" algn="l" defTabSz="1242792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7pPr>
      <a:lvl8pPr marL="1903850" algn="l" defTabSz="1242792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8pPr>
      <a:lvl9pPr marL="2538467" algn="l" defTabSz="1242792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427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600" baseline="0">
          <a:solidFill>
            <a:schemeClr val="tx1"/>
          </a:solidFill>
          <a:latin typeface="Arial Narrow" panose="020B0606020202030204" pitchFamily="34" charset="0"/>
          <a:ea typeface="+mn-ea"/>
          <a:cs typeface="Arial" panose="020B0604020202020204" pitchFamily="34" charset="0"/>
          <a:sym typeface="Arial Narrow" panose="020B0606020202030204" pitchFamily="34" charset="0"/>
        </a:defRPr>
      </a:lvl1pPr>
      <a:lvl2pPr marL="268831" indent="-266628" algn="l" defTabSz="124279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2pPr>
      <a:lvl3pPr marL="634616" indent="-363583" algn="l" defTabSz="124279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3pPr>
      <a:lvl4pPr marL="852768" indent="-215947" algn="l" defTabSz="124279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4pPr>
      <a:lvl5pPr marL="1040773" indent="-180690" algn="l" defTabSz="124279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5pPr>
      <a:lvl6pPr marL="1040773" indent="-180690" algn="l" defTabSz="12427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6pPr>
      <a:lvl7pPr marL="1040773" indent="-180690" algn="l" defTabSz="12427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7pPr>
      <a:lvl8pPr marL="1040773" indent="-180690" algn="l" defTabSz="12427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8pPr>
      <a:lvl9pPr marL="1040773" indent="-180690" algn="l" defTabSz="12427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69234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1pPr>
      <a:lvl2pPr marL="634616" algn="l" defTabSz="1269234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2pPr>
      <a:lvl3pPr marL="1269234" algn="l" defTabSz="1269234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3pPr>
      <a:lvl4pPr marL="1903850" algn="l" defTabSz="1269234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4pPr>
      <a:lvl5pPr marL="2538467" algn="l" defTabSz="1269234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5pPr>
      <a:lvl6pPr marL="3173083" algn="l" defTabSz="1269234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807701" algn="l" defTabSz="1269234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442317" algn="l" defTabSz="1269234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076936" algn="l" defTabSz="1269234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38912671"/>
              </p:ext>
            </p:ext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52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err="1">
              <a:solidFill>
                <a:schemeClr val="tx1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231770"/>
            <a:ext cx="11192189" cy="332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8" y="39204"/>
            <a:ext cx="546286" cy="167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066" cap="all" dirty="0">
                <a:solidFill>
                  <a:srgbClr val="808080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624559"/>
            <a:ext cx="111664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ru-RU"/>
            </a:pP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Unit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of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measure</a:t>
            </a:r>
            <a:endParaRPr sz="1600" dirty="0">
              <a:solidFill>
                <a:srgbClr val="808080"/>
              </a:solidFill>
              <a:latin typeface="Arial Narrow" panose="020B0606020202030204" pitchFamily="34" charset="0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7" name="Group 6" hidden="1"/>
          <p:cNvGrpSpPr/>
          <p:nvPr/>
        </p:nvGrpSpPr>
        <p:grpSpPr>
          <a:xfrm>
            <a:off x="161986" y="6343332"/>
            <a:ext cx="11458514" cy="385311"/>
            <a:chOff x="694372" y="6244249"/>
            <a:chExt cx="10487978" cy="38531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694372" y="624424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ru-RU"/>
              </a:pPr>
              <a:r>
                <a:rPr sz="1066" dirty="0">
                  <a:solidFill>
                    <a:srgbClr val="595959"/>
                  </a:solidFill>
                  <a:latin typeface="Arial Narrow" panose="020B060602020203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694372" y="646220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>
              <a:spAutoFit/>
            </a:bodyPr>
            <a:lstStyle/>
            <a:p>
              <a:pPr marL="846176" indent="-846176" defTabSz="1242817">
                <a:tabLst>
                  <a:tab pos="850580" algn="l"/>
                </a:tabLst>
              </a:pPr>
              <a:r>
                <a:rPr lang="ru-RU" sz="1066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2384716"/>
            <a:ext cx="5853024" cy="12311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8" y="1673767"/>
            <a:ext cx="5801188" cy="521560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Title</a:t>
              </a:r>
            </a:p>
            <a:p>
              <a:r>
                <a:rPr lang="ru-RU" sz="1600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Unit of measure</a:t>
              </a:r>
            </a:p>
          </p:txBody>
        </p:sp>
      </p:grpSp>
      <p:sp>
        <p:nvSpPr>
          <p:cNvPr id="64" name="Slide Number"/>
          <p:cNvSpPr txBox="1">
            <a:spLocks/>
          </p:cNvSpPr>
          <p:nvPr/>
        </p:nvSpPr>
        <p:spPr bwMode="auto">
          <a:xfrm>
            <a:off x="11883958" y="6561285"/>
            <a:ext cx="139026" cy="16735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sz="1066" smtClean="0">
                <a:solidFill>
                  <a:srgbClr val="595959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pPr algn="ctr"/>
              <a:t>‹#›</a:t>
            </a:fld>
            <a:endParaRPr sz="1066" dirty="0">
              <a:solidFill>
                <a:srgbClr val="595959"/>
              </a:solidFill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17" name="McKSticker" hidden="1"/>
          <p:cNvGrpSpPr/>
          <p:nvPr/>
        </p:nvGrpSpPr>
        <p:grpSpPr bwMode="gray">
          <a:xfrm>
            <a:off x="11575134" y="690216"/>
            <a:ext cx="461694" cy="174940"/>
            <a:chOff x="8401419" y="285750"/>
            <a:chExt cx="339356" cy="17145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1419" y="285750"/>
              <a:ext cx="339356" cy="1714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42817">
                <a:buClr>
                  <a:srgbClr val="002960"/>
                </a:buClr>
              </a:pPr>
              <a:r>
                <a:rPr lang="ru-RU" sz="934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1419" y="285750"/>
              <a:ext cx="0" cy="17145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1419" y="457208"/>
              <a:ext cx="33935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Freeform 6"/>
          <p:cNvSpPr>
            <a:spLocks/>
          </p:cNvSpPr>
          <p:nvPr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</p:spPr>
        <p:txBody>
          <a:bodyPr lIns="102613" tIns="102613" rIns="102613" bIns="10261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66" kern="0">
              <a:solidFill>
                <a:srgbClr val="787E7F"/>
              </a:solidFill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890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</p:sldLayoutIdLst>
  <p:hf sldNum="0" hdr="0" ftr="0" dt="0"/>
  <p:txStyles>
    <p:titleStyle>
      <a:lvl1pPr algn="l" defTabSz="1242817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374608" algn="l"/>
        </a:tabLst>
        <a:defRPr lang="ru-RU" sz="2400" b="0" baseline="0">
          <a:solidFill>
            <a:srgbClr val="5D6578"/>
          </a:solidFill>
          <a:latin typeface="Arial Narrow" panose="020B0606020202030204" pitchFamily="34" charset="0"/>
          <a:ea typeface="+mj-ea"/>
          <a:cs typeface="Arial" panose="020B0604020202020204" pitchFamily="34" charset="0"/>
          <a:sym typeface="Arial Narrow" panose="020B0606020202030204" pitchFamily="34" charset="0"/>
        </a:defRPr>
      </a:lvl1pPr>
      <a:lvl2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2pPr>
      <a:lvl3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3pPr>
      <a:lvl4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4pPr>
      <a:lvl5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5pPr>
      <a:lvl6pPr marL="63463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6pPr>
      <a:lvl7pPr marL="126926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7pPr>
      <a:lvl8pPr marL="190389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8pPr>
      <a:lvl9pPr marL="2538521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600" baseline="0">
          <a:solidFill>
            <a:schemeClr val="tx1"/>
          </a:solidFill>
          <a:latin typeface="Arial Narrow" panose="020B0606020202030204" pitchFamily="34" charset="0"/>
          <a:ea typeface="+mn-ea"/>
          <a:cs typeface="Arial" panose="020B0604020202020204" pitchFamily="34" charset="0"/>
          <a:sym typeface="Arial Narrow" panose="020B0606020202030204" pitchFamily="34" charset="0"/>
        </a:defRPr>
      </a:lvl1pPr>
      <a:lvl2pPr marL="268836" indent="-26663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2pPr>
      <a:lvl3pPr marL="634630" indent="-363591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3pPr>
      <a:lvl4pPr marL="852786" indent="-215952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4pPr>
      <a:lvl5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5pPr>
      <a:lvl6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6pPr>
      <a:lvl7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7pPr>
      <a:lvl8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8pPr>
      <a:lvl9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1pPr>
      <a:lvl2pPr marL="63463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2pPr>
      <a:lvl3pPr marL="126926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3pPr>
      <a:lvl4pPr marL="190389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4pPr>
      <a:lvl5pPr marL="253852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5pPr>
      <a:lvl6pPr marL="317315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80778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44241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077042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1734042"/>
              </p:ext>
            </p:ext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5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err="1">
              <a:solidFill>
                <a:schemeClr val="tx1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231770"/>
            <a:ext cx="11192189" cy="332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8" y="39204"/>
            <a:ext cx="546286" cy="167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066" cap="all" dirty="0">
                <a:solidFill>
                  <a:srgbClr val="808080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624559"/>
            <a:ext cx="111664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ru-RU"/>
            </a:pP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Unit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of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measure</a:t>
            </a:r>
            <a:endParaRPr sz="1600" dirty="0">
              <a:solidFill>
                <a:srgbClr val="808080"/>
              </a:solidFill>
              <a:latin typeface="Arial Narrow" panose="020B0606020202030204" pitchFamily="34" charset="0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7" name="Group 6" hidden="1"/>
          <p:cNvGrpSpPr/>
          <p:nvPr/>
        </p:nvGrpSpPr>
        <p:grpSpPr>
          <a:xfrm>
            <a:off x="161986" y="6343332"/>
            <a:ext cx="11458514" cy="385311"/>
            <a:chOff x="694372" y="6244249"/>
            <a:chExt cx="10487978" cy="38531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694372" y="624424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ru-RU"/>
              </a:pPr>
              <a:r>
                <a:rPr sz="1066" dirty="0">
                  <a:solidFill>
                    <a:srgbClr val="595959"/>
                  </a:solidFill>
                  <a:latin typeface="Arial Narrow" panose="020B060602020203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694372" y="646220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>
              <a:spAutoFit/>
            </a:bodyPr>
            <a:lstStyle/>
            <a:p>
              <a:pPr marL="846176" indent="-846176" defTabSz="1242817">
                <a:tabLst>
                  <a:tab pos="850580" algn="l"/>
                </a:tabLst>
              </a:pPr>
              <a:r>
                <a:rPr lang="ru-RU" sz="1066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2384716"/>
            <a:ext cx="5853024" cy="12311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8" y="1673767"/>
            <a:ext cx="5801188" cy="521560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Title</a:t>
              </a:r>
            </a:p>
            <a:p>
              <a:r>
                <a:rPr lang="ru-RU" sz="1600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Unit of measure</a:t>
              </a:r>
            </a:p>
          </p:txBody>
        </p:sp>
      </p:grpSp>
      <p:sp>
        <p:nvSpPr>
          <p:cNvPr id="64" name="Slide Number"/>
          <p:cNvSpPr txBox="1">
            <a:spLocks/>
          </p:cNvSpPr>
          <p:nvPr/>
        </p:nvSpPr>
        <p:spPr bwMode="auto">
          <a:xfrm>
            <a:off x="11883958" y="6561285"/>
            <a:ext cx="139026" cy="16735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sz="1066" smtClean="0">
                <a:solidFill>
                  <a:srgbClr val="595959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pPr algn="ctr"/>
              <a:t>‹#›</a:t>
            </a:fld>
            <a:endParaRPr sz="1066" dirty="0">
              <a:solidFill>
                <a:srgbClr val="595959"/>
              </a:solidFill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17" name="McKSticker" hidden="1"/>
          <p:cNvGrpSpPr/>
          <p:nvPr/>
        </p:nvGrpSpPr>
        <p:grpSpPr bwMode="gray">
          <a:xfrm>
            <a:off x="11575134" y="690216"/>
            <a:ext cx="461694" cy="174940"/>
            <a:chOff x="8401419" y="285750"/>
            <a:chExt cx="339356" cy="17145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1419" y="285750"/>
              <a:ext cx="339356" cy="1714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42817">
                <a:buClr>
                  <a:srgbClr val="002960"/>
                </a:buClr>
              </a:pPr>
              <a:r>
                <a:rPr lang="ru-RU" sz="934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1419" y="285750"/>
              <a:ext cx="0" cy="17145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1419" y="457208"/>
              <a:ext cx="33935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Freeform 6"/>
          <p:cNvSpPr>
            <a:spLocks/>
          </p:cNvSpPr>
          <p:nvPr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</p:spPr>
        <p:txBody>
          <a:bodyPr lIns="102613" tIns="102613" rIns="102613" bIns="10261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66" kern="0">
              <a:solidFill>
                <a:srgbClr val="787E7F"/>
              </a:solidFill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0434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</p:sldLayoutIdLst>
  <p:hf sldNum="0" hdr="0" ftr="0" dt="0"/>
  <p:txStyles>
    <p:titleStyle>
      <a:lvl1pPr algn="l" defTabSz="1242817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374608" algn="l"/>
        </a:tabLst>
        <a:defRPr lang="ru-RU" sz="2400" b="0" baseline="0">
          <a:solidFill>
            <a:srgbClr val="5D6578"/>
          </a:solidFill>
          <a:latin typeface="Arial Narrow" panose="020B0606020202030204" pitchFamily="34" charset="0"/>
          <a:ea typeface="+mj-ea"/>
          <a:cs typeface="Arial" panose="020B0604020202020204" pitchFamily="34" charset="0"/>
          <a:sym typeface="Arial Narrow" panose="020B0606020202030204" pitchFamily="34" charset="0"/>
        </a:defRPr>
      </a:lvl1pPr>
      <a:lvl2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2pPr>
      <a:lvl3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3pPr>
      <a:lvl4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4pPr>
      <a:lvl5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5pPr>
      <a:lvl6pPr marL="63463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6pPr>
      <a:lvl7pPr marL="126926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7pPr>
      <a:lvl8pPr marL="190389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8pPr>
      <a:lvl9pPr marL="2538521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600" baseline="0">
          <a:solidFill>
            <a:schemeClr val="tx1"/>
          </a:solidFill>
          <a:latin typeface="Arial Narrow" panose="020B0606020202030204" pitchFamily="34" charset="0"/>
          <a:ea typeface="+mn-ea"/>
          <a:cs typeface="Arial" panose="020B0604020202020204" pitchFamily="34" charset="0"/>
          <a:sym typeface="Arial Narrow" panose="020B0606020202030204" pitchFamily="34" charset="0"/>
        </a:defRPr>
      </a:lvl1pPr>
      <a:lvl2pPr marL="268836" indent="-26663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2pPr>
      <a:lvl3pPr marL="634630" indent="-363591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3pPr>
      <a:lvl4pPr marL="852786" indent="-215952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4pPr>
      <a:lvl5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5pPr>
      <a:lvl6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6pPr>
      <a:lvl7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7pPr>
      <a:lvl8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8pPr>
      <a:lvl9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1pPr>
      <a:lvl2pPr marL="63463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2pPr>
      <a:lvl3pPr marL="126926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3pPr>
      <a:lvl4pPr marL="190389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4pPr>
      <a:lvl5pPr marL="253852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5pPr>
      <a:lvl6pPr marL="317315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80778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44241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077042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79287659"/>
              </p:ext>
            </p:ext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57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err="1">
              <a:solidFill>
                <a:schemeClr val="tx1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231770"/>
            <a:ext cx="11192189" cy="332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8" y="39204"/>
            <a:ext cx="546286" cy="167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066" cap="all" dirty="0">
                <a:solidFill>
                  <a:srgbClr val="808080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624559"/>
            <a:ext cx="111664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ru-RU"/>
            </a:pP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Unit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of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measure</a:t>
            </a:r>
            <a:endParaRPr sz="1600" dirty="0">
              <a:solidFill>
                <a:srgbClr val="808080"/>
              </a:solidFill>
              <a:latin typeface="Arial Narrow" panose="020B0606020202030204" pitchFamily="34" charset="0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7" name="Group 6" hidden="1"/>
          <p:cNvGrpSpPr/>
          <p:nvPr/>
        </p:nvGrpSpPr>
        <p:grpSpPr>
          <a:xfrm>
            <a:off x="161986" y="6343332"/>
            <a:ext cx="11458514" cy="385311"/>
            <a:chOff x="694372" y="6244249"/>
            <a:chExt cx="10487978" cy="38531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694372" y="624424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ru-RU"/>
              </a:pPr>
              <a:r>
                <a:rPr sz="1066" dirty="0">
                  <a:solidFill>
                    <a:srgbClr val="595959"/>
                  </a:solidFill>
                  <a:latin typeface="Arial Narrow" panose="020B060602020203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694372" y="646220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>
              <a:spAutoFit/>
            </a:bodyPr>
            <a:lstStyle/>
            <a:p>
              <a:pPr marL="846176" indent="-846176" defTabSz="1242817">
                <a:tabLst>
                  <a:tab pos="850580" algn="l"/>
                </a:tabLst>
              </a:pPr>
              <a:r>
                <a:rPr lang="ru-RU" sz="1066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2384716"/>
            <a:ext cx="5853024" cy="12311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8" y="1673767"/>
            <a:ext cx="5801188" cy="521560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Title</a:t>
              </a:r>
            </a:p>
            <a:p>
              <a:r>
                <a:rPr lang="ru-RU" sz="1600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Unit of measure</a:t>
              </a:r>
            </a:p>
          </p:txBody>
        </p:sp>
      </p:grpSp>
      <p:sp>
        <p:nvSpPr>
          <p:cNvPr id="64" name="Slide Number"/>
          <p:cNvSpPr txBox="1">
            <a:spLocks/>
          </p:cNvSpPr>
          <p:nvPr/>
        </p:nvSpPr>
        <p:spPr bwMode="auto">
          <a:xfrm>
            <a:off x="11883958" y="6561285"/>
            <a:ext cx="139026" cy="16735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sz="1066" smtClean="0">
                <a:solidFill>
                  <a:srgbClr val="595959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pPr algn="ctr"/>
              <a:t>‹#›</a:t>
            </a:fld>
            <a:endParaRPr sz="1066" dirty="0">
              <a:solidFill>
                <a:srgbClr val="595959"/>
              </a:solidFill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17" name="McKSticker" hidden="1"/>
          <p:cNvGrpSpPr/>
          <p:nvPr/>
        </p:nvGrpSpPr>
        <p:grpSpPr bwMode="gray">
          <a:xfrm>
            <a:off x="11575134" y="690216"/>
            <a:ext cx="461694" cy="174940"/>
            <a:chOff x="8401419" y="285750"/>
            <a:chExt cx="339356" cy="17145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1419" y="285750"/>
              <a:ext cx="339356" cy="1714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42817">
                <a:buClr>
                  <a:srgbClr val="002960"/>
                </a:buClr>
              </a:pPr>
              <a:r>
                <a:rPr lang="ru-RU" sz="934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1419" y="285750"/>
              <a:ext cx="0" cy="17145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1419" y="457208"/>
              <a:ext cx="33935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Freeform 6"/>
          <p:cNvSpPr>
            <a:spLocks/>
          </p:cNvSpPr>
          <p:nvPr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</p:spPr>
        <p:txBody>
          <a:bodyPr lIns="102613" tIns="102613" rIns="102613" bIns="10261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66" kern="0">
              <a:solidFill>
                <a:srgbClr val="787E7F"/>
              </a:solidFill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544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</p:sldLayoutIdLst>
  <p:hf sldNum="0" hdr="0" ftr="0" dt="0"/>
  <p:txStyles>
    <p:titleStyle>
      <a:lvl1pPr algn="l" defTabSz="1242817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374608" algn="l"/>
        </a:tabLst>
        <a:defRPr lang="ru-RU" sz="2400" b="0" baseline="0">
          <a:solidFill>
            <a:srgbClr val="5D6578"/>
          </a:solidFill>
          <a:latin typeface="Arial Narrow" panose="020B0606020202030204" pitchFamily="34" charset="0"/>
          <a:ea typeface="+mj-ea"/>
          <a:cs typeface="Arial" panose="020B0604020202020204" pitchFamily="34" charset="0"/>
          <a:sym typeface="Arial Narrow" panose="020B0606020202030204" pitchFamily="34" charset="0"/>
        </a:defRPr>
      </a:lvl1pPr>
      <a:lvl2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2pPr>
      <a:lvl3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3pPr>
      <a:lvl4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4pPr>
      <a:lvl5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5pPr>
      <a:lvl6pPr marL="63463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6pPr>
      <a:lvl7pPr marL="126926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7pPr>
      <a:lvl8pPr marL="190389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8pPr>
      <a:lvl9pPr marL="2538521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600" baseline="0">
          <a:solidFill>
            <a:schemeClr val="tx1"/>
          </a:solidFill>
          <a:latin typeface="Arial Narrow" panose="020B0606020202030204" pitchFamily="34" charset="0"/>
          <a:ea typeface="+mn-ea"/>
          <a:cs typeface="Arial" panose="020B0604020202020204" pitchFamily="34" charset="0"/>
          <a:sym typeface="Arial Narrow" panose="020B0606020202030204" pitchFamily="34" charset="0"/>
        </a:defRPr>
      </a:lvl1pPr>
      <a:lvl2pPr marL="268836" indent="-26663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2pPr>
      <a:lvl3pPr marL="634630" indent="-363591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3pPr>
      <a:lvl4pPr marL="852786" indent="-215952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4pPr>
      <a:lvl5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5pPr>
      <a:lvl6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6pPr>
      <a:lvl7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7pPr>
      <a:lvl8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8pPr>
      <a:lvl9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1pPr>
      <a:lvl2pPr marL="63463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2pPr>
      <a:lvl3pPr marL="126926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3pPr>
      <a:lvl4pPr marL="190389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4pPr>
      <a:lvl5pPr marL="253852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5pPr>
      <a:lvl6pPr marL="317315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80778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44241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077042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92592019"/>
              </p:ext>
            </p:ext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59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err="1">
              <a:solidFill>
                <a:schemeClr val="tx1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231770"/>
            <a:ext cx="11192189" cy="332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8" y="39204"/>
            <a:ext cx="546286" cy="167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066" cap="all" dirty="0">
                <a:solidFill>
                  <a:srgbClr val="808080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624559"/>
            <a:ext cx="111664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ru-RU"/>
            </a:pP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Unit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of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measure</a:t>
            </a:r>
            <a:endParaRPr sz="1600" dirty="0">
              <a:solidFill>
                <a:srgbClr val="808080"/>
              </a:solidFill>
              <a:latin typeface="Arial Narrow" panose="020B0606020202030204" pitchFamily="34" charset="0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7" name="Group 6" hidden="1"/>
          <p:cNvGrpSpPr/>
          <p:nvPr/>
        </p:nvGrpSpPr>
        <p:grpSpPr>
          <a:xfrm>
            <a:off x="161986" y="6343332"/>
            <a:ext cx="11458514" cy="385311"/>
            <a:chOff x="694372" y="6244249"/>
            <a:chExt cx="10487978" cy="38531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694372" y="624424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ru-RU"/>
              </a:pPr>
              <a:r>
                <a:rPr sz="1066" dirty="0">
                  <a:solidFill>
                    <a:srgbClr val="595959"/>
                  </a:solidFill>
                  <a:latin typeface="Arial Narrow" panose="020B060602020203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694372" y="646220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>
              <a:spAutoFit/>
            </a:bodyPr>
            <a:lstStyle/>
            <a:p>
              <a:pPr marL="846176" indent="-846176" defTabSz="1242817">
                <a:tabLst>
                  <a:tab pos="850580" algn="l"/>
                </a:tabLst>
              </a:pPr>
              <a:r>
                <a:rPr lang="ru-RU" sz="1066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2384716"/>
            <a:ext cx="5853024" cy="12311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8" y="1673767"/>
            <a:ext cx="5801188" cy="521560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Title</a:t>
              </a:r>
            </a:p>
            <a:p>
              <a:r>
                <a:rPr lang="ru-RU" sz="1600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Unit of measure</a:t>
              </a:r>
            </a:p>
          </p:txBody>
        </p:sp>
      </p:grpSp>
      <p:sp>
        <p:nvSpPr>
          <p:cNvPr id="64" name="Slide Number"/>
          <p:cNvSpPr txBox="1">
            <a:spLocks/>
          </p:cNvSpPr>
          <p:nvPr/>
        </p:nvSpPr>
        <p:spPr bwMode="auto">
          <a:xfrm>
            <a:off x="11883958" y="6561285"/>
            <a:ext cx="139026" cy="16735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sz="1066" smtClean="0">
                <a:solidFill>
                  <a:srgbClr val="595959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pPr algn="ctr"/>
              <a:t>‹#›</a:t>
            </a:fld>
            <a:endParaRPr sz="1066" dirty="0">
              <a:solidFill>
                <a:srgbClr val="595959"/>
              </a:solidFill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17" name="McKSticker" hidden="1"/>
          <p:cNvGrpSpPr/>
          <p:nvPr/>
        </p:nvGrpSpPr>
        <p:grpSpPr bwMode="gray">
          <a:xfrm>
            <a:off x="11575134" y="690216"/>
            <a:ext cx="461694" cy="174940"/>
            <a:chOff x="8401419" y="285750"/>
            <a:chExt cx="339356" cy="17145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1419" y="285750"/>
              <a:ext cx="339356" cy="1714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42817">
                <a:buClr>
                  <a:srgbClr val="002960"/>
                </a:buClr>
              </a:pPr>
              <a:r>
                <a:rPr lang="ru-RU" sz="934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1419" y="285750"/>
              <a:ext cx="0" cy="17145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1419" y="457208"/>
              <a:ext cx="33935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Freeform 6"/>
          <p:cNvSpPr>
            <a:spLocks/>
          </p:cNvSpPr>
          <p:nvPr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</p:spPr>
        <p:txBody>
          <a:bodyPr lIns="102613" tIns="102613" rIns="102613" bIns="10261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66" kern="0">
              <a:solidFill>
                <a:srgbClr val="787E7F"/>
              </a:solidFill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4176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</p:sldLayoutIdLst>
  <p:hf sldNum="0" hdr="0" ftr="0" dt="0"/>
  <p:txStyles>
    <p:titleStyle>
      <a:lvl1pPr algn="l" defTabSz="1242817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374608" algn="l"/>
        </a:tabLst>
        <a:defRPr lang="ru-RU" sz="2400" b="0" baseline="0">
          <a:solidFill>
            <a:srgbClr val="5D6578"/>
          </a:solidFill>
          <a:latin typeface="Arial Narrow" panose="020B0606020202030204" pitchFamily="34" charset="0"/>
          <a:ea typeface="+mj-ea"/>
          <a:cs typeface="Arial" panose="020B0604020202020204" pitchFamily="34" charset="0"/>
          <a:sym typeface="Arial Narrow" panose="020B0606020202030204" pitchFamily="34" charset="0"/>
        </a:defRPr>
      </a:lvl1pPr>
      <a:lvl2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2pPr>
      <a:lvl3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3pPr>
      <a:lvl4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4pPr>
      <a:lvl5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5pPr>
      <a:lvl6pPr marL="63463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6pPr>
      <a:lvl7pPr marL="126926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7pPr>
      <a:lvl8pPr marL="190389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8pPr>
      <a:lvl9pPr marL="2538521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600" baseline="0">
          <a:solidFill>
            <a:schemeClr val="tx1"/>
          </a:solidFill>
          <a:latin typeface="Arial Narrow" panose="020B0606020202030204" pitchFamily="34" charset="0"/>
          <a:ea typeface="+mn-ea"/>
          <a:cs typeface="Arial" panose="020B0604020202020204" pitchFamily="34" charset="0"/>
          <a:sym typeface="Arial Narrow" panose="020B0606020202030204" pitchFamily="34" charset="0"/>
        </a:defRPr>
      </a:lvl1pPr>
      <a:lvl2pPr marL="268836" indent="-26663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2pPr>
      <a:lvl3pPr marL="634630" indent="-363591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3pPr>
      <a:lvl4pPr marL="852786" indent="-215952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4pPr>
      <a:lvl5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5pPr>
      <a:lvl6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6pPr>
      <a:lvl7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7pPr>
      <a:lvl8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8pPr>
      <a:lvl9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1pPr>
      <a:lvl2pPr marL="63463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2pPr>
      <a:lvl3pPr marL="126926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3pPr>
      <a:lvl4pPr marL="190389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4pPr>
      <a:lvl5pPr marL="253852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5pPr>
      <a:lvl6pPr marL="317315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80778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44241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077042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62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err="1">
              <a:solidFill>
                <a:schemeClr val="tx1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231770"/>
            <a:ext cx="11192189" cy="332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8" y="39204"/>
            <a:ext cx="546286" cy="167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066" cap="all" dirty="0">
                <a:solidFill>
                  <a:srgbClr val="808080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624559"/>
            <a:ext cx="111664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ru-RU"/>
            </a:pP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Unit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of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measure</a:t>
            </a:r>
            <a:endParaRPr sz="1600" dirty="0">
              <a:solidFill>
                <a:srgbClr val="808080"/>
              </a:solidFill>
              <a:latin typeface="Arial Narrow" panose="020B0606020202030204" pitchFamily="34" charset="0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7" name="Group 6" hidden="1"/>
          <p:cNvGrpSpPr/>
          <p:nvPr/>
        </p:nvGrpSpPr>
        <p:grpSpPr>
          <a:xfrm>
            <a:off x="161986" y="6343332"/>
            <a:ext cx="11458514" cy="385311"/>
            <a:chOff x="694372" y="6244249"/>
            <a:chExt cx="10487978" cy="38531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694372" y="624424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ru-RU"/>
              </a:pPr>
              <a:r>
                <a:rPr sz="1066" dirty="0">
                  <a:solidFill>
                    <a:srgbClr val="595959"/>
                  </a:solidFill>
                  <a:latin typeface="Arial Narrow" panose="020B060602020203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694372" y="646220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>
              <a:spAutoFit/>
            </a:bodyPr>
            <a:lstStyle/>
            <a:p>
              <a:pPr marL="846176" indent="-846176" defTabSz="1242817">
                <a:tabLst>
                  <a:tab pos="850580" algn="l"/>
                </a:tabLst>
              </a:pPr>
              <a:r>
                <a:rPr lang="ru-RU" sz="1066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2384716"/>
            <a:ext cx="5853024" cy="12311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8" y="1673767"/>
            <a:ext cx="5801188" cy="521560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Title</a:t>
              </a:r>
            </a:p>
            <a:p>
              <a:r>
                <a:rPr lang="ru-RU" sz="1600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Unit of measure</a:t>
              </a:r>
            </a:p>
          </p:txBody>
        </p:sp>
      </p:grpSp>
      <p:sp>
        <p:nvSpPr>
          <p:cNvPr id="64" name="Slide Number"/>
          <p:cNvSpPr txBox="1">
            <a:spLocks/>
          </p:cNvSpPr>
          <p:nvPr/>
        </p:nvSpPr>
        <p:spPr bwMode="auto">
          <a:xfrm>
            <a:off x="11883958" y="6561285"/>
            <a:ext cx="139026" cy="16735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sz="1066" smtClean="0">
                <a:solidFill>
                  <a:srgbClr val="595959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pPr algn="ctr"/>
              <a:t>‹#›</a:t>
            </a:fld>
            <a:endParaRPr sz="1066" dirty="0">
              <a:solidFill>
                <a:srgbClr val="595959"/>
              </a:solidFill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17" name="McKSticker" hidden="1"/>
          <p:cNvGrpSpPr/>
          <p:nvPr/>
        </p:nvGrpSpPr>
        <p:grpSpPr bwMode="gray">
          <a:xfrm>
            <a:off x="11575134" y="690216"/>
            <a:ext cx="461694" cy="174940"/>
            <a:chOff x="8401419" y="285750"/>
            <a:chExt cx="339356" cy="17145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1419" y="285750"/>
              <a:ext cx="339356" cy="1714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42817">
                <a:buClr>
                  <a:srgbClr val="002960"/>
                </a:buClr>
              </a:pPr>
              <a:r>
                <a:rPr lang="ru-RU" sz="934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1419" y="285750"/>
              <a:ext cx="0" cy="17145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1419" y="457208"/>
              <a:ext cx="33935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Freeform 6"/>
          <p:cNvSpPr>
            <a:spLocks/>
          </p:cNvSpPr>
          <p:nvPr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</p:spPr>
        <p:txBody>
          <a:bodyPr lIns="102613" tIns="102613" rIns="102613" bIns="10261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66" kern="0">
              <a:solidFill>
                <a:srgbClr val="787E7F"/>
              </a:solidFill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1797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</p:sldLayoutIdLst>
  <p:hf sldNum="0" hdr="0" ftr="0" dt="0"/>
  <p:txStyles>
    <p:titleStyle>
      <a:lvl1pPr algn="l" defTabSz="1242817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374608" algn="l"/>
        </a:tabLst>
        <a:defRPr lang="ru-RU" sz="2400" b="0" baseline="0">
          <a:solidFill>
            <a:srgbClr val="5D6578"/>
          </a:solidFill>
          <a:latin typeface="Arial Narrow" panose="020B0606020202030204" pitchFamily="34" charset="0"/>
          <a:ea typeface="+mj-ea"/>
          <a:cs typeface="Arial" panose="020B0604020202020204" pitchFamily="34" charset="0"/>
          <a:sym typeface="Arial Narrow" panose="020B0606020202030204" pitchFamily="34" charset="0"/>
        </a:defRPr>
      </a:lvl1pPr>
      <a:lvl2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2pPr>
      <a:lvl3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3pPr>
      <a:lvl4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4pPr>
      <a:lvl5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5pPr>
      <a:lvl6pPr marL="63463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6pPr>
      <a:lvl7pPr marL="126926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7pPr>
      <a:lvl8pPr marL="190389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8pPr>
      <a:lvl9pPr marL="2538521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600" baseline="0">
          <a:solidFill>
            <a:schemeClr val="tx1"/>
          </a:solidFill>
          <a:latin typeface="Arial Narrow" panose="020B0606020202030204" pitchFamily="34" charset="0"/>
          <a:ea typeface="+mn-ea"/>
          <a:cs typeface="Arial" panose="020B0604020202020204" pitchFamily="34" charset="0"/>
          <a:sym typeface="Arial Narrow" panose="020B0606020202030204" pitchFamily="34" charset="0"/>
        </a:defRPr>
      </a:lvl1pPr>
      <a:lvl2pPr marL="268836" indent="-26663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2pPr>
      <a:lvl3pPr marL="634630" indent="-363591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3pPr>
      <a:lvl4pPr marL="852786" indent="-215952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4pPr>
      <a:lvl5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5pPr>
      <a:lvl6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6pPr>
      <a:lvl7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7pPr>
      <a:lvl8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8pPr>
      <a:lvl9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1pPr>
      <a:lvl2pPr marL="63463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2pPr>
      <a:lvl3pPr marL="126926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3pPr>
      <a:lvl4pPr marL="190389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4pPr>
      <a:lvl5pPr marL="253852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5pPr>
      <a:lvl6pPr marL="317315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80778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44241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077042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694495320"/>
              </p:ext>
            </p:ext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366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err="1">
              <a:solidFill>
                <a:schemeClr val="tx1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231770"/>
            <a:ext cx="11192189" cy="332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8" y="39204"/>
            <a:ext cx="546286" cy="167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066" cap="all" dirty="0">
                <a:solidFill>
                  <a:srgbClr val="808080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624559"/>
            <a:ext cx="111664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ru-RU"/>
            </a:pP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Unit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of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measure</a:t>
            </a:r>
            <a:endParaRPr sz="1600" dirty="0">
              <a:solidFill>
                <a:srgbClr val="808080"/>
              </a:solidFill>
              <a:latin typeface="Arial Narrow" panose="020B0606020202030204" pitchFamily="34" charset="0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7" name="Group 6" hidden="1"/>
          <p:cNvGrpSpPr/>
          <p:nvPr/>
        </p:nvGrpSpPr>
        <p:grpSpPr>
          <a:xfrm>
            <a:off x="161986" y="6343332"/>
            <a:ext cx="11458514" cy="385311"/>
            <a:chOff x="694372" y="6244249"/>
            <a:chExt cx="10487978" cy="38531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694372" y="624424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ru-RU"/>
              </a:pPr>
              <a:r>
                <a:rPr sz="1066" dirty="0">
                  <a:solidFill>
                    <a:srgbClr val="595959"/>
                  </a:solidFill>
                  <a:latin typeface="Arial Narrow" panose="020B060602020203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694372" y="646220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>
              <a:spAutoFit/>
            </a:bodyPr>
            <a:lstStyle/>
            <a:p>
              <a:pPr marL="846176" indent="-846176" defTabSz="1242817">
                <a:tabLst>
                  <a:tab pos="850580" algn="l"/>
                </a:tabLst>
              </a:pPr>
              <a:r>
                <a:rPr lang="ru-RU" sz="1066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2384716"/>
            <a:ext cx="5853024" cy="12311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8" y="1673767"/>
            <a:ext cx="5801188" cy="521560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Title</a:t>
              </a:r>
            </a:p>
            <a:p>
              <a:r>
                <a:rPr lang="ru-RU" sz="1600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Unit of measure</a:t>
              </a:r>
            </a:p>
          </p:txBody>
        </p:sp>
      </p:grpSp>
      <p:sp>
        <p:nvSpPr>
          <p:cNvPr id="64" name="Slide Number"/>
          <p:cNvSpPr txBox="1">
            <a:spLocks/>
          </p:cNvSpPr>
          <p:nvPr/>
        </p:nvSpPr>
        <p:spPr bwMode="auto">
          <a:xfrm>
            <a:off x="11883958" y="6561285"/>
            <a:ext cx="139026" cy="16735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sz="1066" smtClean="0">
                <a:solidFill>
                  <a:srgbClr val="595959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pPr algn="ctr"/>
              <a:t>‹#›</a:t>
            </a:fld>
            <a:endParaRPr sz="1066" dirty="0">
              <a:solidFill>
                <a:srgbClr val="595959"/>
              </a:solidFill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17" name="McKSticker" hidden="1"/>
          <p:cNvGrpSpPr/>
          <p:nvPr/>
        </p:nvGrpSpPr>
        <p:grpSpPr bwMode="gray">
          <a:xfrm>
            <a:off x="11575134" y="690216"/>
            <a:ext cx="461694" cy="174940"/>
            <a:chOff x="8401419" y="285750"/>
            <a:chExt cx="339356" cy="17145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1419" y="285750"/>
              <a:ext cx="339356" cy="1714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42817">
                <a:buClr>
                  <a:srgbClr val="002960"/>
                </a:buClr>
              </a:pPr>
              <a:r>
                <a:rPr lang="ru-RU" sz="934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1419" y="285750"/>
              <a:ext cx="0" cy="17145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1419" y="457208"/>
              <a:ext cx="33935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Freeform 6"/>
          <p:cNvSpPr>
            <a:spLocks/>
          </p:cNvSpPr>
          <p:nvPr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</p:spPr>
        <p:txBody>
          <a:bodyPr lIns="102613" tIns="102613" rIns="102613" bIns="10261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66" kern="0">
              <a:solidFill>
                <a:srgbClr val="787E7F"/>
              </a:solidFill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2822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6" r:id="rId3"/>
  </p:sldLayoutIdLst>
  <p:hf sldNum="0" hdr="0" ftr="0" dt="0"/>
  <p:txStyles>
    <p:titleStyle>
      <a:lvl1pPr algn="l" defTabSz="1242817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374608" algn="l"/>
        </a:tabLst>
        <a:defRPr lang="ru-RU" sz="2400" b="0" baseline="0">
          <a:solidFill>
            <a:srgbClr val="5D6578"/>
          </a:solidFill>
          <a:latin typeface="Arial Narrow" panose="020B0606020202030204" pitchFamily="34" charset="0"/>
          <a:ea typeface="+mj-ea"/>
          <a:cs typeface="Arial" panose="020B0604020202020204" pitchFamily="34" charset="0"/>
          <a:sym typeface="Arial Narrow" panose="020B0606020202030204" pitchFamily="34" charset="0"/>
        </a:defRPr>
      </a:lvl1pPr>
      <a:lvl2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2pPr>
      <a:lvl3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3pPr>
      <a:lvl4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4pPr>
      <a:lvl5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5pPr>
      <a:lvl6pPr marL="63463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6pPr>
      <a:lvl7pPr marL="126926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7pPr>
      <a:lvl8pPr marL="190389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8pPr>
      <a:lvl9pPr marL="2538521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600" baseline="0">
          <a:solidFill>
            <a:schemeClr val="tx1"/>
          </a:solidFill>
          <a:latin typeface="Arial Narrow" panose="020B0606020202030204" pitchFamily="34" charset="0"/>
          <a:ea typeface="+mn-ea"/>
          <a:cs typeface="Arial" panose="020B0604020202020204" pitchFamily="34" charset="0"/>
          <a:sym typeface="Arial Narrow" panose="020B0606020202030204" pitchFamily="34" charset="0"/>
        </a:defRPr>
      </a:lvl1pPr>
      <a:lvl2pPr marL="268836" indent="-26663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2pPr>
      <a:lvl3pPr marL="634630" indent="-363591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3pPr>
      <a:lvl4pPr marL="852786" indent="-215952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4pPr>
      <a:lvl5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5pPr>
      <a:lvl6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6pPr>
      <a:lvl7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7pPr>
      <a:lvl8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8pPr>
      <a:lvl9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1pPr>
      <a:lvl2pPr marL="63463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2pPr>
      <a:lvl3pPr marL="126926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3pPr>
      <a:lvl4pPr marL="190389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4pPr>
      <a:lvl5pPr marL="253852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5pPr>
      <a:lvl6pPr marL="317315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80778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44241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077042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21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err="1">
              <a:solidFill>
                <a:schemeClr val="tx1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231770"/>
            <a:ext cx="11192189" cy="332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8" y="39204"/>
            <a:ext cx="546286" cy="167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066" cap="all" dirty="0">
                <a:solidFill>
                  <a:srgbClr val="808080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624559"/>
            <a:ext cx="111664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ru-RU"/>
            </a:pP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Unit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of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measure</a:t>
            </a:r>
            <a:endParaRPr sz="1600" dirty="0">
              <a:solidFill>
                <a:srgbClr val="808080"/>
              </a:solidFill>
              <a:latin typeface="Arial Narrow" panose="020B0606020202030204" pitchFamily="34" charset="0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7" name="Group 6" hidden="1"/>
          <p:cNvGrpSpPr/>
          <p:nvPr/>
        </p:nvGrpSpPr>
        <p:grpSpPr>
          <a:xfrm>
            <a:off x="161986" y="6343332"/>
            <a:ext cx="11458514" cy="385311"/>
            <a:chOff x="694372" y="6244249"/>
            <a:chExt cx="10487978" cy="38531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694372" y="624424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ru-RU"/>
              </a:pPr>
              <a:r>
                <a:rPr sz="1066" dirty="0">
                  <a:solidFill>
                    <a:srgbClr val="595959"/>
                  </a:solidFill>
                  <a:latin typeface="Arial Narrow" panose="020B060602020203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694372" y="646220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>
              <a:spAutoFit/>
            </a:bodyPr>
            <a:lstStyle/>
            <a:p>
              <a:pPr marL="846176" indent="-846176" defTabSz="1242817">
                <a:tabLst>
                  <a:tab pos="850580" algn="l"/>
                </a:tabLst>
              </a:pPr>
              <a:r>
                <a:rPr lang="ru-RU" sz="1066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2384716"/>
            <a:ext cx="5853024" cy="12311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8" y="1673767"/>
            <a:ext cx="5801188" cy="521560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Title</a:t>
              </a:r>
            </a:p>
            <a:p>
              <a:r>
                <a:rPr lang="ru-RU" sz="1600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Unit of measure</a:t>
              </a:r>
            </a:p>
          </p:txBody>
        </p:sp>
      </p:grpSp>
      <p:sp>
        <p:nvSpPr>
          <p:cNvPr id="64" name="Slide Number"/>
          <p:cNvSpPr txBox="1">
            <a:spLocks/>
          </p:cNvSpPr>
          <p:nvPr/>
        </p:nvSpPr>
        <p:spPr bwMode="auto">
          <a:xfrm>
            <a:off x="11883958" y="6561285"/>
            <a:ext cx="139026" cy="16735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sz="1066" smtClean="0">
                <a:solidFill>
                  <a:srgbClr val="595959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pPr algn="ctr"/>
              <a:t>‹#›</a:t>
            </a:fld>
            <a:endParaRPr sz="1066" dirty="0">
              <a:solidFill>
                <a:srgbClr val="595959"/>
              </a:solidFill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17" name="McKSticker" hidden="1"/>
          <p:cNvGrpSpPr/>
          <p:nvPr/>
        </p:nvGrpSpPr>
        <p:grpSpPr bwMode="gray">
          <a:xfrm>
            <a:off x="11575134" y="690216"/>
            <a:ext cx="461694" cy="174940"/>
            <a:chOff x="8401419" y="285750"/>
            <a:chExt cx="339356" cy="17145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1419" y="285750"/>
              <a:ext cx="339356" cy="1714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42817">
                <a:buClr>
                  <a:srgbClr val="002960"/>
                </a:buClr>
              </a:pPr>
              <a:r>
                <a:rPr lang="ru-RU" sz="934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1419" y="285750"/>
              <a:ext cx="0" cy="17145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1419" y="457208"/>
              <a:ext cx="33935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Freeform 6"/>
          <p:cNvSpPr>
            <a:spLocks/>
          </p:cNvSpPr>
          <p:nvPr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</p:spPr>
        <p:txBody>
          <a:bodyPr lIns="102613" tIns="102613" rIns="102613" bIns="10261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66" kern="0">
              <a:solidFill>
                <a:srgbClr val="787E7F"/>
              </a:solidFill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068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6" r:id="rId3"/>
    <p:sldLayoutId id="2147483944" r:id="rId4"/>
  </p:sldLayoutIdLst>
  <p:hf sldNum="0" hdr="0" ftr="0" dt="0"/>
  <p:txStyles>
    <p:titleStyle>
      <a:lvl1pPr algn="l" defTabSz="1242817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374608" algn="l"/>
        </a:tabLst>
        <a:defRPr lang="ru-RU" sz="2400" b="0" baseline="0">
          <a:solidFill>
            <a:srgbClr val="5D6578"/>
          </a:solidFill>
          <a:latin typeface="Arial Narrow" panose="020B0606020202030204" pitchFamily="34" charset="0"/>
          <a:ea typeface="+mj-ea"/>
          <a:cs typeface="Arial" panose="020B0604020202020204" pitchFamily="34" charset="0"/>
          <a:sym typeface="Arial Narrow" panose="020B0606020202030204" pitchFamily="34" charset="0"/>
        </a:defRPr>
      </a:lvl1pPr>
      <a:lvl2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2pPr>
      <a:lvl3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3pPr>
      <a:lvl4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4pPr>
      <a:lvl5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5pPr>
      <a:lvl6pPr marL="63463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6pPr>
      <a:lvl7pPr marL="126926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7pPr>
      <a:lvl8pPr marL="190389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8pPr>
      <a:lvl9pPr marL="2538521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600" baseline="0">
          <a:solidFill>
            <a:schemeClr val="tx1"/>
          </a:solidFill>
          <a:latin typeface="Arial Narrow" panose="020B0606020202030204" pitchFamily="34" charset="0"/>
          <a:ea typeface="+mn-ea"/>
          <a:cs typeface="Arial" panose="020B0604020202020204" pitchFamily="34" charset="0"/>
          <a:sym typeface="Arial Narrow" panose="020B0606020202030204" pitchFamily="34" charset="0"/>
        </a:defRPr>
      </a:lvl1pPr>
      <a:lvl2pPr marL="268836" indent="-26663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2pPr>
      <a:lvl3pPr marL="634630" indent="-363591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3pPr>
      <a:lvl4pPr marL="852786" indent="-215952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4pPr>
      <a:lvl5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5pPr>
      <a:lvl6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6pPr>
      <a:lvl7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7pPr>
      <a:lvl8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8pPr>
      <a:lvl9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1pPr>
      <a:lvl2pPr marL="63463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2pPr>
      <a:lvl3pPr marL="126926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3pPr>
      <a:lvl4pPr marL="190389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4pPr>
      <a:lvl5pPr marL="253852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5pPr>
      <a:lvl6pPr marL="317315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80778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44241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077042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>
            <p:custDataLst>
              <p:tags r:id="rId20"/>
            </p:custDataLst>
          </p:nvPr>
        </p:nvGraphicFramePr>
        <p:xfrm>
          <a:off x="2119" y="2143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002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Объект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43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9"/>
            <a:ext cx="5853024" cy="164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47344" y="349549"/>
            <a:ext cx="11083389" cy="3947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On-page tracker" hidden="1"/>
          <p:cNvSpPr>
            <a:spLocks noChangeArrowheads="1"/>
          </p:cNvSpPr>
          <p:nvPr/>
        </p:nvSpPr>
        <p:spPr bwMode="auto">
          <a:xfrm>
            <a:off x="161986" y="27539"/>
            <a:ext cx="1146148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867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/>
        </p:nvSpPr>
        <p:spPr bwMode="auto">
          <a:xfrm>
            <a:off x="161987" y="860484"/>
            <a:ext cx="11725484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133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8" y="992915"/>
            <a:ext cx="5801189" cy="675434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133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133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11892794" y="6623063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100" b="0" smtClean="0">
                <a:solidFill>
                  <a:schemeClr val="accent1"/>
                </a:solidFill>
                <a:latin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18" name="Freeform 6"/>
          <p:cNvSpPr>
            <a:spLocks/>
          </p:cNvSpPr>
          <p:nvPr/>
        </p:nvSpPr>
        <p:spPr bwMode="auto">
          <a:xfrm>
            <a:off x="11662261" y="161564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</p:spPr>
        <p:txBody>
          <a:bodyPr lIns="102572" tIns="102572" rIns="102572" bIns="102572" rtlCol="0" anchor="ctr"/>
          <a:lstStyle/>
          <a:p>
            <a:pPr marL="0" marR="0" lvl="0" indent="0" algn="ctr" defTabSz="121866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>
              <a:ln>
                <a:noFill/>
              </a:ln>
              <a:solidFill>
                <a:srgbClr val="787E7F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275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7" r:id="rId6"/>
    <p:sldLayoutId id="2147484008" r:id="rId7"/>
    <p:sldLayoutId id="2147484009" r:id="rId8"/>
    <p:sldLayoutId id="2147484010" r:id="rId9"/>
    <p:sldLayoutId id="2147484011" r:id="rId10"/>
    <p:sldLayoutId id="2147484012" r:id="rId11"/>
    <p:sldLayoutId id="2147484013" r:id="rId12"/>
    <p:sldLayoutId id="2147484014" r:id="rId13"/>
    <p:sldLayoutId id="2147484015" r:id="rId14"/>
    <p:sldLayoutId id="2147484016" r:id="rId15"/>
    <p:sldLayoutId id="2147484017" r:id="rId16"/>
    <p:sldLayoutId id="2147484018" r:id="rId17"/>
  </p:sldLayoutIdLst>
  <p:hf hdr="0" ftr="0" dt="0"/>
  <p:txStyles>
    <p:titleStyle>
      <a:lvl1pPr algn="l" defTabSz="1193262" rtl="0" eaLnBrk="1" fontAlgn="base" hangingPunct="1">
        <a:lnSpc>
          <a:spcPct val="95000"/>
        </a:lnSpc>
        <a:spcBef>
          <a:spcPct val="0"/>
        </a:spcBef>
        <a:spcAft>
          <a:spcPct val="0"/>
        </a:spcAft>
        <a:tabLst>
          <a:tab pos="476035" algn="l"/>
        </a:tabLst>
        <a:defRPr sz="2667" b="0">
          <a:solidFill>
            <a:srgbClr val="5D6578"/>
          </a:solidFill>
          <a:latin typeface="+mn-lt"/>
          <a:ea typeface="+mj-ea"/>
          <a:cs typeface="+mj-cs"/>
        </a:defRPr>
      </a:lvl1pPr>
      <a:lvl2pPr algn="l" defTabSz="1193262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262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262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262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315" algn="l" defTabSz="1193262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8660" algn="l" defTabSz="1193262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7984" algn="l" defTabSz="1193262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7318" algn="l" defTabSz="1193262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262" rtl="0" eaLnBrk="1" fontAlgn="base" hangingPunct="1">
        <a:spcBef>
          <a:spcPct val="0"/>
        </a:spcBef>
        <a:spcAft>
          <a:spcPct val="0"/>
        </a:spcAft>
        <a:buClr>
          <a:schemeClr val="tx1">
            <a:lumMod val="75000"/>
            <a:lumOff val="25000"/>
          </a:schemeClr>
        </a:buClr>
        <a:defRPr sz="2133">
          <a:solidFill>
            <a:srgbClr val="262626"/>
          </a:solidFill>
          <a:latin typeface="+mn-lt"/>
          <a:ea typeface="+mn-ea"/>
          <a:cs typeface="+mn-cs"/>
        </a:defRPr>
      </a:lvl1pPr>
      <a:lvl2pPr marL="258124" indent="-256008" algn="l" defTabSz="1193262" rtl="0" eaLnBrk="1" fontAlgn="base" hangingPunct="1">
        <a:spcBef>
          <a:spcPct val="0"/>
        </a:spcBef>
        <a:spcAft>
          <a:spcPct val="0"/>
        </a:spcAft>
        <a:buClr>
          <a:srgbClr val="262626"/>
        </a:buClr>
        <a:buSzPct val="100000"/>
        <a:buFont typeface="Arial" charset="0"/>
        <a:buChar char="▪"/>
        <a:defRPr sz="2133">
          <a:solidFill>
            <a:srgbClr val="262626"/>
          </a:solidFill>
          <a:latin typeface="+mn-lt"/>
        </a:defRPr>
      </a:lvl2pPr>
      <a:lvl3pPr marL="609315" indent="-349106" algn="l" defTabSz="1193262" rtl="0" eaLnBrk="1" fontAlgn="base" hangingPunct="1">
        <a:spcBef>
          <a:spcPct val="0"/>
        </a:spcBef>
        <a:spcAft>
          <a:spcPct val="0"/>
        </a:spcAft>
        <a:buClr>
          <a:srgbClr val="262626"/>
        </a:buClr>
        <a:buSzPct val="100000"/>
        <a:buFont typeface="Arial" charset="0"/>
        <a:buChar char="–"/>
        <a:defRPr sz="2133">
          <a:solidFill>
            <a:srgbClr val="262626"/>
          </a:solidFill>
          <a:latin typeface="+mn-lt"/>
        </a:defRPr>
      </a:lvl3pPr>
      <a:lvl4pPr marL="818790" indent="-207337" algn="l" defTabSz="1193262" rtl="0" eaLnBrk="1" fontAlgn="base" hangingPunct="1">
        <a:spcBef>
          <a:spcPct val="0"/>
        </a:spcBef>
        <a:spcAft>
          <a:spcPct val="0"/>
        </a:spcAft>
        <a:buClr>
          <a:srgbClr val="262626"/>
        </a:buClr>
        <a:buSzPct val="100000"/>
        <a:buFont typeface="Arial" charset="0"/>
        <a:buChar char="▫"/>
        <a:defRPr sz="2133">
          <a:solidFill>
            <a:srgbClr val="262626"/>
          </a:solidFill>
          <a:latin typeface="+mn-lt"/>
        </a:defRPr>
      </a:lvl4pPr>
      <a:lvl5pPr marL="999310" indent="-173494" algn="l" defTabSz="1193262" rtl="0" eaLnBrk="1" fontAlgn="base" hangingPunct="1">
        <a:spcBef>
          <a:spcPct val="0"/>
        </a:spcBef>
        <a:spcAft>
          <a:spcPct val="0"/>
        </a:spcAft>
        <a:buClr>
          <a:srgbClr val="262626"/>
        </a:buClr>
        <a:buSzPct val="100000"/>
        <a:buFont typeface="Arial" charset="0"/>
        <a:buChar char="-"/>
        <a:defRPr sz="2133">
          <a:solidFill>
            <a:srgbClr val="262626"/>
          </a:solidFill>
          <a:latin typeface="+mn-lt"/>
        </a:defRPr>
      </a:lvl5pPr>
      <a:lvl6pPr marL="999310" indent="-173494" algn="l" defTabSz="11932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6pPr>
      <a:lvl7pPr marL="999310" indent="-173494" algn="l" defTabSz="11932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7pPr>
      <a:lvl8pPr marL="999310" indent="-173494" algn="l" defTabSz="11932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8pPr>
      <a:lvl9pPr marL="999310" indent="-173494" algn="l" defTabSz="11932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86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15" algn="l" defTabSz="12186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60" algn="l" defTabSz="12186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4" algn="l" defTabSz="12186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8" algn="l" defTabSz="12186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32" algn="l" defTabSz="12186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47" algn="l" defTabSz="12186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80" algn="l" defTabSz="12186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05" algn="l" defTabSz="12186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5360" y="1316766"/>
            <a:ext cx="11521173" cy="4979157"/>
          </a:xfrm>
          <a:prstGeom prst="rect">
            <a:avLst/>
          </a:prstGeom>
        </p:spPr>
        <p:txBody>
          <a:bodyPr vert="horz" lIns="91438" tIns="45719" rIns="91438" bIns="45719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86891" y="6409942"/>
            <a:ext cx="2844800" cy="366183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40"/>
            <a:fld id="{A22995AA-C26E-4AF6-A7BA-848B15EA881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914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335414" y="796371"/>
            <a:ext cx="1152117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2092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0" r:id="rId1"/>
    <p:sldLayoutId id="2147484021" r:id="rId2"/>
    <p:sldLayoutId id="2147484022" r:id="rId3"/>
    <p:sldLayoutId id="2147484023" r:id="rId4"/>
    <p:sldLayoutId id="2147484024" r:id="rId5"/>
    <p:sldLayoutId id="2147484025" r:id="rId6"/>
  </p:sldLayoutIdLst>
  <p:hf hdr="0" ftr="0" dt="0"/>
  <p:txStyles>
    <p:titleStyle>
      <a:lvl1pPr algn="l" defTabSz="1219140" rtl="0" eaLnBrk="1" latinLnBrk="0" hangingPunct="1">
        <a:spcBef>
          <a:spcPct val="0"/>
        </a:spcBef>
        <a:buNone/>
        <a:defRPr kumimoji="0" lang="ru-RU" sz="2400" b="1" i="0" u="none" strike="noStrike" kern="1200" cap="all" spc="400" normalizeH="0" baseline="0" dirty="0">
          <a:ln>
            <a:noFill/>
          </a:ln>
          <a:solidFill>
            <a:srgbClr val="00703C"/>
          </a:solidFill>
          <a:effectLst/>
          <a:uLnTx/>
          <a:uFillTx/>
          <a:latin typeface="+mn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ct val="20000"/>
        </a:spcBef>
        <a:buFont typeface="Arial" panose="020B0604020202020204" pitchFamily="34" charset="0"/>
        <a:buNone/>
        <a:defRPr sz="1867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09570" indent="0" algn="l" defTabSz="1219140" rtl="0" eaLnBrk="1" latinLnBrk="0" hangingPunct="1">
        <a:spcBef>
          <a:spcPct val="20000"/>
        </a:spcBef>
        <a:buFont typeface="Arial" panose="020B0604020202020204" pitchFamily="34" charset="0"/>
        <a:buNone/>
        <a:defRPr sz="1867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1219140" indent="0" algn="l" defTabSz="1219140" rtl="0" eaLnBrk="1" latinLnBrk="0" hangingPunct="1">
        <a:spcBef>
          <a:spcPct val="20000"/>
        </a:spcBef>
        <a:buFont typeface="Arial" panose="020B0604020202020204" pitchFamily="34" charset="0"/>
        <a:buNone/>
        <a:defRPr sz="1867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828709" indent="0" algn="l" defTabSz="1219140" rtl="0" eaLnBrk="1" latinLnBrk="0" hangingPunct="1">
        <a:spcBef>
          <a:spcPct val="20000"/>
        </a:spcBef>
        <a:buFont typeface="Arial" panose="020B0604020202020204" pitchFamily="34" charset="0"/>
        <a:buNone/>
        <a:defRPr sz="1867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2438278" indent="0" algn="l" defTabSz="1219140" rtl="0" eaLnBrk="1" latinLnBrk="0" hangingPunct="1">
        <a:spcBef>
          <a:spcPct val="20000"/>
        </a:spcBef>
        <a:buFont typeface="Arial" panose="020B0604020202020204" pitchFamily="34" charset="0"/>
        <a:buNone/>
        <a:defRPr sz="1867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xmlns="" id="{400CC8D7-0BCF-47B1-B0D6-1DCE55B86465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588" name="think-cell Slide" r:id="rId11" imgW="425" imgH="424" progId="TCLayout.ActiveDocument.1">
                  <p:embed/>
                </p:oleObj>
              </mc:Choice>
              <mc:Fallback>
                <p:oleObj name="think-cell Slide" r:id="rId11" imgW="425" imgH="424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xmlns="" id="{400CC8D7-0BCF-47B1-B0D6-1DCE55B86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xmlns="" id="{B8A5215F-1F25-47F3-8F1A-506EF547E67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E61AF312-B435-46FE-902C-AF5B6D813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9E13971-3429-46D7-A3B7-0B2173FE7F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6F1CC4F-5C9A-465D-AFBC-F0F876751F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D47794-8BA6-4EA9-BCB9-33B273E3FACA}" type="datetimeFigureOut">
              <a:rPr lang="en-US" smtClean="0"/>
              <a:t>9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661879A-C2A9-4711-96C3-1427A88338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5C842BA-A4C2-4202-8DBC-BC26C2AC6A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FD2794-D9F8-4B51-96E5-D7E3CF23758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xmlns="" id="{D347D1C4-A6DE-4165-A87A-68EEC7A754D9}"/>
              </a:ext>
            </a:extLst>
          </p:cNvPr>
          <p:cNvSpPr txBox="1">
            <a:spLocks/>
          </p:cNvSpPr>
          <p:nvPr/>
        </p:nvSpPr>
        <p:spPr bwMode="auto">
          <a:xfrm>
            <a:off x="11839659" y="6552627"/>
            <a:ext cx="227626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1200" smtClean="0">
                <a:solidFill>
                  <a:schemeClr val="tx1">
                    <a:lumMod val="20000"/>
                    <a:lumOff val="8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  <a:sym typeface="Arial Narrow" panose="020B0606020202030204" pitchFamily="34" charset="0"/>
              </a:rPr>
              <a:pPr algn="ctr"/>
              <a:t>‹#›</a:t>
            </a:fld>
            <a:endParaRPr sz="1200" dirty="0">
              <a:solidFill>
                <a:schemeClr val="tx1">
                  <a:lumMod val="20000"/>
                  <a:lumOff val="80000"/>
                </a:schemeClr>
              </a:solidFill>
              <a:latin typeface="Georgia" panose="02040502050405020303" pitchFamily="18" charset="0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8013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5" r:id="rId3"/>
    <p:sldLayoutId id="2147484036" r:id="rId4"/>
    <p:sldLayoutId id="2147484037" r:id="rId5"/>
    <p:sldLayoutId id="2147484038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132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3C70EE7B-8A80-42ED-830D-189F7B08921F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231769"/>
            <a:ext cx="1119218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7" y="39203"/>
            <a:ext cx="540212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7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 Narrow"/>
                <a:ea typeface="+mn-ea"/>
                <a:cs typeface="Arial" panose="020B0604020202020204" pitchFamily="34" charset="0"/>
                <a:sym typeface="Arial Narrow" panose="020B060602020203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624558"/>
            <a:ext cx="111664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/>
            </a:pP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Arial Narrow" panose="020B0606020202030204" pitchFamily="34" charset="0"/>
              </a:rPr>
              <a:t>Unit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Arial Narrow" panose="020B0606020202030204" pitchFamily="34" charset="0"/>
              </a:rPr>
              <a:t>of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Arial Narrow" panose="020B0606020202030204" pitchFamily="34" charset="0"/>
              </a:rPr>
              <a:t>measure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7" name="Group 6" hidden="1"/>
          <p:cNvGrpSpPr/>
          <p:nvPr/>
        </p:nvGrpSpPr>
        <p:grpSpPr>
          <a:xfrm>
            <a:off x="161986" y="6346474"/>
            <a:ext cx="11458513" cy="380605"/>
            <a:chOff x="694372" y="6247387"/>
            <a:chExt cx="10487978" cy="380604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694372" y="6247387"/>
              <a:ext cx="10487978" cy="164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4775" marR="0" lvl="0" indent="-104775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lang="ru-RU"/>
              </a:pPr>
              <a:r>
                <a:rPr kumimoji="0" lang="ru-RU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  <a:sym typeface="Arial Narrow" panose="020B0606020202030204" pitchFamily="34" charset="0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694372" y="6463779"/>
              <a:ext cx="10487978" cy="164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>
              <a:spAutoFit/>
            </a:bodyPr>
            <a:lstStyle/>
            <a:p>
              <a:pPr marL="846158" marR="0" lvl="0" indent="-846158" algn="l" defTabSz="1242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50563" algn="l"/>
                </a:tabLst>
                <a:defRPr/>
              </a:pPr>
              <a:r>
                <a:rPr kumimoji="0" lang="ru-RU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 Narrow"/>
                  <a:ea typeface="+mn-ea"/>
                  <a:cs typeface="Arial" panose="020B0604020202020204" pitchFamily="34" charset="0"/>
                  <a:sym typeface="Arial Narrow" panose="020B0606020202030204" pitchFamily="34" charset="0"/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2384716"/>
            <a:ext cx="5853024" cy="12311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68510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 Narrow"/>
                  <a:ea typeface="+mn-ea"/>
                  <a:cs typeface="Arial" panose="020B0604020202020204" pitchFamily="34" charset="0"/>
                  <a:sym typeface="Arial Narrow" panose="020B0606020202030204" pitchFamily="34" charset="0"/>
                </a:rPr>
                <a:t>Titl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 Narrow"/>
                  <a:ea typeface="+mn-ea"/>
                  <a:cs typeface="Arial" panose="020B0604020202020204" pitchFamily="34" charset="0"/>
                  <a:sym typeface="Arial Narrow" panose="020B0606020202030204" pitchFamily="34" charset="0"/>
                </a:rPr>
                <a:t>Unit of measure</a:t>
              </a:r>
            </a:p>
          </p:txBody>
        </p:sp>
      </p:grpSp>
      <p:sp>
        <p:nvSpPr>
          <p:cNvPr id="64" name="Slide Number"/>
          <p:cNvSpPr txBox="1">
            <a:spLocks/>
          </p:cNvSpPr>
          <p:nvPr/>
        </p:nvSpPr>
        <p:spPr bwMode="auto">
          <a:xfrm>
            <a:off x="11885344" y="6562854"/>
            <a:ext cx="136256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1067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 Narrow"/>
                <a:ea typeface="+mn-ea"/>
                <a:cs typeface="Arial" panose="020B0604020202020204" pitchFamily="34" charset="0"/>
                <a:sym typeface="Arial Narrow" panose="020B060602020203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67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 Narrow"/>
              <a:ea typeface="+mn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17" name="McKSticker" hidden="1"/>
          <p:cNvGrpSpPr/>
          <p:nvPr/>
        </p:nvGrpSpPr>
        <p:grpSpPr bwMode="gray">
          <a:xfrm>
            <a:off x="11584362" y="690217"/>
            <a:ext cx="452495" cy="171265"/>
            <a:chOff x="8408181" y="285750"/>
            <a:chExt cx="332594" cy="16785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8181" y="285750"/>
              <a:ext cx="332594" cy="16785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1242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933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 Narrow"/>
                  <a:ea typeface="+mn-ea"/>
                  <a:cs typeface="Arial" panose="020B0604020202020204" pitchFamily="34" charset="0"/>
                  <a:sym typeface="Arial Narrow" panose="020B060602020203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8181" y="285750"/>
              <a:ext cx="0" cy="16785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8181" y="453607"/>
              <a:ext cx="332594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Freeform 6"/>
          <p:cNvSpPr>
            <a:spLocks/>
          </p:cNvSpPr>
          <p:nvPr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</p:spPr>
        <p:txBody>
          <a:bodyPr lIns="102615" tIns="102615" rIns="102615" bIns="102615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7" b="0" i="0" u="none" strike="noStrike" kern="0" cap="none" spc="0" normalizeH="0" baseline="0" noProof="0">
              <a:ln>
                <a:noFill/>
              </a:ln>
              <a:solidFill>
                <a:srgbClr val="787E7F"/>
              </a:solidFill>
              <a:effectLst/>
              <a:uLnTx/>
              <a:uFillTx/>
              <a:latin typeface="Arial Narrow"/>
              <a:ea typeface="+mn-ea"/>
              <a:cs typeface="+mn-cs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1997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</p:sldLayoutIdLst>
  <p:txStyles>
    <p:titleStyle>
      <a:lvl1pPr algn="l" defTabSz="1242792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374600" algn="l"/>
        </a:tabLst>
        <a:defRPr lang="ru-RU" sz="2400" b="0" baseline="0">
          <a:solidFill>
            <a:srgbClr val="5D6578"/>
          </a:solidFill>
          <a:latin typeface="Arial Narrow" panose="020B0606020202030204" pitchFamily="34" charset="0"/>
          <a:ea typeface="+mj-ea"/>
          <a:cs typeface="Arial" panose="020B0604020202020204" pitchFamily="34" charset="0"/>
          <a:sym typeface="Arial Narrow" panose="020B0606020202030204" pitchFamily="34" charset="0"/>
        </a:defRPr>
      </a:lvl1pPr>
      <a:lvl2pPr algn="l" defTabSz="1242792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2pPr>
      <a:lvl3pPr algn="l" defTabSz="1242792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3pPr>
      <a:lvl4pPr algn="l" defTabSz="1242792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4pPr>
      <a:lvl5pPr algn="l" defTabSz="1242792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5pPr>
      <a:lvl6pPr marL="634616" algn="l" defTabSz="1242792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6pPr>
      <a:lvl7pPr marL="1269234" algn="l" defTabSz="1242792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7pPr>
      <a:lvl8pPr marL="1903850" algn="l" defTabSz="1242792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8pPr>
      <a:lvl9pPr marL="2538467" algn="l" defTabSz="1242792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427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600" baseline="0">
          <a:solidFill>
            <a:schemeClr val="tx1"/>
          </a:solidFill>
          <a:latin typeface="Arial Narrow" panose="020B0606020202030204" pitchFamily="34" charset="0"/>
          <a:ea typeface="+mn-ea"/>
          <a:cs typeface="Arial" panose="020B0604020202020204" pitchFamily="34" charset="0"/>
          <a:sym typeface="Arial Narrow" panose="020B0606020202030204" pitchFamily="34" charset="0"/>
        </a:defRPr>
      </a:lvl1pPr>
      <a:lvl2pPr marL="268831" indent="-266628" algn="l" defTabSz="124279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2pPr>
      <a:lvl3pPr marL="634616" indent="-363583" algn="l" defTabSz="124279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3pPr>
      <a:lvl4pPr marL="852768" indent="-215947" algn="l" defTabSz="124279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4pPr>
      <a:lvl5pPr marL="1040773" indent="-180690" algn="l" defTabSz="124279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5pPr>
      <a:lvl6pPr marL="1040773" indent="-180690" algn="l" defTabSz="12427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6pPr>
      <a:lvl7pPr marL="1040773" indent="-180690" algn="l" defTabSz="12427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7pPr>
      <a:lvl8pPr marL="1040773" indent="-180690" algn="l" defTabSz="12427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8pPr>
      <a:lvl9pPr marL="1040773" indent="-180690" algn="l" defTabSz="12427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69234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1pPr>
      <a:lvl2pPr marL="634616" algn="l" defTabSz="1269234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2pPr>
      <a:lvl3pPr marL="1269234" algn="l" defTabSz="1269234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3pPr>
      <a:lvl4pPr marL="1903850" algn="l" defTabSz="1269234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4pPr>
      <a:lvl5pPr marL="2538467" algn="l" defTabSz="1269234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5pPr>
      <a:lvl6pPr marL="3173083" algn="l" defTabSz="1269234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807701" algn="l" defTabSz="1269234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442317" algn="l" defTabSz="1269234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076936" algn="l" defTabSz="1269234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70C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5000">
                <a:srgbClr val="00202F"/>
              </a:gs>
              <a:gs pos="6000">
                <a:srgbClr val="003048"/>
              </a:gs>
              <a:gs pos="13000">
                <a:srgbClr val="002D43"/>
              </a:gs>
              <a:gs pos="20000">
                <a:srgbClr val="002A3E"/>
              </a:gs>
              <a:gs pos="27000">
                <a:srgbClr val="002638"/>
              </a:gs>
              <a:gs pos="0">
                <a:srgbClr val="00334D"/>
              </a:gs>
              <a:gs pos="46000">
                <a:srgbClr val="001823"/>
              </a:gs>
              <a:gs pos="100000">
                <a:srgbClr val="001119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31" name="Text Box 13"/>
          <p:cNvSpPr txBox="1">
            <a:spLocks noChangeArrowheads="1"/>
          </p:cNvSpPr>
          <p:nvPr userDrawn="1"/>
        </p:nvSpPr>
        <p:spPr bwMode="auto">
          <a:xfrm>
            <a:off x="11675988" y="6629908"/>
            <a:ext cx="35980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defTabSz="1019175">
              <a:spcBef>
                <a:spcPct val="0"/>
              </a:spcBef>
              <a:defRPr>
                <a:solidFill>
                  <a:schemeClr val="tx1"/>
                </a:solidFill>
                <a:latin typeface="Book Antiqua" pitchFamily="18" charset="0"/>
              </a:defRPr>
            </a:lvl1pPr>
            <a:lvl2pPr marL="509588" algn="l" defTabSz="1019175">
              <a:spcBef>
                <a:spcPct val="0"/>
              </a:spcBef>
              <a:defRPr>
                <a:solidFill>
                  <a:schemeClr val="tx1"/>
                </a:solidFill>
                <a:latin typeface="Book Antiqua" pitchFamily="18" charset="0"/>
              </a:defRPr>
            </a:lvl2pPr>
            <a:lvl3pPr marL="1019175" algn="l" defTabSz="1019175">
              <a:spcBef>
                <a:spcPct val="0"/>
              </a:spcBef>
              <a:defRPr>
                <a:solidFill>
                  <a:schemeClr val="tx1"/>
                </a:solidFill>
                <a:latin typeface="Book Antiqua" pitchFamily="18" charset="0"/>
              </a:defRPr>
            </a:lvl3pPr>
            <a:lvl4pPr marL="1528763" algn="l" defTabSz="1019175">
              <a:spcBef>
                <a:spcPct val="0"/>
              </a:spcBef>
              <a:defRPr>
                <a:solidFill>
                  <a:schemeClr val="tx1"/>
                </a:solidFill>
                <a:latin typeface="Book Antiqua" pitchFamily="18" charset="0"/>
              </a:defRPr>
            </a:lvl4pPr>
            <a:lvl5pPr marL="2038350" algn="l" defTabSz="1019175">
              <a:spcBef>
                <a:spcPct val="0"/>
              </a:spcBef>
              <a:defRPr>
                <a:solidFill>
                  <a:schemeClr val="tx1"/>
                </a:solidFill>
                <a:latin typeface="Book Antiqua" pitchFamily="18" charset="0"/>
              </a:defRPr>
            </a:lvl5pPr>
            <a:lvl6pPr marL="2495550" defTabSz="1019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Book Antiqua" pitchFamily="18" charset="0"/>
              </a:defRPr>
            </a:lvl6pPr>
            <a:lvl7pPr marL="2952750" defTabSz="1019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Book Antiqua" pitchFamily="18" charset="0"/>
              </a:defRPr>
            </a:lvl7pPr>
            <a:lvl8pPr marL="3409950" defTabSz="1019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Book Antiqua" pitchFamily="18" charset="0"/>
              </a:defRPr>
            </a:lvl8pPr>
            <a:lvl9pPr marL="3867150" defTabSz="1019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fld id="{2C5EEF94-3A51-415D-837D-192745C7A8DE}" type="slidenum">
              <a:rPr lang="en-US" sz="900" b="0" i="0" smtClean="0">
                <a:solidFill>
                  <a:schemeClr val="bg1">
                    <a:lumMod val="50000"/>
                  </a:schemeClr>
                </a:solidFill>
                <a:latin typeface="+mj-lt"/>
                <a:cs typeface="Calibri" pitchFamily="34" charset="0"/>
              </a:rPr>
              <a:pPr algn="r">
                <a:spcBef>
                  <a:spcPct val="50000"/>
                </a:spcBef>
                <a:defRPr/>
              </a:pPr>
              <a:t>‹#›</a:t>
            </a:fld>
            <a:endParaRPr lang="en-US" sz="900" b="0" i="0" dirty="0">
              <a:solidFill>
                <a:schemeClr val="bg1">
                  <a:lumMod val="50000"/>
                </a:scheme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31820" y="277973"/>
            <a:ext cx="11739093" cy="41857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ctr" anchorCtr="0">
            <a:spAutoFit/>
          </a:bodyPr>
          <a:lstStyle/>
          <a:p>
            <a:pPr lvl="0" algn="l" defTabSz="1065187" eaLnBrk="0" fontAlgn="base" hangingPunct="0">
              <a:lnSpc>
                <a:spcPct val="85000"/>
              </a:lnSpc>
              <a:spcAft>
                <a:spcPct val="0"/>
              </a:spcAft>
            </a:pPr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84562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0" r:id="rId1"/>
    <p:sldLayoutId id="2147484041" r:id="rId2"/>
  </p:sldLayoutIdLst>
  <p:transition spd="slow">
    <p:push dir="u"/>
  </p:transition>
  <p:hf hdr="0" ftr="0" dt="0"/>
  <p:txStyles>
    <p:titleStyle>
      <a:lvl1pPr algn="l" defTabSz="1218750" rtl="0" eaLnBrk="1" latinLnBrk="0" hangingPunct="1">
        <a:lnSpc>
          <a:spcPct val="86000"/>
        </a:lnSpc>
        <a:spcBef>
          <a:spcPct val="0"/>
        </a:spcBef>
        <a:buNone/>
        <a:defRPr lang="ru-RU" sz="3200" b="0" i="0" kern="1200" spc="-53" smtClean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520" indent="-228520" algn="l" defTabSz="121875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800" spc="-13">
          <a:solidFill>
            <a:schemeClr val="tx1"/>
          </a:solidFill>
          <a:latin typeface="+mn-lt"/>
          <a:ea typeface="+mn-ea"/>
          <a:cs typeface="+mn-cs"/>
        </a:defRPr>
      </a:lvl1pPr>
      <a:lvl2pPr marL="459139" indent="-230637" algn="l" defTabSz="121875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2pPr>
      <a:lvl3pPr marL="687657" indent="-228520" algn="l" defTabSz="121875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+mn-cs"/>
        </a:defRPr>
      </a:lvl3pPr>
      <a:lvl4pPr marL="916177" indent="-228520" algn="l" defTabSz="121875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4pPr>
      <a:lvl5pPr marL="1144697" indent="-228520" algn="l" defTabSz="121875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600" kern="800">
          <a:solidFill>
            <a:schemeClr val="tx1"/>
          </a:solidFill>
          <a:latin typeface="+mn-lt"/>
          <a:ea typeface="+mn-ea"/>
          <a:cs typeface="+mn-cs"/>
        </a:defRPr>
      </a:lvl5pPr>
      <a:lvl6pPr marL="3351540" indent="-304680" algn="l" defTabSz="121875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0920" indent="-304680" algn="l" defTabSz="121875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290" indent="-304680" algn="l" defTabSz="121875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79660" indent="-304680" algn="l" defTabSz="121875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75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63" algn="l" defTabSz="121875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750" algn="l" defTabSz="121875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120" algn="l" defTabSz="121875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498" algn="l" defTabSz="121875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860" algn="l" defTabSz="121875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223" algn="l" defTabSz="121875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600" algn="l" defTabSz="121875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971" algn="l" defTabSz="121875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01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err="1">
              <a:solidFill>
                <a:schemeClr val="tx1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8" y="39204"/>
            <a:ext cx="546286" cy="167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066" cap="all" dirty="0">
                <a:solidFill>
                  <a:srgbClr val="808080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624559"/>
            <a:ext cx="111664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ru-RU"/>
            </a:pP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Unit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of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measure</a:t>
            </a:r>
            <a:endParaRPr sz="1600" dirty="0">
              <a:solidFill>
                <a:srgbClr val="808080"/>
              </a:solidFill>
              <a:latin typeface="Arial Narrow" panose="020B0606020202030204" pitchFamily="34" charset="0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7" name="Group 6" hidden="1"/>
          <p:cNvGrpSpPr/>
          <p:nvPr/>
        </p:nvGrpSpPr>
        <p:grpSpPr>
          <a:xfrm>
            <a:off x="161986" y="6343332"/>
            <a:ext cx="11458514" cy="385311"/>
            <a:chOff x="694372" y="6244249"/>
            <a:chExt cx="10487978" cy="38531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694372" y="624424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ru-RU"/>
              </a:pPr>
              <a:r>
                <a:rPr sz="1066" dirty="0">
                  <a:solidFill>
                    <a:srgbClr val="595959"/>
                  </a:solidFill>
                  <a:latin typeface="Arial Narrow" panose="020B060602020203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694372" y="646220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>
              <a:spAutoFit/>
            </a:bodyPr>
            <a:lstStyle/>
            <a:p>
              <a:pPr marL="846176" indent="-846176" defTabSz="1242817">
                <a:tabLst>
                  <a:tab pos="850580" algn="l"/>
                </a:tabLst>
              </a:pPr>
              <a:r>
                <a:rPr lang="ru-RU" sz="1066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8" y="1673767"/>
            <a:ext cx="5801188" cy="521560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Title</a:t>
              </a:r>
            </a:p>
            <a:p>
              <a:r>
                <a:rPr lang="ru-RU" sz="1600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Unit of measure</a:t>
              </a:r>
            </a:p>
          </p:txBody>
        </p:sp>
      </p:grpSp>
      <p:sp>
        <p:nvSpPr>
          <p:cNvPr id="64" name="Slide Number"/>
          <p:cNvSpPr txBox="1">
            <a:spLocks/>
          </p:cNvSpPr>
          <p:nvPr userDrawn="1"/>
        </p:nvSpPr>
        <p:spPr bwMode="auto">
          <a:xfrm>
            <a:off x="11883958" y="6561285"/>
            <a:ext cx="139026" cy="16735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sz="1066" smtClean="0">
                <a:solidFill>
                  <a:srgbClr val="595959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pPr algn="ctr"/>
              <a:t>‹#›</a:t>
            </a:fld>
            <a:endParaRPr sz="1066" dirty="0">
              <a:solidFill>
                <a:srgbClr val="595959"/>
              </a:solidFill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17" name="McKSticker" hidden="1"/>
          <p:cNvGrpSpPr/>
          <p:nvPr/>
        </p:nvGrpSpPr>
        <p:grpSpPr bwMode="gray">
          <a:xfrm>
            <a:off x="11575134" y="690216"/>
            <a:ext cx="461694" cy="174940"/>
            <a:chOff x="8401419" y="285750"/>
            <a:chExt cx="339356" cy="17145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1419" y="285750"/>
              <a:ext cx="339356" cy="1714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42817">
                <a:buClr>
                  <a:srgbClr val="002960"/>
                </a:buClr>
              </a:pPr>
              <a:r>
                <a:rPr lang="ru-RU" sz="934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1419" y="285750"/>
              <a:ext cx="0" cy="17145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1419" y="457208"/>
              <a:ext cx="33935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420165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  <p:sldLayoutId id="2147484045" r:id="rId2"/>
    <p:sldLayoutId id="2147484046" r:id="rId3"/>
    <p:sldLayoutId id="2147484047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1242817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374608" algn="l"/>
        </a:tabLst>
        <a:defRPr lang="ru-RU" sz="2400" b="0" baseline="0">
          <a:solidFill>
            <a:srgbClr val="5D6578"/>
          </a:solidFill>
          <a:latin typeface="Arial Narrow" panose="020B0606020202030204" pitchFamily="34" charset="0"/>
          <a:ea typeface="+mj-ea"/>
          <a:cs typeface="Arial" panose="020B0604020202020204" pitchFamily="34" charset="0"/>
          <a:sym typeface="Arial Narrow" panose="020B0606020202030204" pitchFamily="34" charset="0"/>
        </a:defRPr>
      </a:lvl1pPr>
      <a:lvl2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2pPr>
      <a:lvl3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3pPr>
      <a:lvl4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4pPr>
      <a:lvl5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5pPr>
      <a:lvl6pPr marL="63463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6pPr>
      <a:lvl7pPr marL="126926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7pPr>
      <a:lvl8pPr marL="190389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8pPr>
      <a:lvl9pPr marL="2538521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600" baseline="0">
          <a:solidFill>
            <a:schemeClr val="tx1"/>
          </a:solidFill>
          <a:latin typeface="Arial Narrow" panose="020B0606020202030204" pitchFamily="34" charset="0"/>
          <a:ea typeface="+mn-ea"/>
          <a:cs typeface="Arial" panose="020B0604020202020204" pitchFamily="34" charset="0"/>
          <a:sym typeface="Arial Narrow" panose="020B0606020202030204" pitchFamily="34" charset="0"/>
        </a:defRPr>
      </a:lvl1pPr>
      <a:lvl2pPr marL="268836" indent="-26663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2pPr>
      <a:lvl3pPr marL="634630" indent="-363591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3pPr>
      <a:lvl4pPr marL="852786" indent="-215952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4pPr>
      <a:lvl5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5pPr>
      <a:lvl6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6pPr>
      <a:lvl7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7pPr>
      <a:lvl8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8pPr>
      <a:lvl9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1pPr>
      <a:lvl2pPr marL="63463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2pPr>
      <a:lvl3pPr marL="126926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3pPr>
      <a:lvl4pPr marL="190389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4pPr>
      <a:lvl5pPr marL="253852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5pPr>
      <a:lvl6pPr marL="317315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80778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44241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077042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372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4" r:id="rId4"/>
    <p:sldLayoutId id="2147484056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200" b="0" i="0" kern="1200" cap="none" baseline="0" dirty="0" smtClean="0">
          <a:solidFill>
            <a:schemeClr val="tx1"/>
          </a:solidFill>
          <a:latin typeface="Calibri Light" charset="0"/>
          <a:ea typeface="Calibri Light" charset="0"/>
          <a:cs typeface="Calibri Light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8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24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20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438">
          <p15:clr>
            <a:srgbClr val="F26B43"/>
          </p15:clr>
        </p15:guide>
        <p15:guide id="2" pos="7242">
          <p15:clr>
            <a:srgbClr val="F26B43"/>
          </p15:clr>
        </p15:guide>
        <p15:guide id="3" orient="horz" pos="436">
          <p15:clr>
            <a:srgbClr val="F26B43"/>
          </p15:clr>
        </p15:guide>
        <p15:guide id="4" orient="horz" pos="3884">
          <p15:clr>
            <a:srgbClr val="F26B43"/>
          </p15:clr>
        </p15:guide>
        <p15:guide id="17" orient="horz" pos="799">
          <p15:clr>
            <a:srgbClr val="F26B43"/>
          </p15:clr>
        </p15:guide>
        <p15:guide id="18" pos="37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E61AF312-B435-46FE-902C-AF5B6D813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9E13971-3429-46D7-A3B7-0B2173FE7F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6F1CC4F-5C9A-465D-AFBC-F0F876751F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D47794-8BA6-4EA9-BCB9-33B273E3FACA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2/20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661879A-C2A9-4711-96C3-1427A88338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5C842BA-A4C2-4202-8DBC-BC26C2AC6A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FD2794-D9F8-4B51-96E5-D7E3CF2375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xmlns="" id="{D347D1C4-A6DE-4165-A87A-68EEC7A754D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39659" y="6552627"/>
            <a:ext cx="227626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20000"/>
                    <a:lumOff val="80000"/>
                  </a:prstClr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Arial" panose="020B0604020202020204" pitchFamily="34" charset="0"/>
                <a:sym typeface="Arial Narrow" panose="020B060602020203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20000"/>
                  <a:lumOff val="80000"/>
                </a:prstClr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637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EE1BE55F-B893-EF4A-B835-1B41EF3724E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93" y="1"/>
            <a:ext cx="121832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023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txStyles>
    <p:titleStyle>
      <a:lvl1pPr algn="l" defTabSz="932962" rtl="0" eaLnBrk="1" latinLnBrk="0" hangingPunct="1">
        <a:lnSpc>
          <a:spcPct val="90000"/>
        </a:lnSpc>
        <a:spcBef>
          <a:spcPct val="0"/>
        </a:spcBef>
        <a:buNone/>
        <a:defRPr sz="448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241" indent="-233241" algn="l" defTabSz="932962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7" kern="1200">
          <a:solidFill>
            <a:schemeClr val="tx1"/>
          </a:solidFill>
          <a:latin typeface="+mn-lt"/>
          <a:ea typeface="+mn-ea"/>
          <a:cs typeface="+mn-cs"/>
        </a:defRPr>
      </a:lvl1pPr>
      <a:lvl2pPr marL="699722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166203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3pPr>
      <a:lvl4pPr marL="1632684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2099165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565646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3032128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498609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965090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ross 13"/>
          <p:cNvSpPr/>
          <p:nvPr userDrawn="1"/>
        </p:nvSpPr>
        <p:spPr>
          <a:xfrm rot="18761601">
            <a:off x="58398" y="3658121"/>
            <a:ext cx="4796677" cy="4796053"/>
          </a:xfrm>
          <a:prstGeom prst="plus">
            <a:avLst>
              <a:gd name="adj" fmla="val 40280"/>
            </a:avLst>
          </a:prstGeom>
          <a:solidFill>
            <a:schemeClr val="bg1">
              <a:alpha val="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 17"/>
          <p:cNvSpPr/>
          <p:nvPr userDrawn="1"/>
        </p:nvSpPr>
        <p:spPr>
          <a:xfrm>
            <a:off x="8862626" y="0"/>
            <a:ext cx="3329374" cy="3429000"/>
          </a:xfrm>
          <a:custGeom>
            <a:avLst/>
            <a:gdLst>
              <a:gd name="connsiteX0" fmla="*/ 230104 w 6659616"/>
              <a:gd name="connsiteY0" fmla="*/ 0 h 6858000"/>
              <a:gd name="connsiteX1" fmla="*/ 2529160 w 6659616"/>
              <a:gd name="connsiteY1" fmla="*/ 0 h 6858000"/>
              <a:gd name="connsiteX2" fmla="*/ 2510222 w 6659616"/>
              <a:gd name="connsiteY2" fmla="*/ 31174 h 6858000"/>
              <a:gd name="connsiteX3" fmla="*/ 2126000 w 6659616"/>
              <a:gd name="connsiteY3" fmla="*/ 1548581 h 6858000"/>
              <a:gd name="connsiteX4" fmla="*/ 5309420 w 6659616"/>
              <a:gd name="connsiteY4" fmla="*/ 4732002 h 6858000"/>
              <a:gd name="connsiteX5" fmla="*/ 6548552 w 6659616"/>
              <a:gd name="connsiteY5" fmla="*/ 4481833 h 6858000"/>
              <a:gd name="connsiteX6" fmla="*/ 6659616 w 6659616"/>
              <a:gd name="connsiteY6" fmla="*/ 4428331 h 6858000"/>
              <a:gd name="connsiteX7" fmla="*/ 6659616 w 6659616"/>
              <a:gd name="connsiteY7" fmla="*/ 6684232 h 6858000"/>
              <a:gd name="connsiteX8" fmla="*/ 6636326 w 6659616"/>
              <a:gd name="connsiteY8" fmla="*/ 6690846 h 6858000"/>
              <a:gd name="connsiteX9" fmla="*/ 5309420 w 6659616"/>
              <a:gd name="connsiteY9" fmla="*/ 6858000 h 6858000"/>
              <a:gd name="connsiteX10" fmla="*/ 0 w 6659616"/>
              <a:gd name="connsiteY10" fmla="*/ 1548581 h 6858000"/>
              <a:gd name="connsiteX11" fmla="*/ 167154 w 6659616"/>
              <a:gd name="connsiteY11" fmla="*/ 2216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659616" h="6858000">
                <a:moveTo>
                  <a:pt x="230104" y="0"/>
                </a:moveTo>
                <a:lnTo>
                  <a:pt x="2529160" y="0"/>
                </a:lnTo>
                <a:lnTo>
                  <a:pt x="2510222" y="31174"/>
                </a:lnTo>
                <a:cubicBezTo>
                  <a:pt x="2265186" y="482243"/>
                  <a:pt x="2126000" y="999158"/>
                  <a:pt x="2126000" y="1548581"/>
                </a:cubicBezTo>
                <a:cubicBezTo>
                  <a:pt x="2126000" y="3306736"/>
                  <a:pt x="3551264" y="4732002"/>
                  <a:pt x="5309420" y="4732002"/>
                </a:cubicBezTo>
                <a:cubicBezTo>
                  <a:pt x="5748958" y="4732002"/>
                  <a:pt x="6167692" y="4642923"/>
                  <a:pt x="6548552" y="4481833"/>
                </a:cubicBezTo>
                <a:lnTo>
                  <a:pt x="6659616" y="4428331"/>
                </a:lnTo>
                <a:lnTo>
                  <a:pt x="6659616" y="6684232"/>
                </a:lnTo>
                <a:lnTo>
                  <a:pt x="6636326" y="6690846"/>
                </a:lnTo>
                <a:cubicBezTo>
                  <a:pt x="6212212" y="6799965"/>
                  <a:pt x="5767594" y="6858000"/>
                  <a:pt x="5309420" y="6858000"/>
                </a:cubicBezTo>
                <a:cubicBezTo>
                  <a:pt x="2377108" y="6858000"/>
                  <a:pt x="0" y="4480892"/>
                  <a:pt x="0" y="1548581"/>
                </a:cubicBezTo>
                <a:cubicBezTo>
                  <a:pt x="0" y="1090408"/>
                  <a:pt x="58034" y="645789"/>
                  <a:pt x="167154" y="221675"/>
                </a:cubicBezTo>
                <a:close/>
              </a:path>
            </a:pathLst>
          </a:custGeom>
          <a:solidFill>
            <a:schemeClr val="bg1">
              <a:alpha val="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7426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  <p:sldLayoutId id="2147483699" r:id="rId24"/>
    <p:sldLayoutId id="2147483700" r:id="rId25"/>
    <p:sldLayoutId id="2147483701" r:id="rId26"/>
    <p:sldLayoutId id="2147483702" r:id="rId27"/>
    <p:sldLayoutId id="2147483703" r:id="rId28"/>
    <p:sldLayoutId id="2147483704" r:id="rId29"/>
    <p:sldLayoutId id="2147483705" r:id="rId30"/>
    <p:sldLayoutId id="2147483706" r:id="rId31"/>
    <p:sldLayoutId id="2147483707" r:id="rId32"/>
    <p:sldLayoutId id="2147483708" r:id="rId33"/>
    <p:sldLayoutId id="2147483709" r:id="rId34"/>
    <p:sldLayoutId id="2147483710" r:id="rId35"/>
    <p:sldLayoutId id="2147483711" r:id="rId36"/>
    <p:sldLayoutId id="2147483712" r:id="rId37"/>
    <p:sldLayoutId id="2147483713" r:id="rId38"/>
    <p:sldLayoutId id="2147483714" r:id="rId39"/>
    <p:sldLayoutId id="2147483715" r:id="rId40"/>
    <p:sldLayoutId id="2147483716" r:id="rId41"/>
    <p:sldLayoutId id="2147483717" r:id="rId42"/>
    <p:sldLayoutId id="2147483718" r:id="rId43"/>
    <p:sldLayoutId id="2147483719" r:id="rId44"/>
    <p:sldLayoutId id="2147483720" r:id="rId45"/>
    <p:sldLayoutId id="2147483721" r:id="rId46"/>
    <p:sldLayoutId id="2147483722" r:id="rId47"/>
    <p:sldLayoutId id="2147483723" r:id="rId48"/>
    <p:sldLayoutId id="2147483724" r:id="rId49"/>
    <p:sldLayoutId id="2147483725" r:id="rId50"/>
    <p:sldLayoutId id="2147483726" r:id="rId51"/>
    <p:sldLayoutId id="2147483727" r:id="rId52"/>
    <p:sldLayoutId id="2147483728" r:id="rId53"/>
    <p:sldLayoutId id="2147483729" r:id="rId54"/>
    <p:sldLayoutId id="2147483730" r:id="rId55"/>
  </p:sldLayoutIdLst>
  <p:txStyles>
    <p:titleStyle>
      <a:lvl1pPr algn="l" defTabSz="914217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54" indent="-228554" algn="l" defTabSz="91421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663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1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4320">
          <p15:clr>
            <a:srgbClr val="F26B43"/>
          </p15:clr>
        </p15:guide>
        <p15:guide id="2" pos="7681">
          <p15:clr>
            <a:srgbClr val="F26B43"/>
          </p15:clr>
        </p15:guide>
        <p15:guide id="3" pos="14833">
          <p15:clr>
            <a:srgbClr val="F26B43"/>
          </p15:clr>
        </p15:guide>
        <p15:guide id="4" pos="529">
          <p15:clr>
            <a:srgbClr val="F26B43"/>
          </p15:clr>
        </p15:guide>
        <p15:guide id="5" orient="horz" pos="504">
          <p15:clr>
            <a:srgbClr val="F26B43"/>
          </p15:clr>
        </p15:guide>
        <p15:guide id="6" orient="horz" pos="813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04342378"/>
              </p:ext>
            </p:ext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343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err="1">
              <a:solidFill>
                <a:schemeClr val="tx1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231770"/>
            <a:ext cx="11192189" cy="332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8" y="39204"/>
            <a:ext cx="546286" cy="167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066" cap="all" dirty="0">
                <a:solidFill>
                  <a:srgbClr val="808080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624559"/>
            <a:ext cx="111664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ru-RU"/>
            </a:pP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Unit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of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measure</a:t>
            </a:r>
            <a:endParaRPr sz="1600" dirty="0">
              <a:solidFill>
                <a:srgbClr val="808080"/>
              </a:solidFill>
              <a:latin typeface="Arial Narrow" panose="020B0606020202030204" pitchFamily="34" charset="0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7" name="Group 6" hidden="1"/>
          <p:cNvGrpSpPr/>
          <p:nvPr/>
        </p:nvGrpSpPr>
        <p:grpSpPr>
          <a:xfrm>
            <a:off x="161986" y="6343332"/>
            <a:ext cx="11458514" cy="385311"/>
            <a:chOff x="694372" y="6244249"/>
            <a:chExt cx="10487978" cy="38531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694372" y="624424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ru-RU"/>
              </a:pPr>
              <a:r>
                <a:rPr sz="1066" dirty="0">
                  <a:solidFill>
                    <a:srgbClr val="595959"/>
                  </a:solidFill>
                  <a:latin typeface="Arial Narrow" panose="020B060602020203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694372" y="646220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>
              <a:spAutoFit/>
            </a:bodyPr>
            <a:lstStyle/>
            <a:p>
              <a:pPr marL="846176" indent="-846176" defTabSz="1242817">
                <a:tabLst>
                  <a:tab pos="850580" algn="l"/>
                </a:tabLst>
              </a:pPr>
              <a:r>
                <a:rPr lang="ru-RU" sz="1066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2384716"/>
            <a:ext cx="5853024" cy="12311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8" y="1673767"/>
            <a:ext cx="5801188" cy="521560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Title</a:t>
              </a:r>
            </a:p>
            <a:p>
              <a:r>
                <a:rPr lang="ru-RU" sz="1600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Unit of measure</a:t>
              </a:r>
            </a:p>
          </p:txBody>
        </p:sp>
      </p:grpSp>
      <p:sp>
        <p:nvSpPr>
          <p:cNvPr id="64" name="Slide Number"/>
          <p:cNvSpPr txBox="1">
            <a:spLocks/>
          </p:cNvSpPr>
          <p:nvPr/>
        </p:nvSpPr>
        <p:spPr bwMode="auto">
          <a:xfrm>
            <a:off x="11883958" y="6561285"/>
            <a:ext cx="139026" cy="16735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sz="1066" smtClean="0">
                <a:solidFill>
                  <a:srgbClr val="595959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pPr algn="ctr"/>
              <a:t>‹#›</a:t>
            </a:fld>
            <a:endParaRPr sz="1066" dirty="0">
              <a:solidFill>
                <a:srgbClr val="595959"/>
              </a:solidFill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17" name="McKSticker" hidden="1"/>
          <p:cNvGrpSpPr/>
          <p:nvPr/>
        </p:nvGrpSpPr>
        <p:grpSpPr bwMode="gray">
          <a:xfrm>
            <a:off x="11575134" y="690216"/>
            <a:ext cx="461694" cy="174940"/>
            <a:chOff x="8401419" y="285750"/>
            <a:chExt cx="339356" cy="17145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1419" y="285750"/>
              <a:ext cx="339356" cy="1714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42817">
                <a:buClr>
                  <a:srgbClr val="002960"/>
                </a:buClr>
              </a:pPr>
              <a:r>
                <a:rPr lang="ru-RU" sz="934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1419" y="285750"/>
              <a:ext cx="0" cy="17145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1419" y="457208"/>
              <a:ext cx="33935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Freeform 6"/>
          <p:cNvSpPr>
            <a:spLocks/>
          </p:cNvSpPr>
          <p:nvPr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</p:spPr>
        <p:txBody>
          <a:bodyPr lIns="102613" tIns="102613" rIns="102613" bIns="10261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66" kern="0">
              <a:solidFill>
                <a:srgbClr val="787E7F"/>
              </a:solidFill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165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</p:sldLayoutIdLst>
  <p:hf sldNum="0" hdr="0" ftr="0" dt="0"/>
  <p:txStyles>
    <p:titleStyle>
      <a:lvl1pPr algn="l" defTabSz="1242817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374608" algn="l"/>
        </a:tabLst>
        <a:defRPr lang="ru-RU" sz="2400" b="0" baseline="0">
          <a:solidFill>
            <a:srgbClr val="5D6578"/>
          </a:solidFill>
          <a:latin typeface="Arial Narrow" panose="020B0606020202030204" pitchFamily="34" charset="0"/>
          <a:ea typeface="+mj-ea"/>
          <a:cs typeface="Arial" panose="020B0604020202020204" pitchFamily="34" charset="0"/>
          <a:sym typeface="Arial Narrow" panose="020B0606020202030204" pitchFamily="34" charset="0"/>
        </a:defRPr>
      </a:lvl1pPr>
      <a:lvl2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2pPr>
      <a:lvl3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3pPr>
      <a:lvl4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4pPr>
      <a:lvl5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5pPr>
      <a:lvl6pPr marL="63463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6pPr>
      <a:lvl7pPr marL="126926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7pPr>
      <a:lvl8pPr marL="190389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8pPr>
      <a:lvl9pPr marL="2538521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600" baseline="0">
          <a:solidFill>
            <a:schemeClr val="tx1"/>
          </a:solidFill>
          <a:latin typeface="Arial Narrow" panose="020B0606020202030204" pitchFamily="34" charset="0"/>
          <a:ea typeface="+mn-ea"/>
          <a:cs typeface="Arial" panose="020B0604020202020204" pitchFamily="34" charset="0"/>
          <a:sym typeface="Arial Narrow" panose="020B0606020202030204" pitchFamily="34" charset="0"/>
        </a:defRPr>
      </a:lvl1pPr>
      <a:lvl2pPr marL="268836" indent="-26663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2pPr>
      <a:lvl3pPr marL="634630" indent="-363591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3pPr>
      <a:lvl4pPr marL="852786" indent="-215952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4pPr>
      <a:lvl5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5pPr>
      <a:lvl6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6pPr>
      <a:lvl7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7pPr>
      <a:lvl8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8pPr>
      <a:lvl9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1pPr>
      <a:lvl2pPr marL="63463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2pPr>
      <a:lvl3pPr marL="126926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3pPr>
      <a:lvl4pPr marL="190389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4pPr>
      <a:lvl5pPr marL="253852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5pPr>
      <a:lvl6pPr marL="317315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80778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44241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077042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321278208"/>
              </p:ext>
            </p:ext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45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err="1">
              <a:solidFill>
                <a:schemeClr val="tx1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231770"/>
            <a:ext cx="11192189" cy="332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8" y="39204"/>
            <a:ext cx="546286" cy="167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066" cap="all" dirty="0">
                <a:solidFill>
                  <a:srgbClr val="808080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624559"/>
            <a:ext cx="111664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ru-RU"/>
            </a:pP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Unit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of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measure</a:t>
            </a:r>
            <a:endParaRPr sz="1600" dirty="0">
              <a:solidFill>
                <a:srgbClr val="808080"/>
              </a:solidFill>
              <a:latin typeface="Arial Narrow" panose="020B0606020202030204" pitchFamily="34" charset="0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7" name="Group 6" hidden="1"/>
          <p:cNvGrpSpPr/>
          <p:nvPr/>
        </p:nvGrpSpPr>
        <p:grpSpPr>
          <a:xfrm>
            <a:off x="161986" y="6343332"/>
            <a:ext cx="11458514" cy="385311"/>
            <a:chOff x="694372" y="6244249"/>
            <a:chExt cx="10487978" cy="38531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694372" y="624424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ru-RU"/>
              </a:pPr>
              <a:r>
                <a:rPr sz="1066" dirty="0">
                  <a:solidFill>
                    <a:srgbClr val="595959"/>
                  </a:solidFill>
                  <a:latin typeface="Arial Narrow" panose="020B060602020203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694372" y="646220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>
              <a:spAutoFit/>
            </a:bodyPr>
            <a:lstStyle/>
            <a:p>
              <a:pPr marL="846176" indent="-846176" defTabSz="1242817">
                <a:tabLst>
                  <a:tab pos="850580" algn="l"/>
                </a:tabLst>
              </a:pPr>
              <a:r>
                <a:rPr lang="ru-RU" sz="1066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2384716"/>
            <a:ext cx="5853024" cy="12311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8" y="1673767"/>
            <a:ext cx="5801188" cy="521560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Title</a:t>
              </a:r>
            </a:p>
            <a:p>
              <a:r>
                <a:rPr lang="ru-RU" sz="1600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Unit of measure</a:t>
              </a:r>
            </a:p>
          </p:txBody>
        </p:sp>
      </p:grpSp>
      <p:sp>
        <p:nvSpPr>
          <p:cNvPr id="64" name="Slide Number"/>
          <p:cNvSpPr txBox="1">
            <a:spLocks/>
          </p:cNvSpPr>
          <p:nvPr/>
        </p:nvSpPr>
        <p:spPr bwMode="auto">
          <a:xfrm>
            <a:off x="11883958" y="6561285"/>
            <a:ext cx="139026" cy="16735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sz="1066" smtClean="0">
                <a:solidFill>
                  <a:srgbClr val="595959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pPr algn="ctr"/>
              <a:t>‹#›</a:t>
            </a:fld>
            <a:endParaRPr sz="1066" dirty="0">
              <a:solidFill>
                <a:srgbClr val="595959"/>
              </a:solidFill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17" name="McKSticker" hidden="1"/>
          <p:cNvGrpSpPr/>
          <p:nvPr/>
        </p:nvGrpSpPr>
        <p:grpSpPr bwMode="gray">
          <a:xfrm>
            <a:off x="11575134" y="690216"/>
            <a:ext cx="461694" cy="174940"/>
            <a:chOff x="8401419" y="285750"/>
            <a:chExt cx="339356" cy="17145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1419" y="285750"/>
              <a:ext cx="339356" cy="1714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42817">
                <a:buClr>
                  <a:srgbClr val="002960"/>
                </a:buClr>
              </a:pPr>
              <a:r>
                <a:rPr lang="ru-RU" sz="934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1419" y="285750"/>
              <a:ext cx="0" cy="17145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1419" y="457208"/>
              <a:ext cx="33935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Freeform 6"/>
          <p:cNvSpPr>
            <a:spLocks/>
          </p:cNvSpPr>
          <p:nvPr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</p:spPr>
        <p:txBody>
          <a:bodyPr lIns="102613" tIns="102613" rIns="102613" bIns="10261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66" kern="0">
              <a:solidFill>
                <a:srgbClr val="787E7F"/>
              </a:solidFill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2043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</p:sldLayoutIdLst>
  <p:hf sldNum="0" hdr="0" ftr="0" dt="0"/>
  <p:txStyles>
    <p:titleStyle>
      <a:lvl1pPr algn="l" defTabSz="1242817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374608" algn="l"/>
        </a:tabLst>
        <a:defRPr lang="ru-RU" sz="2400" b="0" baseline="0">
          <a:solidFill>
            <a:srgbClr val="5D6578"/>
          </a:solidFill>
          <a:latin typeface="Arial Narrow" panose="020B0606020202030204" pitchFamily="34" charset="0"/>
          <a:ea typeface="+mj-ea"/>
          <a:cs typeface="Arial" panose="020B0604020202020204" pitchFamily="34" charset="0"/>
          <a:sym typeface="Arial Narrow" panose="020B0606020202030204" pitchFamily="34" charset="0"/>
        </a:defRPr>
      </a:lvl1pPr>
      <a:lvl2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2pPr>
      <a:lvl3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3pPr>
      <a:lvl4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4pPr>
      <a:lvl5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5pPr>
      <a:lvl6pPr marL="63463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6pPr>
      <a:lvl7pPr marL="126926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7pPr>
      <a:lvl8pPr marL="190389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8pPr>
      <a:lvl9pPr marL="2538521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600" baseline="0">
          <a:solidFill>
            <a:schemeClr val="tx1"/>
          </a:solidFill>
          <a:latin typeface="Arial Narrow" panose="020B0606020202030204" pitchFamily="34" charset="0"/>
          <a:ea typeface="+mn-ea"/>
          <a:cs typeface="Arial" panose="020B0604020202020204" pitchFamily="34" charset="0"/>
          <a:sym typeface="Arial Narrow" panose="020B0606020202030204" pitchFamily="34" charset="0"/>
        </a:defRPr>
      </a:lvl1pPr>
      <a:lvl2pPr marL="268836" indent="-26663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2pPr>
      <a:lvl3pPr marL="634630" indent="-363591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3pPr>
      <a:lvl4pPr marL="852786" indent="-215952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4pPr>
      <a:lvl5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5pPr>
      <a:lvl6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6pPr>
      <a:lvl7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7pPr>
      <a:lvl8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8pPr>
      <a:lvl9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1pPr>
      <a:lvl2pPr marL="63463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2pPr>
      <a:lvl3pPr marL="126926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3pPr>
      <a:lvl4pPr marL="190389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4pPr>
      <a:lvl5pPr marL="253852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5pPr>
      <a:lvl6pPr marL="317315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80778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44241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077042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88429770"/>
              </p:ext>
            </p:ext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547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err="1">
              <a:solidFill>
                <a:schemeClr val="tx1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231770"/>
            <a:ext cx="11192189" cy="332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8" y="39204"/>
            <a:ext cx="546286" cy="167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066" cap="all" dirty="0">
                <a:solidFill>
                  <a:srgbClr val="808080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624559"/>
            <a:ext cx="111664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ru-RU"/>
            </a:pP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Unit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of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measure</a:t>
            </a:r>
            <a:endParaRPr sz="1600" dirty="0">
              <a:solidFill>
                <a:srgbClr val="808080"/>
              </a:solidFill>
              <a:latin typeface="Arial Narrow" panose="020B0606020202030204" pitchFamily="34" charset="0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7" name="Group 6" hidden="1"/>
          <p:cNvGrpSpPr/>
          <p:nvPr/>
        </p:nvGrpSpPr>
        <p:grpSpPr>
          <a:xfrm>
            <a:off x="161986" y="6343332"/>
            <a:ext cx="11458514" cy="385311"/>
            <a:chOff x="694372" y="6244249"/>
            <a:chExt cx="10487978" cy="38531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694372" y="624424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ru-RU"/>
              </a:pPr>
              <a:r>
                <a:rPr sz="1066" dirty="0">
                  <a:solidFill>
                    <a:srgbClr val="595959"/>
                  </a:solidFill>
                  <a:latin typeface="Arial Narrow" panose="020B060602020203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694372" y="646220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>
              <a:spAutoFit/>
            </a:bodyPr>
            <a:lstStyle/>
            <a:p>
              <a:pPr marL="846176" indent="-846176" defTabSz="1242817">
                <a:tabLst>
                  <a:tab pos="850580" algn="l"/>
                </a:tabLst>
              </a:pPr>
              <a:r>
                <a:rPr lang="ru-RU" sz="1066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2384716"/>
            <a:ext cx="5853024" cy="12311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8" y="1673767"/>
            <a:ext cx="5801188" cy="521560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Title</a:t>
              </a:r>
            </a:p>
            <a:p>
              <a:r>
                <a:rPr lang="ru-RU" sz="1600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Unit of measure</a:t>
              </a:r>
            </a:p>
          </p:txBody>
        </p:sp>
      </p:grpSp>
      <p:sp>
        <p:nvSpPr>
          <p:cNvPr id="64" name="Slide Number"/>
          <p:cNvSpPr txBox="1">
            <a:spLocks/>
          </p:cNvSpPr>
          <p:nvPr/>
        </p:nvSpPr>
        <p:spPr bwMode="auto">
          <a:xfrm>
            <a:off x="11883958" y="6561285"/>
            <a:ext cx="139026" cy="16735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sz="1066" smtClean="0">
                <a:solidFill>
                  <a:srgbClr val="595959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pPr algn="ctr"/>
              <a:t>‹#›</a:t>
            </a:fld>
            <a:endParaRPr sz="1066" dirty="0">
              <a:solidFill>
                <a:srgbClr val="595959"/>
              </a:solidFill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17" name="McKSticker" hidden="1"/>
          <p:cNvGrpSpPr/>
          <p:nvPr/>
        </p:nvGrpSpPr>
        <p:grpSpPr bwMode="gray">
          <a:xfrm>
            <a:off x="11575134" y="690216"/>
            <a:ext cx="461694" cy="174940"/>
            <a:chOff x="8401419" y="285750"/>
            <a:chExt cx="339356" cy="17145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1419" y="285750"/>
              <a:ext cx="339356" cy="1714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42817">
                <a:buClr>
                  <a:srgbClr val="002960"/>
                </a:buClr>
              </a:pPr>
              <a:r>
                <a:rPr lang="ru-RU" sz="934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1419" y="285750"/>
              <a:ext cx="0" cy="17145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1419" y="457208"/>
              <a:ext cx="33935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Freeform 6"/>
          <p:cNvSpPr>
            <a:spLocks/>
          </p:cNvSpPr>
          <p:nvPr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</p:spPr>
        <p:txBody>
          <a:bodyPr lIns="102613" tIns="102613" rIns="102613" bIns="10261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66" kern="0">
              <a:solidFill>
                <a:srgbClr val="787E7F"/>
              </a:solidFill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777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</p:sldLayoutIdLst>
  <p:hf sldNum="0" hdr="0" ftr="0" dt="0"/>
  <p:txStyles>
    <p:titleStyle>
      <a:lvl1pPr algn="l" defTabSz="1242817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374608" algn="l"/>
        </a:tabLst>
        <a:defRPr lang="ru-RU" sz="2400" b="0" baseline="0">
          <a:solidFill>
            <a:srgbClr val="5D6578"/>
          </a:solidFill>
          <a:latin typeface="Arial Narrow" panose="020B0606020202030204" pitchFamily="34" charset="0"/>
          <a:ea typeface="+mj-ea"/>
          <a:cs typeface="Arial" panose="020B0604020202020204" pitchFamily="34" charset="0"/>
          <a:sym typeface="Arial Narrow" panose="020B0606020202030204" pitchFamily="34" charset="0"/>
        </a:defRPr>
      </a:lvl1pPr>
      <a:lvl2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2pPr>
      <a:lvl3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3pPr>
      <a:lvl4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4pPr>
      <a:lvl5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5pPr>
      <a:lvl6pPr marL="63463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6pPr>
      <a:lvl7pPr marL="126926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7pPr>
      <a:lvl8pPr marL="190389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8pPr>
      <a:lvl9pPr marL="2538521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600" baseline="0">
          <a:solidFill>
            <a:schemeClr val="tx1"/>
          </a:solidFill>
          <a:latin typeface="Arial Narrow" panose="020B0606020202030204" pitchFamily="34" charset="0"/>
          <a:ea typeface="+mn-ea"/>
          <a:cs typeface="Arial" panose="020B0604020202020204" pitchFamily="34" charset="0"/>
          <a:sym typeface="Arial Narrow" panose="020B0606020202030204" pitchFamily="34" charset="0"/>
        </a:defRPr>
      </a:lvl1pPr>
      <a:lvl2pPr marL="268836" indent="-26663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2pPr>
      <a:lvl3pPr marL="634630" indent="-363591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3pPr>
      <a:lvl4pPr marL="852786" indent="-215952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4pPr>
      <a:lvl5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5pPr>
      <a:lvl6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6pPr>
      <a:lvl7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7pPr>
      <a:lvl8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8pPr>
      <a:lvl9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1pPr>
      <a:lvl2pPr marL="63463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2pPr>
      <a:lvl3pPr marL="126926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3pPr>
      <a:lvl4pPr marL="190389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4pPr>
      <a:lvl5pPr marL="253852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5pPr>
      <a:lvl6pPr marL="317315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80778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44241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077042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21296118"/>
              </p:ext>
            </p:ext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650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err="1">
              <a:solidFill>
                <a:schemeClr val="tx1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231770"/>
            <a:ext cx="11192189" cy="332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8" y="39204"/>
            <a:ext cx="546286" cy="167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066" cap="all" dirty="0">
                <a:solidFill>
                  <a:srgbClr val="808080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624559"/>
            <a:ext cx="111664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ru-R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ru-R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ru-R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ru-R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ru-R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ru-R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ru-RU"/>
            </a:pP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Unit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of</a:t>
            </a:r>
            <a:r>
              <a:rPr sz="1600" dirty="0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</a:t>
            </a:r>
            <a:r>
              <a:rPr sz="1600" dirty="0" err="1">
                <a:solidFill>
                  <a:srgbClr val="808080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measure</a:t>
            </a:r>
            <a:endParaRPr sz="1600" dirty="0">
              <a:solidFill>
                <a:srgbClr val="808080"/>
              </a:solidFill>
              <a:latin typeface="Arial Narrow" panose="020B0606020202030204" pitchFamily="34" charset="0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7" name="Group 6" hidden="1"/>
          <p:cNvGrpSpPr/>
          <p:nvPr/>
        </p:nvGrpSpPr>
        <p:grpSpPr>
          <a:xfrm>
            <a:off x="161986" y="6343332"/>
            <a:ext cx="11458514" cy="385311"/>
            <a:chOff x="694372" y="6244249"/>
            <a:chExt cx="10487978" cy="38531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694372" y="624424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ru-R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ru-R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ru-RU"/>
              </a:pPr>
              <a:r>
                <a:rPr sz="1066" dirty="0">
                  <a:solidFill>
                    <a:srgbClr val="595959"/>
                  </a:solidFill>
                  <a:latin typeface="Arial Narrow" panose="020B060602020203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1 Сноска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694372" y="6462209"/>
              <a:ext cx="10487978" cy="167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>
              <a:spAutoFit/>
            </a:bodyPr>
            <a:lstStyle/>
            <a:p>
              <a:pPr marL="846176" indent="-846176" defTabSz="1242817">
                <a:tabLst>
                  <a:tab pos="850580" algn="l"/>
                </a:tabLst>
              </a:pPr>
              <a:r>
                <a:rPr lang="ru-RU" sz="1066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2384716"/>
            <a:ext cx="5853024" cy="12311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8" y="1673767"/>
            <a:ext cx="5801188" cy="521560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>
                  <a:solidFill>
                    <a:srgbClr val="595959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Title</a:t>
              </a:r>
            </a:p>
            <a:p>
              <a:r>
                <a:rPr lang="ru-RU" sz="1600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Unit of measure</a:t>
              </a:r>
            </a:p>
          </p:txBody>
        </p:sp>
      </p:grpSp>
      <p:sp>
        <p:nvSpPr>
          <p:cNvPr id="64" name="Slide Number"/>
          <p:cNvSpPr txBox="1">
            <a:spLocks/>
          </p:cNvSpPr>
          <p:nvPr/>
        </p:nvSpPr>
        <p:spPr bwMode="auto">
          <a:xfrm>
            <a:off x="11883958" y="6561285"/>
            <a:ext cx="139026" cy="16735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sz="1066" smtClean="0">
                <a:solidFill>
                  <a:srgbClr val="595959"/>
                </a:solidFill>
                <a:cs typeface="Arial" panose="020B0604020202020204" pitchFamily="34" charset="0"/>
                <a:sym typeface="Arial Narrow" panose="020B0606020202030204" pitchFamily="34" charset="0"/>
              </a:rPr>
              <a:pPr algn="ctr"/>
              <a:t>‹#›</a:t>
            </a:fld>
            <a:endParaRPr sz="1066" dirty="0">
              <a:solidFill>
                <a:srgbClr val="595959"/>
              </a:solidFill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17" name="McKSticker" hidden="1"/>
          <p:cNvGrpSpPr/>
          <p:nvPr/>
        </p:nvGrpSpPr>
        <p:grpSpPr bwMode="gray">
          <a:xfrm>
            <a:off x="11575134" y="690216"/>
            <a:ext cx="461694" cy="174940"/>
            <a:chOff x="8401419" y="285750"/>
            <a:chExt cx="339356" cy="17145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1419" y="285750"/>
              <a:ext cx="339356" cy="1714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42817">
                <a:buClr>
                  <a:srgbClr val="002960"/>
                </a:buClr>
              </a:pPr>
              <a:r>
                <a:rPr lang="ru-RU" sz="934" dirty="0">
                  <a:solidFill>
                    <a:srgbClr val="808080"/>
                  </a:solidFill>
                  <a:cs typeface="Arial" panose="020B0604020202020204" pitchFamily="34" charset="0"/>
                  <a:sym typeface="Arial Narrow" panose="020B0606020202030204" pitchFamily="34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1419" y="285750"/>
              <a:ext cx="0" cy="17145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1419" y="457208"/>
              <a:ext cx="33935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Freeform 6"/>
          <p:cNvSpPr>
            <a:spLocks/>
          </p:cNvSpPr>
          <p:nvPr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</p:spPr>
        <p:txBody>
          <a:bodyPr lIns="102613" tIns="102613" rIns="102613" bIns="10261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66" kern="0">
              <a:solidFill>
                <a:srgbClr val="787E7F"/>
              </a:solidFill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954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</p:sldLayoutIdLst>
  <p:hf sldNum="0" hdr="0" ftr="0" dt="0"/>
  <p:txStyles>
    <p:titleStyle>
      <a:lvl1pPr algn="l" defTabSz="1242817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374608" algn="l"/>
        </a:tabLst>
        <a:defRPr lang="ru-RU" sz="2400" b="0" baseline="0">
          <a:solidFill>
            <a:srgbClr val="5D6578"/>
          </a:solidFill>
          <a:latin typeface="Arial Narrow" panose="020B0606020202030204" pitchFamily="34" charset="0"/>
          <a:ea typeface="+mj-ea"/>
          <a:cs typeface="Arial" panose="020B0604020202020204" pitchFamily="34" charset="0"/>
          <a:sym typeface="Arial Narrow" panose="020B0606020202030204" pitchFamily="34" charset="0"/>
        </a:defRPr>
      </a:lvl1pPr>
      <a:lvl2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2pPr>
      <a:lvl3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3pPr>
      <a:lvl4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4pPr>
      <a:lvl5pPr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5pPr>
      <a:lvl6pPr marL="63463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6pPr>
      <a:lvl7pPr marL="126926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7pPr>
      <a:lvl8pPr marL="1903890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8pPr>
      <a:lvl9pPr marL="2538521" algn="l" defTabSz="1242817" rtl="0" eaLnBrk="1" fontAlgn="base" hangingPunct="1">
        <a:spcBef>
          <a:spcPct val="0"/>
        </a:spcBef>
        <a:spcAft>
          <a:spcPct val="0"/>
        </a:spcAft>
        <a:defRPr lang="ru-RU" sz="2636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600" baseline="0">
          <a:solidFill>
            <a:schemeClr val="tx1"/>
          </a:solidFill>
          <a:latin typeface="Arial Narrow" panose="020B0606020202030204" pitchFamily="34" charset="0"/>
          <a:ea typeface="+mn-ea"/>
          <a:cs typeface="Arial" panose="020B0604020202020204" pitchFamily="34" charset="0"/>
          <a:sym typeface="Arial Narrow" panose="020B0606020202030204" pitchFamily="34" charset="0"/>
        </a:defRPr>
      </a:lvl1pPr>
      <a:lvl2pPr marL="268836" indent="-26663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2pPr>
      <a:lvl3pPr marL="634630" indent="-363591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3pPr>
      <a:lvl4pPr marL="852786" indent="-215952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4pPr>
      <a:lvl5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lang="ru-RU" sz="1600" baseline="0">
          <a:solidFill>
            <a:schemeClr val="tx1"/>
          </a:solidFill>
          <a:latin typeface="Arial Narrow" panose="020B0606020202030204" pitchFamily="34" charset="0"/>
          <a:cs typeface="Arial" panose="020B0604020202020204" pitchFamily="34" charset="0"/>
          <a:sym typeface="Arial Narrow" panose="020B0606020202030204" pitchFamily="34" charset="0"/>
        </a:defRPr>
      </a:lvl5pPr>
      <a:lvl6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6pPr>
      <a:lvl7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7pPr>
      <a:lvl8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8pPr>
      <a:lvl9pPr marL="1040795" indent="-180694" algn="l" defTabSz="12428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ru-RU" sz="222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1pPr>
      <a:lvl2pPr marL="63463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2pPr>
      <a:lvl3pPr marL="126926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3pPr>
      <a:lvl4pPr marL="190389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4pPr>
      <a:lvl5pPr marL="253852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5pPr>
      <a:lvl6pPr marL="3173150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80778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442411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077042" algn="l" defTabSz="1269260" rtl="0" eaLnBrk="1" latinLnBrk="0" hangingPunct="1">
        <a:defRPr lang="ru-RU" sz="24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63.xml"/><Relationship Id="rId7" Type="http://schemas.openxmlformats.org/officeDocument/2006/relationships/image" Target="../media/image16.emf"/><Relationship Id="rId2" Type="http://schemas.openxmlformats.org/officeDocument/2006/relationships/tags" Target="../tags/tag62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4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3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16.emf"/><Relationship Id="rId2" Type="http://schemas.openxmlformats.org/officeDocument/2006/relationships/tags" Target="../tags/tag80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52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3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83.xml"/><Relationship Id="rId7" Type="http://schemas.openxmlformats.org/officeDocument/2006/relationships/image" Target="../media/image16.emf"/><Relationship Id="rId2" Type="http://schemas.openxmlformats.org/officeDocument/2006/relationships/tags" Target="../tags/tag82.xml"/><Relationship Id="rId1" Type="http://schemas.openxmlformats.org/officeDocument/2006/relationships/vmlDrawing" Target="../drawings/vmlDrawing53.vml"/><Relationship Id="rId6" Type="http://schemas.openxmlformats.org/officeDocument/2006/relationships/oleObject" Target="../embeddings/oleObject53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3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85.xml"/><Relationship Id="rId7" Type="http://schemas.openxmlformats.org/officeDocument/2006/relationships/image" Target="../media/image16.emf"/><Relationship Id="rId12" Type="http://schemas.openxmlformats.org/officeDocument/2006/relationships/image" Target="../media/image32.png"/><Relationship Id="rId2" Type="http://schemas.openxmlformats.org/officeDocument/2006/relationships/tags" Target="../tags/tag84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54.bin"/><Relationship Id="rId11" Type="http://schemas.openxmlformats.org/officeDocument/2006/relationships/image" Target="../media/image31.pn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30.png"/><Relationship Id="rId4" Type="http://schemas.openxmlformats.org/officeDocument/2006/relationships/slideLayout" Target="../slideLayouts/slideLayout138.xml"/><Relationship Id="rId9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tags" Target="../tags/tag87.xml"/><Relationship Id="rId7" Type="http://schemas.openxmlformats.org/officeDocument/2006/relationships/image" Target="../media/image16.emf"/><Relationship Id="rId2" Type="http://schemas.openxmlformats.org/officeDocument/2006/relationships/tags" Target="../tags/tag86.xml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55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4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89.xml"/><Relationship Id="rId7" Type="http://schemas.openxmlformats.org/officeDocument/2006/relationships/image" Target="../media/image16.emf"/><Relationship Id="rId2" Type="http://schemas.openxmlformats.org/officeDocument/2006/relationships/tags" Target="../tags/tag88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56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4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tags" Target="../tags/tag91.xml"/><Relationship Id="rId7" Type="http://schemas.openxmlformats.org/officeDocument/2006/relationships/image" Target="../media/image16.emf"/><Relationship Id="rId2" Type="http://schemas.openxmlformats.org/officeDocument/2006/relationships/tags" Target="../tags/tag90.xml"/><Relationship Id="rId1" Type="http://schemas.openxmlformats.org/officeDocument/2006/relationships/vmlDrawing" Target="../drawings/vmlDrawing57.vml"/><Relationship Id="rId6" Type="http://schemas.openxmlformats.org/officeDocument/2006/relationships/oleObject" Target="../embeddings/oleObject57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4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tags" Target="../tags/tag93.xml"/><Relationship Id="rId7" Type="http://schemas.openxmlformats.org/officeDocument/2006/relationships/image" Target="../media/image16.emf"/><Relationship Id="rId2" Type="http://schemas.openxmlformats.org/officeDocument/2006/relationships/tags" Target="../tags/tag92.xml"/><Relationship Id="rId1" Type="http://schemas.openxmlformats.org/officeDocument/2006/relationships/vmlDrawing" Target="../drawings/vmlDrawing58.vml"/><Relationship Id="rId6" Type="http://schemas.openxmlformats.org/officeDocument/2006/relationships/oleObject" Target="../embeddings/oleObject58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49.xml"/><Relationship Id="rId9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95.xml"/><Relationship Id="rId7" Type="http://schemas.openxmlformats.org/officeDocument/2006/relationships/image" Target="../media/image16.emf"/><Relationship Id="rId2" Type="http://schemas.openxmlformats.org/officeDocument/2006/relationships/tags" Target="../tags/tag94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59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149.xml"/><Relationship Id="rId9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65.xml"/><Relationship Id="rId7" Type="http://schemas.openxmlformats.org/officeDocument/2006/relationships/image" Target="../media/image16.emf"/><Relationship Id="rId2" Type="http://schemas.openxmlformats.org/officeDocument/2006/relationships/tags" Target="../tags/tag64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44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138.xml"/><Relationship Id="rId9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67.xml"/><Relationship Id="rId7" Type="http://schemas.openxmlformats.org/officeDocument/2006/relationships/image" Target="../media/image16.emf"/><Relationship Id="rId2" Type="http://schemas.openxmlformats.org/officeDocument/2006/relationships/tags" Target="../tags/tag66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4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3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69.xml"/><Relationship Id="rId7" Type="http://schemas.openxmlformats.org/officeDocument/2006/relationships/image" Target="../media/image16.emf"/><Relationship Id="rId2" Type="http://schemas.openxmlformats.org/officeDocument/2006/relationships/tags" Target="../tags/tag68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46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138.xml"/><Relationship Id="rId9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71.xml"/><Relationship Id="rId7" Type="http://schemas.openxmlformats.org/officeDocument/2006/relationships/image" Target="../media/image16.emf"/><Relationship Id="rId2" Type="http://schemas.openxmlformats.org/officeDocument/2006/relationships/tags" Target="../tags/tag70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4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3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hyperlink" Target="https://ru.wikipedia.org/wiki/%D0%A4%D1%83%D0%BD%D0%BA%D1%86%D0%B8%D1%8F_(%D0%BF%D1%80%D0%BE%D0%B3%D1%80%D0%B0%D0%BC%D0%BC%D0%B8%D1%80%D0%BE%D0%B2%D0%B0%D0%BD%D0%B8%D0%B5)" TargetMode="External"/><Relationship Id="rId3" Type="http://schemas.openxmlformats.org/officeDocument/2006/relationships/tags" Target="../tags/tag73.xml"/><Relationship Id="rId7" Type="http://schemas.openxmlformats.org/officeDocument/2006/relationships/image" Target="../media/image16.emf"/><Relationship Id="rId12" Type="http://schemas.openxmlformats.org/officeDocument/2006/relationships/hyperlink" Target="https://ru.wikipedia.org/wiki/%D0%9F%D1%80%D0%BE%D1%86%D0%B5%D0%B4%D1%83%D1%80%D0%B0_(%D0%BF%D1%80%D0%BE%D0%B3%D1%80%D0%B0%D0%BC%D0%BC%D0%B8%D1%80%D0%BE%D0%B2%D0%B0%D0%BD%D0%B8%D0%B5)" TargetMode="External"/><Relationship Id="rId2" Type="http://schemas.openxmlformats.org/officeDocument/2006/relationships/tags" Target="../tags/tag72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48.bin"/><Relationship Id="rId11" Type="http://schemas.openxmlformats.org/officeDocument/2006/relationships/hyperlink" Target="https://ru.wikipedia.org/wiki/%D0%9A%D0%BB%D0%B0%D1%81%D1%81_(%D0%BF%D1%80%D0%BE%D0%B3%D1%80%D0%B0%D0%BC%D0%BC%D0%B8%D1%80%D0%BE%D0%B2%D0%B0%D0%BD%D0%B8%D0%B5)" TargetMode="External"/><Relationship Id="rId5" Type="http://schemas.openxmlformats.org/officeDocument/2006/relationships/notesSlide" Target="../notesSlides/notesSlide6.xml"/><Relationship Id="rId15" Type="http://schemas.openxmlformats.org/officeDocument/2006/relationships/hyperlink" Target="https://ru.wikipedia.org/wiki/%D0%9A%D0%BE%D0%BD%D1%81%D1%82%D0%B0%D0%BD%D1%82%D0%B0_(%D0%BF%D1%80%D0%BE%D0%B3%D1%80%D0%B0%D0%BC%D0%BC%D0%B8%D1%80%D0%BE%D0%B2%D0%B0%D0%BD%D0%B8%D0%B5)" TargetMode="External"/><Relationship Id="rId10" Type="http://schemas.openxmlformats.org/officeDocument/2006/relationships/hyperlink" Target="https://ru.wikipedia.org/wiki/%D0%90%D0%BD%D0%B3%D0%BB%D0%B8%D0%B9%D1%81%D0%BA%D0%B8%D0%B9_%D1%8F%D0%B7%D1%8B%D0%BA" TargetMode="External"/><Relationship Id="rId4" Type="http://schemas.openxmlformats.org/officeDocument/2006/relationships/slideLayout" Target="../slideLayouts/slideLayout138.xml"/><Relationship Id="rId9" Type="http://schemas.openxmlformats.org/officeDocument/2006/relationships/hyperlink" Target="https://ru.wikipedia.org/wiki/%D0%9F%D1%80%D0%B8%D0%BA%D0%BB%D0%B0%D0%B4%D0%BD%D0%BE%D0%B5_%D0%BF%D1%80%D0%BE%D0%B3%D1%80%D0%B0%D0%BC%D0%BC%D0%BD%D0%BE%D0%B5_%D0%BE%D0%B1%D0%B5%D1%81%D0%BF%D0%B5%D1%87%D0%B5%D0%BD%D0%B8%D0%B5" TargetMode="External"/><Relationship Id="rId14" Type="http://schemas.openxmlformats.org/officeDocument/2006/relationships/hyperlink" Target="https://ru.wikipedia.org/wiki/%D0%A1%D1%82%D1%80%D1%83%D0%BA%D1%82%D1%83%D1%80%D0%B0_(%D0%BF%D1%80%D0%BE%D0%B3%D1%80%D0%B0%D0%BC%D0%BC%D0%B8%D1%80%D0%BE%D0%B2%D0%B0%D0%BD%D0%B8%D0%B5)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75.xml"/><Relationship Id="rId7" Type="http://schemas.openxmlformats.org/officeDocument/2006/relationships/image" Target="../media/image16.emf"/><Relationship Id="rId2" Type="http://schemas.openxmlformats.org/officeDocument/2006/relationships/tags" Target="../tags/tag74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3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77.xml"/><Relationship Id="rId7" Type="http://schemas.openxmlformats.org/officeDocument/2006/relationships/image" Target="../media/image16.emf"/><Relationship Id="rId2" Type="http://schemas.openxmlformats.org/officeDocument/2006/relationships/tags" Target="../tags/tag76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50.bin"/><Relationship Id="rId11" Type="http://schemas.openxmlformats.org/officeDocument/2006/relationships/image" Target="../media/image27.pn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26.png"/><Relationship Id="rId4" Type="http://schemas.openxmlformats.org/officeDocument/2006/relationships/slideLayout" Target="../slideLayouts/slideLayout138.xml"/><Relationship Id="rId9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16.emf"/><Relationship Id="rId2" Type="http://schemas.openxmlformats.org/officeDocument/2006/relationships/tags" Target="../tags/tag78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51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231D5B"/>
            </a:gs>
            <a:gs pos="100000">
              <a:srgbClr val="522486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852" name="think-cell Slide" r:id="rId6" imgW="802" imgH="802" progId="TCLayout.ActiveDocument.1">
                  <p:embed/>
                </p:oleObj>
              </mc:Choice>
              <mc:Fallback>
                <p:oleObj name="think-cell Slide" r:id="rId6" imgW="802" imgH="80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xmlns="" id="{7371160C-E0F5-4DBC-9881-0D3F3BDC6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 Black" panose="020B0A04020102020204" pitchFamily="34" charset="0"/>
            </a:endParaRPr>
          </a:p>
        </p:txBody>
      </p:sp>
      <p:pic>
        <p:nvPicPr>
          <p:cNvPr id="28" name="Picture 33" descr="https://get.wallhere.com/photo/2000x1200-px-city-lights-cityscape-colorful-digital-art-futuristic-futuristic-city-Romain-Trystam-1421861.jpg">
            <a:extLst>
              <a:ext uri="{FF2B5EF4-FFF2-40B4-BE49-F238E27FC236}">
                <a16:creationId xmlns:a16="http://schemas.microsoft.com/office/drawing/2014/main" xmlns="" id="{EBFA881A-A19E-4C1C-814F-64EB296B63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250"/>
          <a:stretch/>
        </p:blipFill>
        <p:spPr bwMode="auto">
          <a:xfrm>
            <a:off x="0" y="-1"/>
            <a:ext cx="12191998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6BA67423-5EB7-4A13-A345-5BFA2129F4C8}"/>
              </a:ext>
            </a:extLst>
          </p:cNvPr>
          <p:cNvSpPr txBox="1"/>
          <p:nvPr/>
        </p:nvSpPr>
        <p:spPr>
          <a:xfrm>
            <a:off x="2791047" y="2461020"/>
            <a:ext cx="6609907" cy="1258372"/>
          </a:xfrm>
          <a:prstGeom prst="roundRect">
            <a:avLst>
              <a:gd name="adj" fmla="val 8434"/>
            </a:avLst>
          </a:prstGeom>
          <a:solidFill>
            <a:srgbClr val="000000">
              <a:alpha val="50196"/>
            </a:srgbClr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sz="3600" dirty="0">
                <a:solidFill>
                  <a:prstClr val="white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родуктовый </a:t>
            </a:r>
          </a:p>
          <a:p>
            <a:pPr lvl="0" algn="ctr">
              <a:defRPr/>
            </a:pPr>
            <a:r>
              <a:rPr lang="ru-RU" sz="3600" dirty="0">
                <a:solidFill>
                  <a:prstClr val="white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и сервисный каталог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B0DE2ECD-4959-496A-88C1-16B3DAB46BD6}"/>
              </a:ext>
            </a:extLst>
          </p:cNvPr>
          <p:cNvSpPr txBox="1"/>
          <p:nvPr/>
        </p:nvSpPr>
        <p:spPr>
          <a:xfrm>
            <a:off x="9734736" y="6375591"/>
            <a:ext cx="22106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22486"/>
                </a:solidFill>
                <a:effectLst/>
                <a:uLnTx/>
                <a:uFillTx/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 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Malgun Gothic Semilight" panose="020B0502040204020203" pitchFamily="34" charset="-128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xmlns="" id="{C7205EF8-1C6B-4520-AB35-C3ABEBAF15C6}"/>
              </a:ext>
            </a:extLst>
          </p:cNvPr>
          <p:cNvGrpSpPr/>
          <p:nvPr/>
        </p:nvGrpSpPr>
        <p:grpSpPr>
          <a:xfrm>
            <a:off x="265606" y="179205"/>
            <a:ext cx="910272" cy="624186"/>
            <a:chOff x="2652323" y="132462"/>
            <a:chExt cx="752291" cy="515856"/>
          </a:xfrm>
        </p:grpSpPr>
        <p:sp>
          <p:nvSpPr>
            <p:cNvPr id="30" name="Правильный пятиугольник 6">
              <a:extLst>
                <a:ext uri="{FF2B5EF4-FFF2-40B4-BE49-F238E27FC236}">
                  <a16:creationId xmlns:a16="http://schemas.microsoft.com/office/drawing/2014/main" xmlns="" id="{52B1BF0F-0EB3-4DC4-BF40-9ADBA608D2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52323" y="132462"/>
              <a:ext cx="752291" cy="515856"/>
            </a:xfrm>
            <a:custGeom>
              <a:avLst/>
              <a:gdLst>
                <a:gd name="connsiteX0" fmla="*/ 4 w 3600400"/>
                <a:gd name="connsiteY0" fmla="*/ 934005 h 2445264"/>
                <a:gd name="connsiteX1" fmla="*/ 1800200 w 3600400"/>
                <a:gd name="connsiteY1" fmla="*/ 0 h 2445264"/>
                <a:gd name="connsiteX2" fmla="*/ 3600396 w 3600400"/>
                <a:gd name="connsiteY2" fmla="*/ 934005 h 2445264"/>
                <a:gd name="connsiteX3" fmla="*/ 2912782 w 3600400"/>
                <a:gd name="connsiteY3" fmla="*/ 2445258 h 2445264"/>
                <a:gd name="connsiteX4" fmla="*/ 687618 w 3600400"/>
                <a:gd name="connsiteY4" fmla="*/ 2445258 h 2445264"/>
                <a:gd name="connsiteX5" fmla="*/ 4 w 3600400"/>
                <a:gd name="connsiteY5" fmla="*/ 934005 h 2445264"/>
                <a:gd name="connsiteX0" fmla="*/ 0 w 3600392"/>
                <a:gd name="connsiteY0" fmla="*/ 934005 h 2485452"/>
                <a:gd name="connsiteX1" fmla="*/ 1800196 w 3600392"/>
                <a:gd name="connsiteY1" fmla="*/ 0 h 2485452"/>
                <a:gd name="connsiteX2" fmla="*/ 3600392 w 3600392"/>
                <a:gd name="connsiteY2" fmla="*/ 934005 h 2485452"/>
                <a:gd name="connsiteX3" fmla="*/ 2912778 w 3600392"/>
                <a:gd name="connsiteY3" fmla="*/ 2445258 h 2485452"/>
                <a:gd name="connsiteX4" fmla="*/ 185197 w 3600392"/>
                <a:gd name="connsiteY4" fmla="*/ 2485452 h 2485452"/>
                <a:gd name="connsiteX5" fmla="*/ 0 w 3600392"/>
                <a:gd name="connsiteY5" fmla="*/ 934005 h 2485452"/>
                <a:gd name="connsiteX0" fmla="*/ 0 w 3600392"/>
                <a:gd name="connsiteY0" fmla="*/ 934005 h 2485452"/>
                <a:gd name="connsiteX1" fmla="*/ 1800196 w 3600392"/>
                <a:gd name="connsiteY1" fmla="*/ 0 h 2485452"/>
                <a:gd name="connsiteX2" fmla="*/ 3600392 w 3600392"/>
                <a:gd name="connsiteY2" fmla="*/ 934005 h 2485452"/>
                <a:gd name="connsiteX3" fmla="*/ 2480699 w 3600392"/>
                <a:gd name="connsiteY3" fmla="*/ 2435209 h 2485452"/>
                <a:gd name="connsiteX4" fmla="*/ 185197 w 3600392"/>
                <a:gd name="connsiteY4" fmla="*/ 2485452 h 2485452"/>
                <a:gd name="connsiteX5" fmla="*/ 0 w 3600392"/>
                <a:gd name="connsiteY5" fmla="*/ 934005 h 2485452"/>
                <a:gd name="connsiteX0" fmla="*/ 0 w 3600392"/>
                <a:gd name="connsiteY0" fmla="*/ 934005 h 2485452"/>
                <a:gd name="connsiteX1" fmla="*/ 1800196 w 3600392"/>
                <a:gd name="connsiteY1" fmla="*/ 0 h 2485452"/>
                <a:gd name="connsiteX2" fmla="*/ 3600392 w 3600392"/>
                <a:gd name="connsiteY2" fmla="*/ 934005 h 2485452"/>
                <a:gd name="connsiteX3" fmla="*/ 2480699 w 3600392"/>
                <a:gd name="connsiteY3" fmla="*/ 2475403 h 2485452"/>
                <a:gd name="connsiteX4" fmla="*/ 185197 w 3600392"/>
                <a:gd name="connsiteY4" fmla="*/ 2485452 h 2485452"/>
                <a:gd name="connsiteX5" fmla="*/ 0 w 3600392"/>
                <a:gd name="connsiteY5" fmla="*/ 934005 h 2485452"/>
                <a:gd name="connsiteX0" fmla="*/ 0 w 3600392"/>
                <a:gd name="connsiteY0" fmla="*/ 934005 h 2475403"/>
                <a:gd name="connsiteX1" fmla="*/ 1800196 w 3600392"/>
                <a:gd name="connsiteY1" fmla="*/ 0 h 2475403"/>
                <a:gd name="connsiteX2" fmla="*/ 3600392 w 3600392"/>
                <a:gd name="connsiteY2" fmla="*/ 934005 h 2475403"/>
                <a:gd name="connsiteX3" fmla="*/ 2480699 w 3600392"/>
                <a:gd name="connsiteY3" fmla="*/ 2475403 h 2475403"/>
                <a:gd name="connsiteX4" fmla="*/ 185197 w 3600392"/>
                <a:gd name="connsiteY4" fmla="*/ 2460052 h 2475403"/>
                <a:gd name="connsiteX5" fmla="*/ 0 w 3600392"/>
                <a:gd name="connsiteY5" fmla="*/ 934005 h 2475403"/>
                <a:gd name="connsiteX0" fmla="*/ 0 w 3600392"/>
                <a:gd name="connsiteY0" fmla="*/ 934005 h 2462703"/>
                <a:gd name="connsiteX1" fmla="*/ 1800196 w 3600392"/>
                <a:gd name="connsiteY1" fmla="*/ 0 h 2462703"/>
                <a:gd name="connsiteX2" fmla="*/ 3600392 w 3600392"/>
                <a:gd name="connsiteY2" fmla="*/ 934005 h 2462703"/>
                <a:gd name="connsiteX3" fmla="*/ 2480699 w 3600392"/>
                <a:gd name="connsiteY3" fmla="*/ 2462703 h 2462703"/>
                <a:gd name="connsiteX4" fmla="*/ 185197 w 3600392"/>
                <a:gd name="connsiteY4" fmla="*/ 2460052 h 2462703"/>
                <a:gd name="connsiteX5" fmla="*/ 0 w 3600392"/>
                <a:gd name="connsiteY5" fmla="*/ 934005 h 2462703"/>
                <a:gd name="connsiteX0" fmla="*/ 0 w 3600392"/>
                <a:gd name="connsiteY0" fmla="*/ 934005 h 2462703"/>
                <a:gd name="connsiteX1" fmla="*/ 1800196 w 3600392"/>
                <a:gd name="connsiteY1" fmla="*/ 0 h 2462703"/>
                <a:gd name="connsiteX2" fmla="*/ 3600392 w 3600392"/>
                <a:gd name="connsiteY2" fmla="*/ 934005 h 2462703"/>
                <a:gd name="connsiteX3" fmla="*/ 2480699 w 3600392"/>
                <a:gd name="connsiteY3" fmla="*/ 2462703 h 2462703"/>
                <a:gd name="connsiteX4" fmla="*/ 207422 w 3600392"/>
                <a:gd name="connsiteY4" fmla="*/ 2460052 h 2462703"/>
                <a:gd name="connsiteX5" fmla="*/ 0 w 3600392"/>
                <a:gd name="connsiteY5" fmla="*/ 934005 h 2462703"/>
                <a:gd name="connsiteX0" fmla="*/ 0 w 3600392"/>
                <a:gd name="connsiteY0" fmla="*/ 934005 h 2462703"/>
                <a:gd name="connsiteX1" fmla="*/ 1800196 w 3600392"/>
                <a:gd name="connsiteY1" fmla="*/ 0 h 2462703"/>
                <a:gd name="connsiteX2" fmla="*/ 3600392 w 3600392"/>
                <a:gd name="connsiteY2" fmla="*/ 934005 h 2462703"/>
                <a:gd name="connsiteX3" fmla="*/ 2414024 w 3600392"/>
                <a:gd name="connsiteY3" fmla="*/ 2462703 h 2462703"/>
                <a:gd name="connsiteX4" fmla="*/ 207422 w 3600392"/>
                <a:gd name="connsiteY4" fmla="*/ 2460052 h 2462703"/>
                <a:gd name="connsiteX5" fmla="*/ 0 w 3600392"/>
                <a:gd name="connsiteY5" fmla="*/ 934005 h 2462703"/>
                <a:gd name="connsiteX0" fmla="*/ 0 w 3600392"/>
                <a:gd name="connsiteY0" fmla="*/ 919718 h 2448416"/>
                <a:gd name="connsiteX1" fmla="*/ 2124046 w 3600392"/>
                <a:gd name="connsiteY1" fmla="*/ 0 h 2448416"/>
                <a:gd name="connsiteX2" fmla="*/ 3600392 w 3600392"/>
                <a:gd name="connsiteY2" fmla="*/ 919718 h 2448416"/>
                <a:gd name="connsiteX3" fmla="*/ 2414024 w 3600392"/>
                <a:gd name="connsiteY3" fmla="*/ 2448416 h 2448416"/>
                <a:gd name="connsiteX4" fmla="*/ 207422 w 3600392"/>
                <a:gd name="connsiteY4" fmla="*/ 2445765 h 2448416"/>
                <a:gd name="connsiteX5" fmla="*/ 0 w 3600392"/>
                <a:gd name="connsiteY5" fmla="*/ 919718 h 2448416"/>
                <a:gd name="connsiteX0" fmla="*/ 0 w 3576579"/>
                <a:gd name="connsiteY0" fmla="*/ 929243 h 2448416"/>
                <a:gd name="connsiteX1" fmla="*/ 2100233 w 3576579"/>
                <a:gd name="connsiteY1" fmla="*/ 0 h 2448416"/>
                <a:gd name="connsiteX2" fmla="*/ 3576579 w 3576579"/>
                <a:gd name="connsiteY2" fmla="*/ 919718 h 2448416"/>
                <a:gd name="connsiteX3" fmla="*/ 2390211 w 3576579"/>
                <a:gd name="connsiteY3" fmla="*/ 2448416 h 2448416"/>
                <a:gd name="connsiteX4" fmla="*/ 183609 w 3576579"/>
                <a:gd name="connsiteY4" fmla="*/ 2445765 h 2448416"/>
                <a:gd name="connsiteX5" fmla="*/ 0 w 3576579"/>
                <a:gd name="connsiteY5" fmla="*/ 929243 h 2448416"/>
                <a:gd name="connsiteX0" fmla="*/ 0 w 3576579"/>
                <a:gd name="connsiteY0" fmla="*/ 929243 h 2448416"/>
                <a:gd name="connsiteX1" fmla="*/ 2100233 w 3576579"/>
                <a:gd name="connsiteY1" fmla="*/ 0 h 2448416"/>
                <a:gd name="connsiteX2" fmla="*/ 3576579 w 3576579"/>
                <a:gd name="connsiteY2" fmla="*/ 919718 h 2448416"/>
                <a:gd name="connsiteX3" fmla="*/ 3497470 w 3576579"/>
                <a:gd name="connsiteY3" fmla="*/ 998909 h 2448416"/>
                <a:gd name="connsiteX4" fmla="*/ 2390211 w 3576579"/>
                <a:gd name="connsiteY4" fmla="*/ 2448416 h 2448416"/>
                <a:gd name="connsiteX5" fmla="*/ 183609 w 3576579"/>
                <a:gd name="connsiteY5" fmla="*/ 2445765 h 2448416"/>
                <a:gd name="connsiteX6" fmla="*/ 0 w 3576579"/>
                <a:gd name="connsiteY6" fmla="*/ 929243 h 2448416"/>
                <a:gd name="connsiteX0" fmla="*/ 0 w 3576579"/>
                <a:gd name="connsiteY0" fmla="*/ 929243 h 2448416"/>
                <a:gd name="connsiteX1" fmla="*/ 2100233 w 3576579"/>
                <a:gd name="connsiteY1" fmla="*/ 0 h 2448416"/>
                <a:gd name="connsiteX2" fmla="*/ 2176369 w 3576579"/>
                <a:gd name="connsiteY2" fmla="*/ 33707 h 2448416"/>
                <a:gd name="connsiteX3" fmla="*/ 3576579 w 3576579"/>
                <a:gd name="connsiteY3" fmla="*/ 919718 h 2448416"/>
                <a:gd name="connsiteX4" fmla="*/ 3497470 w 3576579"/>
                <a:gd name="connsiteY4" fmla="*/ 998909 h 2448416"/>
                <a:gd name="connsiteX5" fmla="*/ 2390211 w 3576579"/>
                <a:gd name="connsiteY5" fmla="*/ 2448416 h 2448416"/>
                <a:gd name="connsiteX6" fmla="*/ 183609 w 3576579"/>
                <a:gd name="connsiteY6" fmla="*/ 2445765 h 2448416"/>
                <a:gd name="connsiteX7" fmla="*/ 0 w 3576579"/>
                <a:gd name="connsiteY7" fmla="*/ 929243 h 2448416"/>
                <a:gd name="connsiteX0" fmla="*/ 0 w 3576579"/>
                <a:gd name="connsiteY0" fmla="*/ 929243 h 2448416"/>
                <a:gd name="connsiteX1" fmla="*/ 2035962 w 3576579"/>
                <a:gd name="connsiteY1" fmla="*/ 27229 h 2448416"/>
                <a:gd name="connsiteX2" fmla="*/ 2100233 w 3576579"/>
                <a:gd name="connsiteY2" fmla="*/ 0 h 2448416"/>
                <a:gd name="connsiteX3" fmla="*/ 2176369 w 3576579"/>
                <a:gd name="connsiteY3" fmla="*/ 33707 h 2448416"/>
                <a:gd name="connsiteX4" fmla="*/ 3576579 w 3576579"/>
                <a:gd name="connsiteY4" fmla="*/ 919718 h 2448416"/>
                <a:gd name="connsiteX5" fmla="*/ 3497470 w 3576579"/>
                <a:gd name="connsiteY5" fmla="*/ 998909 h 2448416"/>
                <a:gd name="connsiteX6" fmla="*/ 2390211 w 3576579"/>
                <a:gd name="connsiteY6" fmla="*/ 2448416 h 2448416"/>
                <a:gd name="connsiteX7" fmla="*/ 183609 w 3576579"/>
                <a:gd name="connsiteY7" fmla="*/ 2445765 h 2448416"/>
                <a:gd name="connsiteX8" fmla="*/ 0 w 3576579"/>
                <a:gd name="connsiteY8" fmla="*/ 929243 h 2448416"/>
                <a:gd name="connsiteX0" fmla="*/ 0 w 3576579"/>
                <a:gd name="connsiteY0" fmla="*/ 929243 h 2448416"/>
                <a:gd name="connsiteX1" fmla="*/ 2035962 w 3576579"/>
                <a:gd name="connsiteY1" fmla="*/ 27229 h 2448416"/>
                <a:gd name="connsiteX2" fmla="*/ 2100233 w 3576579"/>
                <a:gd name="connsiteY2" fmla="*/ 0 h 2448416"/>
                <a:gd name="connsiteX3" fmla="*/ 2176369 w 3576579"/>
                <a:gd name="connsiteY3" fmla="*/ 33707 h 2448416"/>
                <a:gd name="connsiteX4" fmla="*/ 3576579 w 3576579"/>
                <a:gd name="connsiteY4" fmla="*/ 919718 h 2448416"/>
                <a:gd name="connsiteX5" fmla="*/ 3497470 w 3576579"/>
                <a:gd name="connsiteY5" fmla="*/ 998909 h 2448416"/>
                <a:gd name="connsiteX6" fmla="*/ 2390211 w 3576579"/>
                <a:gd name="connsiteY6" fmla="*/ 2448416 h 2448416"/>
                <a:gd name="connsiteX7" fmla="*/ 183609 w 3576579"/>
                <a:gd name="connsiteY7" fmla="*/ 2445765 h 2448416"/>
                <a:gd name="connsiteX8" fmla="*/ 6444 w 3576579"/>
                <a:gd name="connsiteY8" fmla="*/ 1005386 h 2448416"/>
                <a:gd name="connsiteX9" fmla="*/ 0 w 3576579"/>
                <a:gd name="connsiteY9" fmla="*/ 929243 h 2448416"/>
                <a:gd name="connsiteX0" fmla="*/ 0 w 3576579"/>
                <a:gd name="connsiteY0" fmla="*/ 929243 h 2448416"/>
                <a:gd name="connsiteX1" fmla="*/ 70265 w 3576579"/>
                <a:gd name="connsiteY1" fmla="*/ 888785 h 2448416"/>
                <a:gd name="connsiteX2" fmla="*/ 2035962 w 3576579"/>
                <a:gd name="connsiteY2" fmla="*/ 27229 h 2448416"/>
                <a:gd name="connsiteX3" fmla="*/ 2100233 w 3576579"/>
                <a:gd name="connsiteY3" fmla="*/ 0 h 2448416"/>
                <a:gd name="connsiteX4" fmla="*/ 2176369 w 3576579"/>
                <a:gd name="connsiteY4" fmla="*/ 33707 h 2448416"/>
                <a:gd name="connsiteX5" fmla="*/ 3576579 w 3576579"/>
                <a:gd name="connsiteY5" fmla="*/ 919718 h 2448416"/>
                <a:gd name="connsiteX6" fmla="*/ 3497470 w 3576579"/>
                <a:gd name="connsiteY6" fmla="*/ 998909 h 2448416"/>
                <a:gd name="connsiteX7" fmla="*/ 2390211 w 3576579"/>
                <a:gd name="connsiteY7" fmla="*/ 2448416 h 2448416"/>
                <a:gd name="connsiteX8" fmla="*/ 183609 w 3576579"/>
                <a:gd name="connsiteY8" fmla="*/ 2445765 h 2448416"/>
                <a:gd name="connsiteX9" fmla="*/ 6444 w 3576579"/>
                <a:gd name="connsiteY9" fmla="*/ 1005386 h 2448416"/>
                <a:gd name="connsiteX10" fmla="*/ 0 w 3576579"/>
                <a:gd name="connsiteY10" fmla="*/ 929243 h 2448416"/>
                <a:gd name="connsiteX0" fmla="*/ 0 w 3576579"/>
                <a:gd name="connsiteY0" fmla="*/ 929243 h 2448416"/>
                <a:gd name="connsiteX1" fmla="*/ 70265 w 3576579"/>
                <a:gd name="connsiteY1" fmla="*/ 888785 h 2448416"/>
                <a:gd name="connsiteX2" fmla="*/ 2035962 w 3576579"/>
                <a:gd name="connsiteY2" fmla="*/ 27229 h 2448416"/>
                <a:gd name="connsiteX3" fmla="*/ 2100233 w 3576579"/>
                <a:gd name="connsiteY3" fmla="*/ 0 h 2448416"/>
                <a:gd name="connsiteX4" fmla="*/ 2176369 w 3576579"/>
                <a:gd name="connsiteY4" fmla="*/ 33707 h 2448416"/>
                <a:gd name="connsiteX5" fmla="*/ 3576579 w 3576579"/>
                <a:gd name="connsiteY5" fmla="*/ 919718 h 2448416"/>
                <a:gd name="connsiteX6" fmla="*/ 3497470 w 3576579"/>
                <a:gd name="connsiteY6" fmla="*/ 998909 h 2448416"/>
                <a:gd name="connsiteX7" fmla="*/ 2390211 w 3576579"/>
                <a:gd name="connsiteY7" fmla="*/ 2448416 h 2448416"/>
                <a:gd name="connsiteX8" fmla="*/ 255347 w 3576579"/>
                <a:gd name="connsiteY8" fmla="*/ 2436994 h 2448416"/>
                <a:gd name="connsiteX9" fmla="*/ 183609 w 3576579"/>
                <a:gd name="connsiteY9" fmla="*/ 2445765 h 2448416"/>
                <a:gd name="connsiteX10" fmla="*/ 6444 w 3576579"/>
                <a:gd name="connsiteY10" fmla="*/ 1005386 h 2448416"/>
                <a:gd name="connsiteX11" fmla="*/ 0 w 3576579"/>
                <a:gd name="connsiteY11" fmla="*/ 929243 h 2448416"/>
                <a:gd name="connsiteX0" fmla="*/ 0 w 3576579"/>
                <a:gd name="connsiteY0" fmla="*/ 929243 h 2448416"/>
                <a:gd name="connsiteX1" fmla="*/ 70265 w 3576579"/>
                <a:gd name="connsiteY1" fmla="*/ 888785 h 2448416"/>
                <a:gd name="connsiteX2" fmla="*/ 2035962 w 3576579"/>
                <a:gd name="connsiteY2" fmla="*/ 27229 h 2448416"/>
                <a:gd name="connsiteX3" fmla="*/ 2100233 w 3576579"/>
                <a:gd name="connsiteY3" fmla="*/ 0 h 2448416"/>
                <a:gd name="connsiteX4" fmla="*/ 2176369 w 3576579"/>
                <a:gd name="connsiteY4" fmla="*/ 33707 h 2448416"/>
                <a:gd name="connsiteX5" fmla="*/ 3576579 w 3576579"/>
                <a:gd name="connsiteY5" fmla="*/ 919718 h 2448416"/>
                <a:gd name="connsiteX6" fmla="*/ 3497470 w 3576579"/>
                <a:gd name="connsiteY6" fmla="*/ 998909 h 2448416"/>
                <a:gd name="connsiteX7" fmla="*/ 2390211 w 3576579"/>
                <a:gd name="connsiteY7" fmla="*/ 2448416 h 2448416"/>
                <a:gd name="connsiteX8" fmla="*/ 255347 w 3576579"/>
                <a:gd name="connsiteY8" fmla="*/ 2436994 h 2448416"/>
                <a:gd name="connsiteX9" fmla="*/ 183609 w 3576579"/>
                <a:gd name="connsiteY9" fmla="*/ 2445765 h 2448416"/>
                <a:gd name="connsiteX10" fmla="*/ 159615 w 3576579"/>
                <a:gd name="connsiteY10" fmla="*/ 2346303 h 2448416"/>
                <a:gd name="connsiteX11" fmla="*/ 6444 w 3576579"/>
                <a:gd name="connsiteY11" fmla="*/ 1005386 h 2448416"/>
                <a:gd name="connsiteX12" fmla="*/ 0 w 3576579"/>
                <a:gd name="connsiteY12" fmla="*/ 929243 h 2448416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390211 w 3576579"/>
                <a:gd name="connsiteY7" fmla="*/ 2448416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83609 w 3576579"/>
                <a:gd name="connsiteY10" fmla="*/ 2445765 h 2449950"/>
                <a:gd name="connsiteX11" fmla="*/ 159615 w 3576579"/>
                <a:gd name="connsiteY11" fmla="*/ 2346303 h 2449950"/>
                <a:gd name="connsiteX12" fmla="*/ 6444 w 3576579"/>
                <a:gd name="connsiteY12" fmla="*/ 1005386 h 2449950"/>
                <a:gd name="connsiteX13" fmla="*/ 0 w 3576579"/>
                <a:gd name="connsiteY13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390211 w 3576579"/>
                <a:gd name="connsiteY8" fmla="*/ 2448416 h 2449950"/>
                <a:gd name="connsiteX9" fmla="*/ 2291247 w 3576579"/>
                <a:gd name="connsiteY9" fmla="*/ 2449950 h 2449950"/>
                <a:gd name="connsiteX10" fmla="*/ 255347 w 3576579"/>
                <a:gd name="connsiteY10" fmla="*/ 2436994 h 2449950"/>
                <a:gd name="connsiteX11" fmla="*/ 183609 w 3576579"/>
                <a:gd name="connsiteY11" fmla="*/ 2445765 h 2449950"/>
                <a:gd name="connsiteX12" fmla="*/ 159615 w 3576579"/>
                <a:gd name="connsiteY12" fmla="*/ 2346303 h 2449950"/>
                <a:gd name="connsiteX13" fmla="*/ 6444 w 3576579"/>
                <a:gd name="connsiteY13" fmla="*/ 1005386 h 2449950"/>
                <a:gd name="connsiteX14" fmla="*/ 0 w 3576579"/>
                <a:gd name="connsiteY14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83609 w 3576579"/>
                <a:gd name="connsiteY10" fmla="*/ 2445765 h 2449950"/>
                <a:gd name="connsiteX11" fmla="*/ 159615 w 3576579"/>
                <a:gd name="connsiteY11" fmla="*/ 2346303 h 2449950"/>
                <a:gd name="connsiteX12" fmla="*/ 6444 w 3576579"/>
                <a:gd name="connsiteY12" fmla="*/ 1005386 h 2449950"/>
                <a:gd name="connsiteX13" fmla="*/ 0 w 3576579"/>
                <a:gd name="connsiteY13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83609 w 3576579"/>
                <a:gd name="connsiteY10" fmla="*/ 2445765 h 2449950"/>
                <a:gd name="connsiteX11" fmla="*/ 159615 w 3576579"/>
                <a:gd name="connsiteY11" fmla="*/ 2346303 h 2449950"/>
                <a:gd name="connsiteX12" fmla="*/ 6444 w 3576579"/>
                <a:gd name="connsiteY12" fmla="*/ 1005386 h 2449950"/>
                <a:gd name="connsiteX13" fmla="*/ 0 w 3576579"/>
                <a:gd name="connsiteY13" fmla="*/ 929243 h 2449950"/>
                <a:gd name="connsiteX0" fmla="*/ 0 w 3576579"/>
                <a:gd name="connsiteY0" fmla="*/ 929243 h 2456697"/>
                <a:gd name="connsiteX1" fmla="*/ 70265 w 3576579"/>
                <a:gd name="connsiteY1" fmla="*/ 888785 h 2456697"/>
                <a:gd name="connsiteX2" fmla="*/ 2035962 w 3576579"/>
                <a:gd name="connsiteY2" fmla="*/ 27229 h 2456697"/>
                <a:gd name="connsiteX3" fmla="*/ 2100233 w 3576579"/>
                <a:gd name="connsiteY3" fmla="*/ 0 h 2456697"/>
                <a:gd name="connsiteX4" fmla="*/ 2176369 w 3576579"/>
                <a:gd name="connsiteY4" fmla="*/ 33707 h 2456697"/>
                <a:gd name="connsiteX5" fmla="*/ 3576579 w 3576579"/>
                <a:gd name="connsiteY5" fmla="*/ 919718 h 2456697"/>
                <a:gd name="connsiteX6" fmla="*/ 3497470 w 3576579"/>
                <a:gd name="connsiteY6" fmla="*/ 998909 h 2456697"/>
                <a:gd name="connsiteX7" fmla="*/ 2450801 w 3576579"/>
                <a:gd name="connsiteY7" fmla="*/ 2359259 h 2456697"/>
                <a:gd name="connsiteX8" fmla="*/ 2291247 w 3576579"/>
                <a:gd name="connsiteY8" fmla="*/ 2449950 h 2456697"/>
                <a:gd name="connsiteX9" fmla="*/ 255347 w 3576579"/>
                <a:gd name="connsiteY9" fmla="*/ 2436994 h 2456697"/>
                <a:gd name="connsiteX10" fmla="*/ 183609 w 3576579"/>
                <a:gd name="connsiteY10" fmla="*/ 2445765 h 2456697"/>
                <a:gd name="connsiteX11" fmla="*/ 159615 w 3576579"/>
                <a:gd name="connsiteY11" fmla="*/ 2346303 h 2456697"/>
                <a:gd name="connsiteX12" fmla="*/ 6444 w 3576579"/>
                <a:gd name="connsiteY12" fmla="*/ 1005386 h 2456697"/>
                <a:gd name="connsiteX13" fmla="*/ 0 w 3576579"/>
                <a:gd name="connsiteY13" fmla="*/ 929243 h 2456697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83609 w 3576579"/>
                <a:gd name="connsiteY10" fmla="*/ 2445765 h 2449950"/>
                <a:gd name="connsiteX11" fmla="*/ 159615 w 3576579"/>
                <a:gd name="connsiteY11" fmla="*/ 2346303 h 2449950"/>
                <a:gd name="connsiteX12" fmla="*/ 6444 w 3576579"/>
                <a:gd name="connsiteY12" fmla="*/ 1005386 h 2449950"/>
                <a:gd name="connsiteX13" fmla="*/ 0 w 3576579"/>
                <a:gd name="connsiteY13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59615 w 3576579"/>
                <a:gd name="connsiteY10" fmla="*/ 2346303 h 2449950"/>
                <a:gd name="connsiteX11" fmla="*/ 6444 w 3576579"/>
                <a:gd name="connsiteY11" fmla="*/ 1005386 h 2449950"/>
                <a:gd name="connsiteX12" fmla="*/ 0 w 3576579"/>
                <a:gd name="connsiteY12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59615 w 3576579"/>
                <a:gd name="connsiteY10" fmla="*/ 2346303 h 2449950"/>
                <a:gd name="connsiteX11" fmla="*/ 6444 w 3576579"/>
                <a:gd name="connsiteY11" fmla="*/ 1005386 h 2449950"/>
                <a:gd name="connsiteX12" fmla="*/ 0 w 3576579"/>
                <a:gd name="connsiteY12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59615 w 3576579"/>
                <a:gd name="connsiteY10" fmla="*/ 2346303 h 2449950"/>
                <a:gd name="connsiteX11" fmla="*/ 6444 w 3576579"/>
                <a:gd name="connsiteY11" fmla="*/ 1005386 h 2449950"/>
                <a:gd name="connsiteX12" fmla="*/ 0 w 3576579"/>
                <a:gd name="connsiteY12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59615 w 3576579"/>
                <a:gd name="connsiteY10" fmla="*/ 2346303 h 2449950"/>
                <a:gd name="connsiteX11" fmla="*/ 6444 w 3576579"/>
                <a:gd name="connsiteY11" fmla="*/ 1005386 h 2449950"/>
                <a:gd name="connsiteX12" fmla="*/ 0 w 3576579"/>
                <a:gd name="connsiteY12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300022 w 3576579"/>
                <a:gd name="connsiteY9" fmla="*/ 2436994 h 2449950"/>
                <a:gd name="connsiteX10" fmla="*/ 159615 w 3576579"/>
                <a:gd name="connsiteY10" fmla="*/ 2346303 h 2449950"/>
                <a:gd name="connsiteX11" fmla="*/ 6444 w 3576579"/>
                <a:gd name="connsiteY11" fmla="*/ 1005386 h 2449950"/>
                <a:gd name="connsiteX12" fmla="*/ 0 w 3576579"/>
                <a:gd name="connsiteY12" fmla="*/ 929243 h 2449950"/>
                <a:gd name="connsiteX0" fmla="*/ 0 w 3576579"/>
                <a:gd name="connsiteY0" fmla="*/ 929243 h 2443473"/>
                <a:gd name="connsiteX1" fmla="*/ 70265 w 3576579"/>
                <a:gd name="connsiteY1" fmla="*/ 888785 h 2443473"/>
                <a:gd name="connsiteX2" fmla="*/ 2035962 w 3576579"/>
                <a:gd name="connsiteY2" fmla="*/ 27229 h 2443473"/>
                <a:gd name="connsiteX3" fmla="*/ 2100233 w 3576579"/>
                <a:gd name="connsiteY3" fmla="*/ 0 h 2443473"/>
                <a:gd name="connsiteX4" fmla="*/ 2176369 w 3576579"/>
                <a:gd name="connsiteY4" fmla="*/ 33707 h 2443473"/>
                <a:gd name="connsiteX5" fmla="*/ 3576579 w 3576579"/>
                <a:gd name="connsiteY5" fmla="*/ 919718 h 2443473"/>
                <a:gd name="connsiteX6" fmla="*/ 3497470 w 3576579"/>
                <a:gd name="connsiteY6" fmla="*/ 998909 h 2443473"/>
                <a:gd name="connsiteX7" fmla="*/ 2450801 w 3576579"/>
                <a:gd name="connsiteY7" fmla="*/ 2359259 h 2443473"/>
                <a:gd name="connsiteX8" fmla="*/ 2252955 w 3576579"/>
                <a:gd name="connsiteY8" fmla="*/ 2443473 h 2443473"/>
                <a:gd name="connsiteX9" fmla="*/ 300022 w 3576579"/>
                <a:gd name="connsiteY9" fmla="*/ 2436994 h 2443473"/>
                <a:gd name="connsiteX10" fmla="*/ 159615 w 3576579"/>
                <a:gd name="connsiteY10" fmla="*/ 2346303 h 2443473"/>
                <a:gd name="connsiteX11" fmla="*/ 6444 w 3576579"/>
                <a:gd name="connsiteY11" fmla="*/ 1005386 h 2443473"/>
                <a:gd name="connsiteX12" fmla="*/ 0 w 3576579"/>
                <a:gd name="connsiteY12" fmla="*/ 929243 h 2443473"/>
                <a:gd name="connsiteX0" fmla="*/ 0 w 3576579"/>
                <a:gd name="connsiteY0" fmla="*/ 929243 h 2443473"/>
                <a:gd name="connsiteX1" fmla="*/ 70265 w 3576579"/>
                <a:gd name="connsiteY1" fmla="*/ 888785 h 2443473"/>
                <a:gd name="connsiteX2" fmla="*/ 2035962 w 3576579"/>
                <a:gd name="connsiteY2" fmla="*/ 27229 h 2443473"/>
                <a:gd name="connsiteX3" fmla="*/ 2100233 w 3576579"/>
                <a:gd name="connsiteY3" fmla="*/ 0 h 2443473"/>
                <a:gd name="connsiteX4" fmla="*/ 2176369 w 3576579"/>
                <a:gd name="connsiteY4" fmla="*/ 33707 h 2443473"/>
                <a:gd name="connsiteX5" fmla="*/ 3484706 w 3576579"/>
                <a:gd name="connsiteY5" fmla="*/ 836963 h 2443473"/>
                <a:gd name="connsiteX6" fmla="*/ 3576579 w 3576579"/>
                <a:gd name="connsiteY6" fmla="*/ 919718 h 2443473"/>
                <a:gd name="connsiteX7" fmla="*/ 3497470 w 3576579"/>
                <a:gd name="connsiteY7" fmla="*/ 998909 h 2443473"/>
                <a:gd name="connsiteX8" fmla="*/ 2450801 w 3576579"/>
                <a:gd name="connsiteY8" fmla="*/ 2359259 h 2443473"/>
                <a:gd name="connsiteX9" fmla="*/ 2252955 w 3576579"/>
                <a:gd name="connsiteY9" fmla="*/ 2443473 h 2443473"/>
                <a:gd name="connsiteX10" fmla="*/ 300022 w 3576579"/>
                <a:gd name="connsiteY10" fmla="*/ 2436994 h 2443473"/>
                <a:gd name="connsiteX11" fmla="*/ 159615 w 3576579"/>
                <a:gd name="connsiteY11" fmla="*/ 2346303 h 2443473"/>
                <a:gd name="connsiteX12" fmla="*/ 6444 w 3576579"/>
                <a:gd name="connsiteY12" fmla="*/ 1005386 h 2443473"/>
                <a:gd name="connsiteX13" fmla="*/ 0 w 3576579"/>
                <a:gd name="connsiteY13" fmla="*/ 929243 h 2443473"/>
                <a:gd name="connsiteX0" fmla="*/ 0 w 3497470"/>
                <a:gd name="connsiteY0" fmla="*/ 929243 h 2443473"/>
                <a:gd name="connsiteX1" fmla="*/ 70265 w 3497470"/>
                <a:gd name="connsiteY1" fmla="*/ 888785 h 2443473"/>
                <a:gd name="connsiteX2" fmla="*/ 2035962 w 3497470"/>
                <a:gd name="connsiteY2" fmla="*/ 27229 h 2443473"/>
                <a:gd name="connsiteX3" fmla="*/ 2100233 w 3497470"/>
                <a:gd name="connsiteY3" fmla="*/ 0 h 2443473"/>
                <a:gd name="connsiteX4" fmla="*/ 2176369 w 3497470"/>
                <a:gd name="connsiteY4" fmla="*/ 33707 h 2443473"/>
                <a:gd name="connsiteX5" fmla="*/ 3484706 w 3497470"/>
                <a:gd name="connsiteY5" fmla="*/ 836963 h 2443473"/>
                <a:gd name="connsiteX6" fmla="*/ 3497470 w 3497470"/>
                <a:gd name="connsiteY6" fmla="*/ 998909 h 2443473"/>
                <a:gd name="connsiteX7" fmla="*/ 2450801 w 3497470"/>
                <a:gd name="connsiteY7" fmla="*/ 2359259 h 2443473"/>
                <a:gd name="connsiteX8" fmla="*/ 2252955 w 3497470"/>
                <a:gd name="connsiteY8" fmla="*/ 2443473 h 2443473"/>
                <a:gd name="connsiteX9" fmla="*/ 300022 w 3497470"/>
                <a:gd name="connsiteY9" fmla="*/ 2436994 h 2443473"/>
                <a:gd name="connsiteX10" fmla="*/ 159615 w 3497470"/>
                <a:gd name="connsiteY10" fmla="*/ 2346303 h 2443473"/>
                <a:gd name="connsiteX11" fmla="*/ 6444 w 3497470"/>
                <a:gd name="connsiteY11" fmla="*/ 1005386 h 2443473"/>
                <a:gd name="connsiteX12" fmla="*/ 0 w 3497470"/>
                <a:gd name="connsiteY12" fmla="*/ 929243 h 2443473"/>
                <a:gd name="connsiteX0" fmla="*/ 0 w 3520362"/>
                <a:gd name="connsiteY0" fmla="*/ 929243 h 2443473"/>
                <a:gd name="connsiteX1" fmla="*/ 70265 w 3520362"/>
                <a:gd name="connsiteY1" fmla="*/ 888785 h 2443473"/>
                <a:gd name="connsiteX2" fmla="*/ 2035962 w 3520362"/>
                <a:gd name="connsiteY2" fmla="*/ 27229 h 2443473"/>
                <a:gd name="connsiteX3" fmla="*/ 2100233 w 3520362"/>
                <a:gd name="connsiteY3" fmla="*/ 0 h 2443473"/>
                <a:gd name="connsiteX4" fmla="*/ 2176369 w 3520362"/>
                <a:gd name="connsiteY4" fmla="*/ 33707 h 2443473"/>
                <a:gd name="connsiteX5" fmla="*/ 3484706 w 3520362"/>
                <a:gd name="connsiteY5" fmla="*/ 836963 h 2443473"/>
                <a:gd name="connsiteX6" fmla="*/ 3497470 w 3520362"/>
                <a:gd name="connsiteY6" fmla="*/ 998909 h 2443473"/>
                <a:gd name="connsiteX7" fmla="*/ 2450801 w 3520362"/>
                <a:gd name="connsiteY7" fmla="*/ 2359259 h 2443473"/>
                <a:gd name="connsiteX8" fmla="*/ 2252955 w 3520362"/>
                <a:gd name="connsiteY8" fmla="*/ 2443473 h 2443473"/>
                <a:gd name="connsiteX9" fmla="*/ 300022 w 3520362"/>
                <a:gd name="connsiteY9" fmla="*/ 2436994 h 2443473"/>
                <a:gd name="connsiteX10" fmla="*/ 159615 w 3520362"/>
                <a:gd name="connsiteY10" fmla="*/ 2346303 h 2443473"/>
                <a:gd name="connsiteX11" fmla="*/ 6444 w 3520362"/>
                <a:gd name="connsiteY11" fmla="*/ 1005386 h 2443473"/>
                <a:gd name="connsiteX12" fmla="*/ 0 w 3520362"/>
                <a:gd name="connsiteY12" fmla="*/ 929243 h 2443473"/>
                <a:gd name="connsiteX0" fmla="*/ 0 w 3531962"/>
                <a:gd name="connsiteY0" fmla="*/ 929243 h 2443473"/>
                <a:gd name="connsiteX1" fmla="*/ 70265 w 3531962"/>
                <a:gd name="connsiteY1" fmla="*/ 888785 h 2443473"/>
                <a:gd name="connsiteX2" fmla="*/ 2035962 w 3531962"/>
                <a:gd name="connsiteY2" fmla="*/ 27229 h 2443473"/>
                <a:gd name="connsiteX3" fmla="*/ 2100233 w 3531962"/>
                <a:gd name="connsiteY3" fmla="*/ 0 h 2443473"/>
                <a:gd name="connsiteX4" fmla="*/ 2176369 w 3531962"/>
                <a:gd name="connsiteY4" fmla="*/ 33707 h 2443473"/>
                <a:gd name="connsiteX5" fmla="*/ 3484706 w 3531962"/>
                <a:gd name="connsiteY5" fmla="*/ 836963 h 2443473"/>
                <a:gd name="connsiteX6" fmla="*/ 3497470 w 3531962"/>
                <a:gd name="connsiteY6" fmla="*/ 998909 h 2443473"/>
                <a:gd name="connsiteX7" fmla="*/ 2450801 w 3531962"/>
                <a:gd name="connsiteY7" fmla="*/ 2359259 h 2443473"/>
                <a:gd name="connsiteX8" fmla="*/ 2252955 w 3531962"/>
                <a:gd name="connsiteY8" fmla="*/ 2443473 h 2443473"/>
                <a:gd name="connsiteX9" fmla="*/ 300022 w 3531962"/>
                <a:gd name="connsiteY9" fmla="*/ 2436994 h 2443473"/>
                <a:gd name="connsiteX10" fmla="*/ 159615 w 3531962"/>
                <a:gd name="connsiteY10" fmla="*/ 2346303 h 2443473"/>
                <a:gd name="connsiteX11" fmla="*/ 6444 w 3531962"/>
                <a:gd name="connsiteY11" fmla="*/ 1005386 h 2443473"/>
                <a:gd name="connsiteX12" fmla="*/ 0 w 3531962"/>
                <a:gd name="connsiteY12" fmla="*/ 929243 h 2443473"/>
                <a:gd name="connsiteX0" fmla="*/ 0 w 3529781"/>
                <a:gd name="connsiteY0" fmla="*/ 929243 h 2443473"/>
                <a:gd name="connsiteX1" fmla="*/ 70265 w 3529781"/>
                <a:gd name="connsiteY1" fmla="*/ 888785 h 2443473"/>
                <a:gd name="connsiteX2" fmla="*/ 2035962 w 3529781"/>
                <a:gd name="connsiteY2" fmla="*/ 27229 h 2443473"/>
                <a:gd name="connsiteX3" fmla="*/ 2100233 w 3529781"/>
                <a:gd name="connsiteY3" fmla="*/ 0 h 2443473"/>
                <a:gd name="connsiteX4" fmla="*/ 2176369 w 3529781"/>
                <a:gd name="connsiteY4" fmla="*/ 33707 h 2443473"/>
                <a:gd name="connsiteX5" fmla="*/ 3484706 w 3529781"/>
                <a:gd name="connsiteY5" fmla="*/ 836963 h 2443473"/>
                <a:gd name="connsiteX6" fmla="*/ 3497470 w 3529781"/>
                <a:gd name="connsiteY6" fmla="*/ 998909 h 2443473"/>
                <a:gd name="connsiteX7" fmla="*/ 2450801 w 3529781"/>
                <a:gd name="connsiteY7" fmla="*/ 2359259 h 2443473"/>
                <a:gd name="connsiteX8" fmla="*/ 2252955 w 3529781"/>
                <a:gd name="connsiteY8" fmla="*/ 2443473 h 2443473"/>
                <a:gd name="connsiteX9" fmla="*/ 300022 w 3529781"/>
                <a:gd name="connsiteY9" fmla="*/ 2436994 h 2443473"/>
                <a:gd name="connsiteX10" fmla="*/ 159615 w 3529781"/>
                <a:gd name="connsiteY10" fmla="*/ 2346303 h 2443473"/>
                <a:gd name="connsiteX11" fmla="*/ 6444 w 3529781"/>
                <a:gd name="connsiteY11" fmla="*/ 1005386 h 2443473"/>
                <a:gd name="connsiteX12" fmla="*/ 0 w 3529781"/>
                <a:gd name="connsiteY12" fmla="*/ 929243 h 2443473"/>
                <a:gd name="connsiteX0" fmla="*/ 0 w 3529781"/>
                <a:gd name="connsiteY0" fmla="*/ 929243 h 2443473"/>
                <a:gd name="connsiteX1" fmla="*/ 70265 w 3529781"/>
                <a:gd name="connsiteY1" fmla="*/ 888785 h 2443473"/>
                <a:gd name="connsiteX2" fmla="*/ 2035962 w 3529781"/>
                <a:gd name="connsiteY2" fmla="*/ 27229 h 2443473"/>
                <a:gd name="connsiteX3" fmla="*/ 2100233 w 3529781"/>
                <a:gd name="connsiteY3" fmla="*/ 0 h 2443473"/>
                <a:gd name="connsiteX4" fmla="*/ 2176369 w 3529781"/>
                <a:gd name="connsiteY4" fmla="*/ 33707 h 2443473"/>
                <a:gd name="connsiteX5" fmla="*/ 3484706 w 3529781"/>
                <a:gd name="connsiteY5" fmla="*/ 836963 h 2443473"/>
                <a:gd name="connsiteX6" fmla="*/ 3497470 w 3529781"/>
                <a:gd name="connsiteY6" fmla="*/ 998909 h 2443473"/>
                <a:gd name="connsiteX7" fmla="*/ 2450801 w 3529781"/>
                <a:gd name="connsiteY7" fmla="*/ 2359259 h 2443473"/>
                <a:gd name="connsiteX8" fmla="*/ 2252955 w 3529781"/>
                <a:gd name="connsiteY8" fmla="*/ 2443473 h 2443473"/>
                <a:gd name="connsiteX9" fmla="*/ 300022 w 3529781"/>
                <a:gd name="connsiteY9" fmla="*/ 2436994 h 2443473"/>
                <a:gd name="connsiteX10" fmla="*/ 159615 w 3529781"/>
                <a:gd name="connsiteY10" fmla="*/ 2346303 h 2443473"/>
                <a:gd name="connsiteX11" fmla="*/ 6444 w 3529781"/>
                <a:gd name="connsiteY11" fmla="*/ 1005386 h 2443473"/>
                <a:gd name="connsiteX12" fmla="*/ 0 w 3529781"/>
                <a:gd name="connsiteY12" fmla="*/ 929243 h 2443473"/>
                <a:gd name="connsiteX0" fmla="*/ 0 w 3529781"/>
                <a:gd name="connsiteY0" fmla="*/ 902014 h 2416244"/>
                <a:gd name="connsiteX1" fmla="*/ 70265 w 3529781"/>
                <a:gd name="connsiteY1" fmla="*/ 861556 h 2416244"/>
                <a:gd name="connsiteX2" fmla="*/ 2035962 w 3529781"/>
                <a:gd name="connsiteY2" fmla="*/ 0 h 2416244"/>
                <a:gd name="connsiteX3" fmla="*/ 2176369 w 3529781"/>
                <a:gd name="connsiteY3" fmla="*/ 6478 h 2416244"/>
                <a:gd name="connsiteX4" fmla="*/ 3484706 w 3529781"/>
                <a:gd name="connsiteY4" fmla="*/ 809734 h 2416244"/>
                <a:gd name="connsiteX5" fmla="*/ 3497470 w 3529781"/>
                <a:gd name="connsiteY5" fmla="*/ 971680 h 2416244"/>
                <a:gd name="connsiteX6" fmla="*/ 2450801 w 3529781"/>
                <a:gd name="connsiteY6" fmla="*/ 2332030 h 2416244"/>
                <a:gd name="connsiteX7" fmla="*/ 2252955 w 3529781"/>
                <a:gd name="connsiteY7" fmla="*/ 2416244 h 2416244"/>
                <a:gd name="connsiteX8" fmla="*/ 300022 w 3529781"/>
                <a:gd name="connsiteY8" fmla="*/ 2409765 h 2416244"/>
                <a:gd name="connsiteX9" fmla="*/ 159615 w 3529781"/>
                <a:gd name="connsiteY9" fmla="*/ 2319074 h 2416244"/>
                <a:gd name="connsiteX10" fmla="*/ 6444 w 3529781"/>
                <a:gd name="connsiteY10" fmla="*/ 978157 h 2416244"/>
                <a:gd name="connsiteX11" fmla="*/ 0 w 3529781"/>
                <a:gd name="connsiteY11" fmla="*/ 902014 h 2416244"/>
                <a:gd name="connsiteX0" fmla="*/ 0 w 3529781"/>
                <a:gd name="connsiteY0" fmla="*/ 912202 h 2426432"/>
                <a:gd name="connsiteX1" fmla="*/ 70265 w 3529781"/>
                <a:gd name="connsiteY1" fmla="*/ 871744 h 2426432"/>
                <a:gd name="connsiteX2" fmla="*/ 2035962 w 3529781"/>
                <a:gd name="connsiteY2" fmla="*/ 10188 h 2426432"/>
                <a:gd name="connsiteX3" fmla="*/ 2176369 w 3529781"/>
                <a:gd name="connsiteY3" fmla="*/ 16666 h 2426432"/>
                <a:gd name="connsiteX4" fmla="*/ 3484706 w 3529781"/>
                <a:gd name="connsiteY4" fmla="*/ 819922 h 2426432"/>
                <a:gd name="connsiteX5" fmla="*/ 3497470 w 3529781"/>
                <a:gd name="connsiteY5" fmla="*/ 981868 h 2426432"/>
                <a:gd name="connsiteX6" fmla="*/ 2450801 w 3529781"/>
                <a:gd name="connsiteY6" fmla="*/ 2342218 h 2426432"/>
                <a:gd name="connsiteX7" fmla="*/ 2252955 w 3529781"/>
                <a:gd name="connsiteY7" fmla="*/ 2426432 h 2426432"/>
                <a:gd name="connsiteX8" fmla="*/ 300022 w 3529781"/>
                <a:gd name="connsiteY8" fmla="*/ 2419953 h 2426432"/>
                <a:gd name="connsiteX9" fmla="*/ 159615 w 3529781"/>
                <a:gd name="connsiteY9" fmla="*/ 2329262 h 2426432"/>
                <a:gd name="connsiteX10" fmla="*/ 6444 w 3529781"/>
                <a:gd name="connsiteY10" fmla="*/ 988345 h 2426432"/>
                <a:gd name="connsiteX11" fmla="*/ 0 w 3529781"/>
                <a:gd name="connsiteY11" fmla="*/ 912202 h 2426432"/>
                <a:gd name="connsiteX0" fmla="*/ 0 w 3529781"/>
                <a:gd name="connsiteY0" fmla="*/ 920646 h 2434876"/>
                <a:gd name="connsiteX1" fmla="*/ 70265 w 3529781"/>
                <a:gd name="connsiteY1" fmla="*/ 880188 h 2434876"/>
                <a:gd name="connsiteX2" fmla="*/ 2035962 w 3529781"/>
                <a:gd name="connsiteY2" fmla="*/ 18632 h 2434876"/>
                <a:gd name="connsiteX3" fmla="*/ 2176369 w 3529781"/>
                <a:gd name="connsiteY3" fmla="*/ 25110 h 2434876"/>
                <a:gd name="connsiteX4" fmla="*/ 3484706 w 3529781"/>
                <a:gd name="connsiteY4" fmla="*/ 828366 h 2434876"/>
                <a:gd name="connsiteX5" fmla="*/ 3497470 w 3529781"/>
                <a:gd name="connsiteY5" fmla="*/ 990312 h 2434876"/>
                <a:gd name="connsiteX6" fmla="*/ 2450801 w 3529781"/>
                <a:gd name="connsiteY6" fmla="*/ 2350662 h 2434876"/>
                <a:gd name="connsiteX7" fmla="*/ 2252955 w 3529781"/>
                <a:gd name="connsiteY7" fmla="*/ 2434876 h 2434876"/>
                <a:gd name="connsiteX8" fmla="*/ 300022 w 3529781"/>
                <a:gd name="connsiteY8" fmla="*/ 2428397 h 2434876"/>
                <a:gd name="connsiteX9" fmla="*/ 159615 w 3529781"/>
                <a:gd name="connsiteY9" fmla="*/ 2337706 h 2434876"/>
                <a:gd name="connsiteX10" fmla="*/ 6444 w 3529781"/>
                <a:gd name="connsiteY10" fmla="*/ 996789 h 2434876"/>
                <a:gd name="connsiteX11" fmla="*/ 0 w 3529781"/>
                <a:gd name="connsiteY11" fmla="*/ 920646 h 2434876"/>
                <a:gd name="connsiteX0" fmla="*/ 0 w 3529781"/>
                <a:gd name="connsiteY0" fmla="*/ 912903 h 2427133"/>
                <a:gd name="connsiteX1" fmla="*/ 70265 w 3529781"/>
                <a:gd name="connsiteY1" fmla="*/ 872445 h 2427133"/>
                <a:gd name="connsiteX2" fmla="*/ 2010433 w 3529781"/>
                <a:gd name="connsiteY2" fmla="*/ 30323 h 2427133"/>
                <a:gd name="connsiteX3" fmla="*/ 2176369 w 3529781"/>
                <a:gd name="connsiteY3" fmla="*/ 17367 h 2427133"/>
                <a:gd name="connsiteX4" fmla="*/ 3484706 w 3529781"/>
                <a:gd name="connsiteY4" fmla="*/ 820623 h 2427133"/>
                <a:gd name="connsiteX5" fmla="*/ 3497470 w 3529781"/>
                <a:gd name="connsiteY5" fmla="*/ 982569 h 2427133"/>
                <a:gd name="connsiteX6" fmla="*/ 2450801 w 3529781"/>
                <a:gd name="connsiteY6" fmla="*/ 2342919 h 2427133"/>
                <a:gd name="connsiteX7" fmla="*/ 2252955 w 3529781"/>
                <a:gd name="connsiteY7" fmla="*/ 2427133 h 2427133"/>
                <a:gd name="connsiteX8" fmla="*/ 300022 w 3529781"/>
                <a:gd name="connsiteY8" fmla="*/ 2420654 h 2427133"/>
                <a:gd name="connsiteX9" fmla="*/ 159615 w 3529781"/>
                <a:gd name="connsiteY9" fmla="*/ 2329963 h 2427133"/>
                <a:gd name="connsiteX10" fmla="*/ 6444 w 3529781"/>
                <a:gd name="connsiteY10" fmla="*/ 989046 h 2427133"/>
                <a:gd name="connsiteX11" fmla="*/ 0 w 3529781"/>
                <a:gd name="connsiteY11" fmla="*/ 912903 h 2427133"/>
                <a:gd name="connsiteX0" fmla="*/ 0 w 3523337"/>
                <a:gd name="connsiteY0" fmla="*/ 989046 h 2427133"/>
                <a:gd name="connsiteX1" fmla="*/ 63821 w 3523337"/>
                <a:gd name="connsiteY1" fmla="*/ 872445 h 2427133"/>
                <a:gd name="connsiteX2" fmla="*/ 2003989 w 3523337"/>
                <a:gd name="connsiteY2" fmla="*/ 30323 h 2427133"/>
                <a:gd name="connsiteX3" fmla="*/ 2169925 w 3523337"/>
                <a:gd name="connsiteY3" fmla="*/ 17367 h 2427133"/>
                <a:gd name="connsiteX4" fmla="*/ 3478262 w 3523337"/>
                <a:gd name="connsiteY4" fmla="*/ 820623 h 2427133"/>
                <a:gd name="connsiteX5" fmla="*/ 3491026 w 3523337"/>
                <a:gd name="connsiteY5" fmla="*/ 982569 h 2427133"/>
                <a:gd name="connsiteX6" fmla="*/ 2444357 w 3523337"/>
                <a:gd name="connsiteY6" fmla="*/ 2342919 h 2427133"/>
                <a:gd name="connsiteX7" fmla="*/ 2246511 w 3523337"/>
                <a:gd name="connsiteY7" fmla="*/ 2427133 h 2427133"/>
                <a:gd name="connsiteX8" fmla="*/ 293578 w 3523337"/>
                <a:gd name="connsiteY8" fmla="*/ 2420654 h 2427133"/>
                <a:gd name="connsiteX9" fmla="*/ 153171 w 3523337"/>
                <a:gd name="connsiteY9" fmla="*/ 2329963 h 2427133"/>
                <a:gd name="connsiteX10" fmla="*/ 0 w 3523337"/>
                <a:gd name="connsiteY10" fmla="*/ 989046 h 2427133"/>
                <a:gd name="connsiteX0" fmla="*/ 0 w 3523337"/>
                <a:gd name="connsiteY0" fmla="*/ 989046 h 2427133"/>
                <a:gd name="connsiteX1" fmla="*/ 63821 w 3523337"/>
                <a:gd name="connsiteY1" fmla="*/ 872445 h 2427133"/>
                <a:gd name="connsiteX2" fmla="*/ 2003989 w 3523337"/>
                <a:gd name="connsiteY2" fmla="*/ 30323 h 2427133"/>
                <a:gd name="connsiteX3" fmla="*/ 2169925 w 3523337"/>
                <a:gd name="connsiteY3" fmla="*/ 17367 h 2427133"/>
                <a:gd name="connsiteX4" fmla="*/ 3478262 w 3523337"/>
                <a:gd name="connsiteY4" fmla="*/ 820623 h 2427133"/>
                <a:gd name="connsiteX5" fmla="*/ 3491026 w 3523337"/>
                <a:gd name="connsiteY5" fmla="*/ 982569 h 2427133"/>
                <a:gd name="connsiteX6" fmla="*/ 2444357 w 3523337"/>
                <a:gd name="connsiteY6" fmla="*/ 2342919 h 2427133"/>
                <a:gd name="connsiteX7" fmla="*/ 2246511 w 3523337"/>
                <a:gd name="connsiteY7" fmla="*/ 2427133 h 2427133"/>
                <a:gd name="connsiteX8" fmla="*/ 293578 w 3523337"/>
                <a:gd name="connsiteY8" fmla="*/ 2420654 h 2427133"/>
                <a:gd name="connsiteX9" fmla="*/ 153171 w 3523337"/>
                <a:gd name="connsiteY9" fmla="*/ 2329963 h 2427133"/>
                <a:gd name="connsiteX10" fmla="*/ 0 w 3523337"/>
                <a:gd name="connsiteY10" fmla="*/ 989046 h 2427133"/>
                <a:gd name="connsiteX0" fmla="*/ 8599 w 3531936"/>
                <a:gd name="connsiteY0" fmla="*/ 989046 h 2427133"/>
                <a:gd name="connsiteX1" fmla="*/ 72420 w 3531936"/>
                <a:gd name="connsiteY1" fmla="*/ 872445 h 2427133"/>
                <a:gd name="connsiteX2" fmla="*/ 2012588 w 3531936"/>
                <a:gd name="connsiteY2" fmla="*/ 30323 h 2427133"/>
                <a:gd name="connsiteX3" fmla="*/ 2178524 w 3531936"/>
                <a:gd name="connsiteY3" fmla="*/ 17367 h 2427133"/>
                <a:gd name="connsiteX4" fmla="*/ 3486861 w 3531936"/>
                <a:gd name="connsiteY4" fmla="*/ 820623 h 2427133"/>
                <a:gd name="connsiteX5" fmla="*/ 3499625 w 3531936"/>
                <a:gd name="connsiteY5" fmla="*/ 982569 h 2427133"/>
                <a:gd name="connsiteX6" fmla="*/ 2452956 w 3531936"/>
                <a:gd name="connsiteY6" fmla="*/ 2342919 h 2427133"/>
                <a:gd name="connsiteX7" fmla="*/ 2255110 w 3531936"/>
                <a:gd name="connsiteY7" fmla="*/ 2427133 h 2427133"/>
                <a:gd name="connsiteX8" fmla="*/ 302177 w 3531936"/>
                <a:gd name="connsiteY8" fmla="*/ 2420654 h 2427133"/>
                <a:gd name="connsiteX9" fmla="*/ 161770 w 3531936"/>
                <a:gd name="connsiteY9" fmla="*/ 2329963 h 2427133"/>
                <a:gd name="connsiteX10" fmla="*/ 8599 w 3531936"/>
                <a:gd name="connsiteY10" fmla="*/ 989046 h 2427133"/>
                <a:gd name="connsiteX0" fmla="*/ 0 w 3523337"/>
                <a:gd name="connsiteY0" fmla="*/ 989046 h 2427133"/>
                <a:gd name="connsiteX1" fmla="*/ 63821 w 3523337"/>
                <a:gd name="connsiteY1" fmla="*/ 872445 h 2427133"/>
                <a:gd name="connsiteX2" fmla="*/ 2003989 w 3523337"/>
                <a:gd name="connsiteY2" fmla="*/ 30323 h 2427133"/>
                <a:gd name="connsiteX3" fmla="*/ 2169925 w 3523337"/>
                <a:gd name="connsiteY3" fmla="*/ 17367 h 2427133"/>
                <a:gd name="connsiteX4" fmla="*/ 3478262 w 3523337"/>
                <a:gd name="connsiteY4" fmla="*/ 820623 h 2427133"/>
                <a:gd name="connsiteX5" fmla="*/ 3491026 w 3523337"/>
                <a:gd name="connsiteY5" fmla="*/ 982569 h 2427133"/>
                <a:gd name="connsiteX6" fmla="*/ 2444357 w 3523337"/>
                <a:gd name="connsiteY6" fmla="*/ 2342919 h 2427133"/>
                <a:gd name="connsiteX7" fmla="*/ 2246511 w 3523337"/>
                <a:gd name="connsiteY7" fmla="*/ 2427133 h 2427133"/>
                <a:gd name="connsiteX8" fmla="*/ 293578 w 3523337"/>
                <a:gd name="connsiteY8" fmla="*/ 2420654 h 2427133"/>
                <a:gd name="connsiteX9" fmla="*/ 153171 w 3523337"/>
                <a:gd name="connsiteY9" fmla="*/ 2329963 h 2427133"/>
                <a:gd name="connsiteX10" fmla="*/ 0 w 3523337"/>
                <a:gd name="connsiteY10" fmla="*/ 989046 h 2427133"/>
                <a:gd name="connsiteX0" fmla="*/ 0 w 3523337"/>
                <a:gd name="connsiteY0" fmla="*/ 1027913 h 2427133"/>
                <a:gd name="connsiteX1" fmla="*/ 63821 w 3523337"/>
                <a:gd name="connsiteY1" fmla="*/ 872445 h 2427133"/>
                <a:gd name="connsiteX2" fmla="*/ 2003989 w 3523337"/>
                <a:gd name="connsiteY2" fmla="*/ 30323 h 2427133"/>
                <a:gd name="connsiteX3" fmla="*/ 2169925 w 3523337"/>
                <a:gd name="connsiteY3" fmla="*/ 17367 h 2427133"/>
                <a:gd name="connsiteX4" fmla="*/ 3478262 w 3523337"/>
                <a:gd name="connsiteY4" fmla="*/ 820623 h 2427133"/>
                <a:gd name="connsiteX5" fmla="*/ 3491026 w 3523337"/>
                <a:gd name="connsiteY5" fmla="*/ 982569 h 2427133"/>
                <a:gd name="connsiteX6" fmla="*/ 2444357 w 3523337"/>
                <a:gd name="connsiteY6" fmla="*/ 2342919 h 2427133"/>
                <a:gd name="connsiteX7" fmla="*/ 2246511 w 3523337"/>
                <a:gd name="connsiteY7" fmla="*/ 2427133 h 2427133"/>
                <a:gd name="connsiteX8" fmla="*/ 293578 w 3523337"/>
                <a:gd name="connsiteY8" fmla="*/ 2420654 h 2427133"/>
                <a:gd name="connsiteX9" fmla="*/ 153171 w 3523337"/>
                <a:gd name="connsiteY9" fmla="*/ 2329963 h 2427133"/>
                <a:gd name="connsiteX10" fmla="*/ 0 w 3523337"/>
                <a:gd name="connsiteY10" fmla="*/ 1027913 h 2427133"/>
                <a:gd name="connsiteX0" fmla="*/ 5782 w 3529119"/>
                <a:gd name="connsiteY0" fmla="*/ 1027913 h 2427133"/>
                <a:gd name="connsiteX1" fmla="*/ 69603 w 3529119"/>
                <a:gd name="connsiteY1" fmla="*/ 872445 h 2427133"/>
                <a:gd name="connsiteX2" fmla="*/ 2009771 w 3529119"/>
                <a:gd name="connsiteY2" fmla="*/ 30323 h 2427133"/>
                <a:gd name="connsiteX3" fmla="*/ 2175707 w 3529119"/>
                <a:gd name="connsiteY3" fmla="*/ 17367 h 2427133"/>
                <a:gd name="connsiteX4" fmla="*/ 3484044 w 3529119"/>
                <a:gd name="connsiteY4" fmla="*/ 820623 h 2427133"/>
                <a:gd name="connsiteX5" fmla="*/ 3496808 w 3529119"/>
                <a:gd name="connsiteY5" fmla="*/ 982569 h 2427133"/>
                <a:gd name="connsiteX6" fmla="*/ 2450139 w 3529119"/>
                <a:gd name="connsiteY6" fmla="*/ 2342919 h 2427133"/>
                <a:gd name="connsiteX7" fmla="*/ 2252293 w 3529119"/>
                <a:gd name="connsiteY7" fmla="*/ 2427133 h 2427133"/>
                <a:gd name="connsiteX8" fmla="*/ 299360 w 3529119"/>
                <a:gd name="connsiteY8" fmla="*/ 2420654 h 2427133"/>
                <a:gd name="connsiteX9" fmla="*/ 158953 w 3529119"/>
                <a:gd name="connsiteY9" fmla="*/ 2329963 h 2427133"/>
                <a:gd name="connsiteX10" fmla="*/ 5782 w 3529119"/>
                <a:gd name="connsiteY10" fmla="*/ 1027913 h 2427133"/>
                <a:gd name="connsiteX0" fmla="*/ 2978 w 3526315"/>
                <a:gd name="connsiteY0" fmla="*/ 1027913 h 2427133"/>
                <a:gd name="connsiteX1" fmla="*/ 66799 w 3526315"/>
                <a:gd name="connsiteY1" fmla="*/ 872445 h 2427133"/>
                <a:gd name="connsiteX2" fmla="*/ 2006967 w 3526315"/>
                <a:gd name="connsiteY2" fmla="*/ 30323 h 2427133"/>
                <a:gd name="connsiteX3" fmla="*/ 2172903 w 3526315"/>
                <a:gd name="connsiteY3" fmla="*/ 17367 h 2427133"/>
                <a:gd name="connsiteX4" fmla="*/ 3481240 w 3526315"/>
                <a:gd name="connsiteY4" fmla="*/ 820623 h 2427133"/>
                <a:gd name="connsiteX5" fmla="*/ 3494004 w 3526315"/>
                <a:gd name="connsiteY5" fmla="*/ 982569 h 2427133"/>
                <a:gd name="connsiteX6" fmla="*/ 2447335 w 3526315"/>
                <a:gd name="connsiteY6" fmla="*/ 2342919 h 2427133"/>
                <a:gd name="connsiteX7" fmla="*/ 2249489 w 3526315"/>
                <a:gd name="connsiteY7" fmla="*/ 2427133 h 2427133"/>
                <a:gd name="connsiteX8" fmla="*/ 296556 w 3526315"/>
                <a:gd name="connsiteY8" fmla="*/ 2420654 h 2427133"/>
                <a:gd name="connsiteX9" fmla="*/ 156149 w 3526315"/>
                <a:gd name="connsiteY9" fmla="*/ 2329963 h 2427133"/>
                <a:gd name="connsiteX10" fmla="*/ 2978 w 3526315"/>
                <a:gd name="connsiteY10" fmla="*/ 1027913 h 242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26315" h="2427133">
                  <a:moveTo>
                    <a:pt x="2978" y="1027913"/>
                  </a:moveTo>
                  <a:cubicBezTo>
                    <a:pt x="-1276" y="969613"/>
                    <a:pt x="-11914" y="917789"/>
                    <a:pt x="66799" y="872445"/>
                  </a:cubicBezTo>
                  <a:lnTo>
                    <a:pt x="2006967" y="30323"/>
                  </a:lnTo>
                  <a:cubicBezTo>
                    <a:pt x="2053769" y="6569"/>
                    <a:pt x="2100572" y="-17182"/>
                    <a:pt x="2172903" y="17367"/>
                  </a:cubicBezTo>
                  <a:lnTo>
                    <a:pt x="3481240" y="820623"/>
                  </a:lnTo>
                  <a:cubicBezTo>
                    <a:pt x="3555699" y="881083"/>
                    <a:pt x="3521660" y="948021"/>
                    <a:pt x="3494004" y="982569"/>
                  </a:cubicBezTo>
                  <a:lnTo>
                    <a:pt x="2447335" y="2342919"/>
                  </a:lnTo>
                  <a:cubicBezTo>
                    <a:pt x="2381386" y="2424973"/>
                    <a:pt x="2340967" y="2422814"/>
                    <a:pt x="2249489" y="2427133"/>
                  </a:cubicBezTo>
                  <a:lnTo>
                    <a:pt x="296556" y="2420654"/>
                  </a:lnTo>
                  <a:cubicBezTo>
                    <a:pt x="188060" y="2416335"/>
                    <a:pt x="168913" y="2373149"/>
                    <a:pt x="156149" y="2329963"/>
                  </a:cubicBezTo>
                  <a:lnTo>
                    <a:pt x="2978" y="1027913"/>
                  </a:lnTo>
                  <a:close/>
                </a:path>
              </a:pathLst>
            </a:custGeom>
            <a:noFill/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13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32E3BD8E-E241-46FF-86CD-674E9553150A}"/>
                </a:ext>
              </a:extLst>
            </p:cNvPr>
            <p:cNvSpPr txBox="1"/>
            <p:nvPr/>
          </p:nvSpPr>
          <p:spPr>
            <a:xfrm>
              <a:off x="2661707" y="304279"/>
              <a:ext cx="614969" cy="25436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Блок 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4281513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59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5643" name="think-cell Slide" r:id="rId6" imgW="802" imgH="802" progId="TCLayout.ActiveDocument.1">
                  <p:embed/>
                </p:oleObj>
              </mc:Choice>
              <mc:Fallback>
                <p:oleObj name="think-cell Slide" r:id="rId6" imgW="802" imgH="80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xmlns="" id="{7371160C-E0F5-4DBC-9881-0D3F3BDC6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ru-RU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 Black" panose="020B0A04020102020204" pitchFamily="34" charset="0"/>
            </a:endParaRPr>
          </a:p>
        </p:txBody>
      </p:sp>
      <p:sp>
        <p:nvSpPr>
          <p:cNvPr id="24" name="Заголовок 3">
            <a:extLst>
              <a:ext uri="{FF2B5EF4-FFF2-40B4-BE49-F238E27FC236}">
                <a16:creationId xmlns:a16="http://schemas.microsoft.com/office/drawing/2014/main" xmlns="" id="{03D3426E-F2A6-4A97-8704-98FDD5691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7" y="219180"/>
            <a:ext cx="11302999" cy="41251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400" b="1" dirty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SBER PRODUCT CATALOG VS </a:t>
            </a:r>
            <a:r>
              <a:rPr lang="ru-RU" sz="2400" b="1" dirty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л</a:t>
            </a:r>
            <a:r>
              <a:rPr lang="ru-RU" sz="2400" b="1" dirty="0" smtClean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идеры рынка</a:t>
            </a:r>
            <a:r>
              <a:rPr lang="en-US" sz="2400" b="1" dirty="0" smtClean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(</a:t>
            </a:r>
            <a:r>
              <a:rPr lang="ru-RU" sz="2400" b="1" dirty="0" smtClean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функции) </a:t>
            </a:r>
            <a:endParaRPr lang="ru-RU" sz="2400" b="1" dirty="0"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8" name="Rectangle 94">
            <a:extLst>
              <a:ext uri="{FF2B5EF4-FFF2-40B4-BE49-F238E27FC236}">
                <a16:creationId xmlns:a16="http://schemas.microsoft.com/office/drawing/2014/main" xmlns="" id="{529FB96D-2B04-471F-8886-CE718EB2406B}"/>
              </a:ext>
            </a:extLst>
          </p:cNvPr>
          <p:cNvSpPr/>
          <p:nvPr/>
        </p:nvSpPr>
        <p:spPr>
          <a:xfrm>
            <a:off x="197337" y="631690"/>
            <a:ext cx="117973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lang="ru-RU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бщие возможности и различия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D0A86002-AE11-4C21-9FD3-E83B4B3B9098}"/>
              </a:ext>
            </a:extLst>
          </p:cNvPr>
          <p:cNvSpPr txBox="1"/>
          <p:nvPr/>
        </p:nvSpPr>
        <p:spPr>
          <a:xfrm>
            <a:off x="324334" y="2342314"/>
            <a:ext cx="5632579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оздание каталогов продуктов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Иерархия и группировка продуктов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Гибкое и динамическое ценообразование</a:t>
            </a:r>
            <a:r>
              <a:rPr lang="en-US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*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Гибкое управление свойствами продукта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Версионирование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, клонирование продуктов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тношения между продуктами (</a:t>
            </a:r>
            <a:r>
              <a:rPr lang="en-US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Up / Down / Cross – Sales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,</a:t>
            </a:r>
            <a:r>
              <a:rPr lang="en-US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бязательность, доступность)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Управление доступностью продукта в каналах. </a:t>
            </a: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мниканальность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Тестирование продуктов и публикация «по кнопке»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Управление справочниками валют, </a:t>
            </a:r>
            <a:r>
              <a:rPr lang="ru-RU" sz="1200" dirty="0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единицами 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измерения</a:t>
            </a:r>
            <a:r>
              <a:rPr lang="en-US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*</a:t>
            </a: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Мощный инструмент управления жизненным циклом (JIRA)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FD1382EC-65FD-4375-A91F-69CC9487A42E}"/>
              </a:ext>
            </a:extLst>
          </p:cNvPr>
          <p:cNvSpPr txBox="1"/>
          <p:nvPr/>
        </p:nvSpPr>
        <p:spPr>
          <a:xfrm>
            <a:off x="324336" y="1733788"/>
            <a:ext cx="26540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4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бщие возможности: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89D97BD3-AFCC-41EF-A31C-CDE57F4065EF}"/>
              </a:ext>
            </a:extLst>
          </p:cNvPr>
          <p:cNvSpPr txBox="1"/>
          <p:nvPr/>
        </p:nvSpPr>
        <p:spPr>
          <a:xfrm>
            <a:off x="6351560" y="1733788"/>
            <a:ext cx="2412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4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Различия: </a:t>
            </a:r>
          </a:p>
        </p:txBody>
      </p:sp>
      <p:cxnSp>
        <p:nvCxnSpPr>
          <p:cNvPr id="12" name="Прямая соединительная линия 118">
            <a:extLst>
              <a:ext uri="{FF2B5EF4-FFF2-40B4-BE49-F238E27FC236}">
                <a16:creationId xmlns:a16="http://schemas.microsoft.com/office/drawing/2014/main" xmlns="" id="{7E572C4E-DC13-491E-A8CB-E1FCC0565CE7}"/>
              </a:ext>
            </a:extLst>
          </p:cNvPr>
          <p:cNvCxnSpPr>
            <a:cxnSpLocks/>
          </p:cNvCxnSpPr>
          <p:nvPr/>
        </p:nvCxnSpPr>
        <p:spPr>
          <a:xfrm flipV="1">
            <a:off x="6096000" y="1573227"/>
            <a:ext cx="0" cy="4936613"/>
          </a:xfrm>
          <a:prstGeom prst="line">
            <a:avLst/>
          </a:prstGeom>
          <a:noFill/>
          <a:ln w="6350" cap="rnd">
            <a:gradFill flip="none" rotWithShape="1">
              <a:gsLst>
                <a:gs pos="29000">
                  <a:srgbClr val="006192"/>
                </a:gs>
                <a:gs pos="100000">
                  <a:srgbClr val="001721">
                    <a:alpha val="0"/>
                  </a:srgbClr>
                </a:gs>
                <a:gs pos="70000">
                  <a:srgbClr val="7DC4DD"/>
                </a:gs>
                <a:gs pos="0">
                  <a:srgbClr val="001822">
                    <a:alpha val="0"/>
                  </a:srgbClr>
                </a:gs>
              </a:gsLst>
              <a:lin ang="5400000" scaled="1"/>
              <a:tileRect/>
            </a:gradFill>
            <a:head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13" name="Table">
            <a:extLst>
              <a:ext uri="{FF2B5EF4-FFF2-40B4-BE49-F238E27FC236}">
                <a16:creationId xmlns:a16="http://schemas.microsoft.com/office/drawing/2014/main" xmlns="" id="{539014A5-181D-44AC-9CF8-22EC4D763FD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5500699"/>
              </p:ext>
            </p:extLst>
          </p:nvPr>
        </p:nvGraphicFramePr>
        <p:xfrm>
          <a:off x="6418554" y="2342314"/>
          <a:ext cx="5469573" cy="3883995"/>
        </p:xfrm>
        <a:graphic>
          <a:graphicData uri="http://schemas.openxmlformats.org/drawingml/2006/table">
            <a:tbl>
              <a:tblPr firstRow="1" lastRow="1"/>
              <a:tblGrid>
                <a:gridCol w="174002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32387">
                  <a:extLst>
                    <a:ext uri="{9D8B030D-6E8A-4147-A177-3AD203B41FA5}">
                      <a16:colId xmlns:a16="http://schemas.microsoft.com/office/drawing/2014/main" xmlns="" val="3867207179"/>
                    </a:ext>
                  </a:extLst>
                </a:gridCol>
                <a:gridCol w="9323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3238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3238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9871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defTabSz="914400">
                        <a:tabLst>
                          <a:tab pos="1663700" algn="l"/>
                        </a:tabLst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endParaRPr sz="10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Bold Bold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tabLst>
                          <a:tab pos="1663700" algn="l"/>
                        </a:tabLst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en-US" sz="1000" b="0" i="0" dirty="0" err="1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Calibri" charset="0"/>
                          <a:cs typeface="Calibri" charset="0"/>
                          <a:sym typeface="Fedra Sans Pro Bold Bold"/>
                        </a:rPr>
                        <a:t>Sber</a:t>
                      </a:r>
                      <a:r>
                        <a:rPr lang="en-US" sz="1000" b="0" i="0" dirty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Calibri" charset="0"/>
                          <a:cs typeface="Calibri" charset="0"/>
                          <a:sym typeface="Fedra Sans Pro Bold Bold"/>
                        </a:rPr>
                        <a:t> Product Catalog </a:t>
                      </a:r>
                      <a:endParaRPr sz="1000" b="0" i="0" dirty="0">
                        <a:solidFill>
                          <a:schemeClr val="tx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Bold Bold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63700" algn="l"/>
                        </a:tabLst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en-US" sz="1000" dirty="0" err="1">
                          <a:latin typeface="Arial Black" panose="020B0A04020102020204" pitchFamily="34" charset="0"/>
                          <a:sym typeface="Fedra Sans Pro Bold Bold"/>
                        </a:rPr>
                        <a:t>Netcracker</a:t>
                      </a:r>
                      <a:r>
                        <a:rPr lang="en-US" sz="1000" dirty="0">
                          <a:latin typeface="Arial Black" panose="020B0A04020102020204" pitchFamily="34" charset="0"/>
                          <a:sym typeface="Fedra Sans Pro Bold Bold"/>
                        </a:rPr>
                        <a:t>,</a:t>
                      </a:r>
                      <a:r>
                        <a:rPr lang="en-US" sz="1000" baseline="0" dirty="0">
                          <a:latin typeface="Arial Black" panose="020B0A04020102020204" pitchFamily="34" charset="0"/>
                          <a:sym typeface="Fedra Sans Pro Bold Bold"/>
                        </a:rPr>
                        <a:t> </a:t>
                      </a:r>
                    </a:p>
                    <a:p>
                      <a:pPr algn="ctr" defTabSz="914400">
                        <a:tabLst>
                          <a:tab pos="1663700" algn="l"/>
                        </a:tabLst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en-US" sz="1000" baseline="0" dirty="0">
                          <a:latin typeface="Arial Black" panose="020B0A04020102020204" pitchFamily="34" charset="0"/>
                          <a:sym typeface="Fedra Sans Pro Bold Bold"/>
                        </a:rPr>
                        <a:t>Amdocs</a:t>
                      </a:r>
                      <a:endParaRPr sz="10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Bold Bold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63700" algn="l"/>
                        </a:tabLst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en-US" sz="1000" dirty="0">
                          <a:latin typeface="Arial Black" panose="020B0A04020102020204" pitchFamily="34" charset="0"/>
                          <a:sym typeface="Fedra Sans Pro Bold Bold"/>
                        </a:rPr>
                        <a:t>Microsoft Dynamics</a:t>
                      </a:r>
                      <a:r>
                        <a:rPr lang="ru-RU" sz="1000" dirty="0">
                          <a:latin typeface="Arial Black" panose="020B0A04020102020204" pitchFamily="34" charset="0"/>
                          <a:sym typeface="Fedra Sans Pro Bold Bold"/>
                        </a:rPr>
                        <a:t>,</a:t>
                      </a:r>
                      <a:r>
                        <a:rPr lang="ru-RU" sz="1000" baseline="0" dirty="0">
                          <a:latin typeface="Arial Black" panose="020B0A04020102020204" pitchFamily="34" charset="0"/>
                          <a:sym typeface="Fedra Sans Pro Bold Bold"/>
                        </a:rPr>
                        <a:t> </a:t>
                      </a:r>
                      <a:r>
                        <a:rPr lang="en-US" sz="1000" baseline="0" dirty="0">
                          <a:latin typeface="Arial Black" panose="020B0A04020102020204" pitchFamily="34" charset="0"/>
                          <a:sym typeface="Fedra Sans Pro Bold Bold"/>
                        </a:rPr>
                        <a:t>Salesforce</a:t>
                      </a:r>
                      <a:endParaRPr sz="10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Bold Bold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defTabSz="914400">
                        <a:tabLst>
                          <a:tab pos="1663700" algn="l"/>
                        </a:tabLst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en-US" sz="1000" dirty="0">
                          <a:latin typeface="Arial Black" panose="020B0A04020102020204" pitchFamily="34" charset="0"/>
                          <a:sym typeface="Fedra Sans Pro Bold Bold"/>
                        </a:rPr>
                        <a:t>SAP</a:t>
                      </a:r>
                      <a:endParaRPr sz="10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Bold Bold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242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defTabSz="914400">
                        <a:defRPr sz="1800"/>
                      </a:pPr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Calibri" charset="0"/>
                          <a:cs typeface="Calibri" charset="0"/>
                          <a:sym typeface="Fedra Sans Pro Normal Normal"/>
                        </a:rPr>
                        <a:t>Федерация каталогов</a:t>
                      </a:r>
                      <a:endParaRPr sz="1000" b="0" i="0" dirty="0">
                        <a:solidFill>
                          <a:schemeClr val="tx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Normal Normal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defRPr sz="1800"/>
                      </a:pPr>
                      <a:r>
                        <a:rPr lang="ru-RU" sz="1000" b="0" i="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ea typeface="Calibri" charset="0"/>
                          <a:cs typeface="Calibri" charset="0"/>
                          <a:sym typeface="Fedra Sans Pro Normal Normal"/>
                        </a:rPr>
                        <a:t>Да</a:t>
                      </a: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defTabSz="914400">
                        <a:defRPr sz="1800"/>
                      </a:pPr>
                      <a:r>
                        <a:rPr lang="ru-RU" sz="10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sym typeface="Fedra Sans Pro Normal Normal"/>
                        </a:rPr>
                        <a:t>Нет</a:t>
                      </a:r>
                      <a:endParaRPr sz="10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Normal Normal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defTabSz="914400">
                        <a:defRPr sz="1800"/>
                      </a:pPr>
                      <a:r>
                        <a:rPr lang="ru-RU" sz="10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sym typeface="Fedra Sans Pro Normal Normal"/>
                        </a:rPr>
                        <a:t>Нет</a:t>
                      </a:r>
                      <a:endParaRPr sz="10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Normal Normal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defTabSz="914400">
                        <a:defRPr sz="1800"/>
                      </a:pPr>
                      <a:r>
                        <a:rPr lang="ru-RU" sz="10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sym typeface="Fedra Sans Pro Normal Normal"/>
                        </a:rPr>
                        <a:t>Да</a:t>
                      </a:r>
                      <a:endParaRPr sz="10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Normal Normal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85531504"/>
                  </a:ext>
                </a:extLst>
              </a:tr>
              <a:tr h="7242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ru-RU" sz="1000" b="0" dirty="0">
                          <a:latin typeface="Arial Black" panose="020B0A04020102020204" pitchFamily="34" charset="0"/>
                        </a:rPr>
                        <a:t>Массовые операции</a:t>
                      </a:r>
                      <a:r>
                        <a:rPr lang="ru-RU" sz="1000" b="0" baseline="0" dirty="0">
                          <a:latin typeface="Arial Black" panose="020B0A04020102020204" pitchFamily="34" charset="0"/>
                        </a:rPr>
                        <a:t> изменения</a:t>
                      </a:r>
                      <a:endParaRPr lang="ru-RU" sz="1000" b="0" dirty="0">
                        <a:latin typeface="Arial Black" panose="020B0A04020102020204" pitchFamily="34" charset="0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defRPr sz="1800"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sym typeface="Fedra Sans Pro Normal Normal"/>
                        </a:rPr>
                        <a:t>Частично</a:t>
                      </a:r>
                      <a:endParaRPr sz="1000" b="1" i="0" kern="120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Normal Normal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defTabSz="914400">
                        <a:defRPr sz="1800"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sym typeface="Fedra Sans Pro Normal Normal"/>
                        </a:rPr>
                        <a:t>Частично</a:t>
                      </a:r>
                      <a:endParaRPr sz="1000" b="1" i="0" kern="120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Normal Normal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defTabSz="914400">
                        <a:defRPr sz="1800"/>
                      </a:pPr>
                      <a:r>
                        <a:rPr lang="ru-RU" sz="10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sym typeface="Fedra Sans Pro Normal Normal"/>
                        </a:rPr>
                        <a:t>Частично</a:t>
                      </a:r>
                      <a:endParaRPr sz="1000" b="1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Normal Normal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defTabSz="914400">
                        <a:defRPr sz="1800"/>
                      </a:pPr>
                      <a:r>
                        <a:rPr lang="ru-RU" sz="10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sym typeface="Fedra Sans Pro Normal Normal"/>
                        </a:rPr>
                        <a:t>Да</a:t>
                      </a:r>
                      <a:endParaRPr sz="10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Normal Normal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242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ru-RU" sz="1000" b="0" kern="1200" baseline="0" dirty="0">
                          <a:solidFill>
                            <a:schemeClr val="dk1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Анализ </a:t>
                      </a:r>
                      <a:r>
                        <a:rPr lang="en-US" sz="1000" b="0" kern="1200" baseline="0" dirty="0">
                          <a:solidFill>
                            <a:schemeClr val="dk1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P&amp;L</a:t>
                      </a:r>
                      <a:r>
                        <a:rPr lang="ru-RU" sz="1000" b="0" dirty="0">
                          <a:latin typeface="Arial Black" panose="020B0A04020102020204" pitchFamily="34" charset="0"/>
                        </a:rPr>
                        <a:t>,</a:t>
                      </a:r>
                      <a:r>
                        <a:rPr lang="ru-RU" sz="1000" b="0" baseline="0" dirty="0">
                          <a:latin typeface="Arial Black" panose="020B0A04020102020204" pitchFamily="34" charset="0"/>
                        </a:rPr>
                        <a:t> помощь в принятии решений</a:t>
                      </a:r>
                      <a:endParaRPr lang="ru-RU" sz="1000" b="0" dirty="0">
                        <a:latin typeface="Arial Black" panose="020B0A04020102020204" pitchFamily="34" charset="0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defRPr sz="1800"/>
                      </a:pPr>
                      <a:r>
                        <a:rPr lang="ru-RU" sz="1000" b="1" i="0" kern="12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ea typeface="Calibri" charset="0"/>
                          <a:cs typeface="Calibri" charset="0"/>
                          <a:sym typeface="Fedra Sans Pro Normal Normal"/>
                        </a:rPr>
                        <a:t>Да</a:t>
                      </a:r>
                      <a:r>
                        <a:rPr lang="en-US" sz="1000" b="1" i="0" kern="12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ea typeface="Calibri" charset="0"/>
                          <a:cs typeface="Calibri" charset="0"/>
                          <a:sym typeface="Fedra Sans Pro Normal Normal"/>
                        </a:rPr>
                        <a:t> </a:t>
                      </a:r>
                      <a:r>
                        <a:rPr lang="ru-RU" sz="1000" b="1" i="0" kern="12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ea typeface="Calibri" charset="0"/>
                          <a:cs typeface="Calibri" charset="0"/>
                          <a:sym typeface="Fedra Sans Pro Normal Normal"/>
                        </a:rPr>
                        <a:t> </a:t>
                      </a: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defTabSz="914400">
                        <a:defRPr sz="1800"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  <a:sym typeface="Fedra Sans Pro Normal Normal"/>
                        </a:rPr>
                        <a:t>Частично</a:t>
                      </a:r>
                      <a:endParaRPr lang="ru-RU" sz="1000" b="1" i="0" kern="120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Normal Normal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defTabSz="914400">
                        <a:defRPr sz="1800"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  <a:sym typeface="Fedra Sans Pro Normal Normal"/>
                        </a:rPr>
                        <a:t>Частично</a:t>
                      </a:r>
                      <a:endParaRPr sz="10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Normal Normal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defTabSz="914400">
                        <a:defRPr sz="1800"/>
                      </a:pPr>
                      <a:r>
                        <a:rPr lang="ru-RU" sz="10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sym typeface="Fedra Sans Pro Normal Normal"/>
                        </a:rPr>
                        <a:t>Частично</a:t>
                      </a:r>
                      <a:endParaRPr sz="1000" b="1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Normal Normal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7242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Каталог услуг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*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технический каталог)</a:t>
                      </a: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defRPr sz="1800"/>
                      </a:pPr>
                      <a:r>
                        <a:rPr lang="ru-RU" sz="1000" b="0" i="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ea typeface="Calibri" charset="0"/>
                          <a:cs typeface="Calibri" charset="0"/>
                          <a:sym typeface="Fedra Sans Pro Bold Bold"/>
                        </a:rPr>
                        <a:t>Да </a:t>
                      </a:r>
                      <a:endParaRPr sz="10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Bold Bold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defTabSz="914400">
                        <a:defRPr sz="1800"/>
                      </a:pPr>
                      <a:r>
                        <a:rPr lang="ru-RU" sz="1000" b="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sym typeface="Fedra Sans Pro Bold Bold"/>
                        </a:rPr>
                        <a:t>Да</a:t>
                      </a:r>
                      <a:endParaRPr sz="10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Bold Bold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defTabSz="914400">
                        <a:defRPr sz="1800"/>
                      </a:pPr>
                      <a:r>
                        <a:rPr lang="ru-RU" sz="1000" b="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sym typeface="Fedra Sans Pro Bold Bold"/>
                        </a:rPr>
                        <a:t>Нет</a:t>
                      </a:r>
                      <a:endParaRPr sz="10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Bold Bold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defTabSz="914400">
                        <a:defRPr sz="1800"/>
                      </a:pPr>
                      <a:r>
                        <a:rPr lang="ru-RU" sz="1000" b="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sym typeface="Fedra Sans Pro Bold Bold"/>
                        </a:rPr>
                        <a:t>Нет</a:t>
                      </a:r>
                      <a:endParaRPr sz="10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ea typeface="Calibri" charset="0"/>
                        <a:cs typeface="Calibri" charset="0"/>
                        <a:sym typeface="Fedra Sans Pro Bold Bold"/>
                      </a:endParaRPr>
                    </a:p>
                  </a:txBody>
                  <a:tcPr marL="50800" marR="50800" marT="50800" marB="50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E0D676C0-2F26-7E46-8C64-AACD3238CBCB}"/>
              </a:ext>
            </a:extLst>
          </p:cNvPr>
          <p:cNvSpPr txBox="1"/>
          <p:nvPr/>
        </p:nvSpPr>
        <p:spPr>
          <a:xfrm>
            <a:off x="298941" y="6391558"/>
            <a:ext cx="56619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3663" lvl="0" indent="-93663">
              <a:defRPr/>
            </a:pPr>
            <a:r>
              <a:rPr lang="ru-RU" sz="800" dirty="0">
                <a:solidFill>
                  <a:srgbClr val="E7E6E6">
                    <a:lumMod val="50000"/>
                  </a:srgb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* </a:t>
            </a:r>
            <a:r>
              <a:rPr lang="ru-RU" sz="800" dirty="0" smtClean="0">
                <a:solidFill>
                  <a:srgbClr val="E7E6E6">
                    <a:lumMod val="50000"/>
                  </a:srgb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возможности</a:t>
            </a:r>
            <a:r>
              <a:rPr lang="ru-RU" sz="800" dirty="0">
                <a:solidFill>
                  <a:srgbClr val="E7E6E6">
                    <a:lumMod val="50000"/>
                  </a:srgb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, поддерживаемые </a:t>
            </a:r>
            <a:r>
              <a:rPr lang="ru-RU" sz="800" dirty="0" err="1" smtClean="0">
                <a:solidFill>
                  <a:srgbClr val="E7E6E6">
                    <a:lumMod val="50000"/>
                  </a:srgb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ЕКПиТ</a:t>
            </a:r>
            <a:r>
              <a:rPr lang="ru-RU" sz="800" dirty="0" smtClean="0">
                <a:solidFill>
                  <a:srgbClr val="E7E6E6">
                    <a:lumMod val="50000"/>
                  </a:srgb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(Единый Каталог Продуктов и Тарифов, подсистема </a:t>
            </a:r>
            <a:r>
              <a:rPr lang="en-US" sz="800" dirty="0" err="1" smtClean="0">
                <a:solidFill>
                  <a:srgbClr val="E7E6E6">
                    <a:lumMod val="50000"/>
                  </a:srgb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Sber</a:t>
            </a:r>
            <a:r>
              <a:rPr lang="en-US" sz="800" dirty="0" smtClean="0">
                <a:solidFill>
                  <a:srgbClr val="E7E6E6">
                    <a:lumMod val="50000"/>
                  </a:srgb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Product Catalog</a:t>
            </a:r>
            <a:r>
              <a:rPr lang="ru-RU" sz="800" dirty="0" smtClean="0">
                <a:solidFill>
                  <a:srgbClr val="E7E6E6">
                    <a:lumMod val="50000"/>
                  </a:srgb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)</a:t>
            </a:r>
            <a:endParaRPr lang="ru-RU" sz="800" dirty="0">
              <a:solidFill>
                <a:srgbClr val="E7E6E6">
                  <a:lumMod val="50000"/>
                </a:srgbClr>
              </a:solidFill>
              <a:latin typeface="Malgun Gothic Semilight" panose="020B0502040204020203" pitchFamily="34" charset="-128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4299897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231D5B"/>
            </a:gs>
            <a:gs pos="100000">
              <a:srgbClr val="522486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2807" name="think-cell Slide" r:id="rId6" imgW="802" imgH="802" progId="TCLayout.ActiveDocument.1">
                  <p:embed/>
                </p:oleObj>
              </mc:Choice>
              <mc:Fallback>
                <p:oleObj name="think-cell Slide" r:id="rId6" imgW="802" imgH="80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xmlns="" id="{7371160C-E0F5-4DBC-9881-0D3F3BDC6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 Black" panose="020B0A04020102020204" pitchFamily="34" charset="0"/>
            </a:endParaRPr>
          </a:p>
        </p:txBody>
      </p:sp>
      <p:pic>
        <p:nvPicPr>
          <p:cNvPr id="28" name="Picture 33" descr="https://get.wallhere.com/photo/2000x1200-px-city-lights-cityscape-colorful-digital-art-futuristic-futuristic-city-Romain-Trystam-1421861.jpg">
            <a:extLst>
              <a:ext uri="{FF2B5EF4-FFF2-40B4-BE49-F238E27FC236}">
                <a16:creationId xmlns:a16="http://schemas.microsoft.com/office/drawing/2014/main" xmlns="" id="{EBFA881A-A19E-4C1C-814F-64EB296B63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250"/>
          <a:stretch/>
        </p:blipFill>
        <p:spPr bwMode="auto">
          <a:xfrm>
            <a:off x="0" y="-1"/>
            <a:ext cx="12191998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6BA67423-5EB7-4A13-A345-5BFA2129F4C8}"/>
              </a:ext>
            </a:extLst>
          </p:cNvPr>
          <p:cNvSpPr txBox="1"/>
          <p:nvPr/>
        </p:nvSpPr>
        <p:spPr>
          <a:xfrm>
            <a:off x="2791047" y="2170627"/>
            <a:ext cx="6609907" cy="1839158"/>
          </a:xfrm>
          <a:prstGeom prst="roundRect">
            <a:avLst>
              <a:gd name="adj" fmla="val 8434"/>
            </a:avLst>
          </a:prstGeom>
          <a:solidFill>
            <a:srgbClr val="000000">
              <a:alpha val="50196"/>
            </a:srgbClr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3600" dirty="0">
                <a:solidFill>
                  <a:prstClr val="white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Варианты использования </a:t>
            </a:r>
            <a:r>
              <a:rPr lang="en-US" sz="3600" dirty="0">
                <a:solidFill>
                  <a:prstClr val="white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/>
            </a:r>
            <a:br>
              <a:rPr lang="en-US" sz="3600" dirty="0">
                <a:solidFill>
                  <a:prstClr val="white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</a:br>
            <a:r>
              <a:rPr lang="ru-RU" sz="3600" dirty="0">
                <a:solidFill>
                  <a:prstClr val="white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Sber Product Catalog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B0DE2ECD-4959-496A-88C1-16B3DAB46BD6}"/>
              </a:ext>
            </a:extLst>
          </p:cNvPr>
          <p:cNvSpPr txBox="1"/>
          <p:nvPr/>
        </p:nvSpPr>
        <p:spPr>
          <a:xfrm>
            <a:off x="9734736" y="6375591"/>
            <a:ext cx="22106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22486"/>
                </a:solidFill>
                <a:effectLst/>
                <a:uLnTx/>
                <a:uFillTx/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 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Malgun Gothic Semilight" panose="020B0502040204020203" pitchFamily="34" charset="-128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xmlns="" id="{C7205EF8-1C6B-4520-AB35-C3ABEBAF15C6}"/>
              </a:ext>
            </a:extLst>
          </p:cNvPr>
          <p:cNvGrpSpPr/>
          <p:nvPr/>
        </p:nvGrpSpPr>
        <p:grpSpPr>
          <a:xfrm>
            <a:off x="265606" y="179205"/>
            <a:ext cx="910272" cy="624186"/>
            <a:chOff x="2652323" y="132462"/>
            <a:chExt cx="752291" cy="515856"/>
          </a:xfrm>
        </p:grpSpPr>
        <p:sp>
          <p:nvSpPr>
            <p:cNvPr id="30" name="Правильный пятиугольник 6">
              <a:extLst>
                <a:ext uri="{FF2B5EF4-FFF2-40B4-BE49-F238E27FC236}">
                  <a16:creationId xmlns:a16="http://schemas.microsoft.com/office/drawing/2014/main" xmlns="" id="{52B1BF0F-0EB3-4DC4-BF40-9ADBA608D2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52323" y="132462"/>
              <a:ext cx="752291" cy="515856"/>
            </a:xfrm>
            <a:custGeom>
              <a:avLst/>
              <a:gdLst>
                <a:gd name="connsiteX0" fmla="*/ 4 w 3600400"/>
                <a:gd name="connsiteY0" fmla="*/ 934005 h 2445264"/>
                <a:gd name="connsiteX1" fmla="*/ 1800200 w 3600400"/>
                <a:gd name="connsiteY1" fmla="*/ 0 h 2445264"/>
                <a:gd name="connsiteX2" fmla="*/ 3600396 w 3600400"/>
                <a:gd name="connsiteY2" fmla="*/ 934005 h 2445264"/>
                <a:gd name="connsiteX3" fmla="*/ 2912782 w 3600400"/>
                <a:gd name="connsiteY3" fmla="*/ 2445258 h 2445264"/>
                <a:gd name="connsiteX4" fmla="*/ 687618 w 3600400"/>
                <a:gd name="connsiteY4" fmla="*/ 2445258 h 2445264"/>
                <a:gd name="connsiteX5" fmla="*/ 4 w 3600400"/>
                <a:gd name="connsiteY5" fmla="*/ 934005 h 2445264"/>
                <a:gd name="connsiteX0" fmla="*/ 0 w 3600392"/>
                <a:gd name="connsiteY0" fmla="*/ 934005 h 2485452"/>
                <a:gd name="connsiteX1" fmla="*/ 1800196 w 3600392"/>
                <a:gd name="connsiteY1" fmla="*/ 0 h 2485452"/>
                <a:gd name="connsiteX2" fmla="*/ 3600392 w 3600392"/>
                <a:gd name="connsiteY2" fmla="*/ 934005 h 2485452"/>
                <a:gd name="connsiteX3" fmla="*/ 2912778 w 3600392"/>
                <a:gd name="connsiteY3" fmla="*/ 2445258 h 2485452"/>
                <a:gd name="connsiteX4" fmla="*/ 185197 w 3600392"/>
                <a:gd name="connsiteY4" fmla="*/ 2485452 h 2485452"/>
                <a:gd name="connsiteX5" fmla="*/ 0 w 3600392"/>
                <a:gd name="connsiteY5" fmla="*/ 934005 h 2485452"/>
                <a:gd name="connsiteX0" fmla="*/ 0 w 3600392"/>
                <a:gd name="connsiteY0" fmla="*/ 934005 h 2485452"/>
                <a:gd name="connsiteX1" fmla="*/ 1800196 w 3600392"/>
                <a:gd name="connsiteY1" fmla="*/ 0 h 2485452"/>
                <a:gd name="connsiteX2" fmla="*/ 3600392 w 3600392"/>
                <a:gd name="connsiteY2" fmla="*/ 934005 h 2485452"/>
                <a:gd name="connsiteX3" fmla="*/ 2480699 w 3600392"/>
                <a:gd name="connsiteY3" fmla="*/ 2435209 h 2485452"/>
                <a:gd name="connsiteX4" fmla="*/ 185197 w 3600392"/>
                <a:gd name="connsiteY4" fmla="*/ 2485452 h 2485452"/>
                <a:gd name="connsiteX5" fmla="*/ 0 w 3600392"/>
                <a:gd name="connsiteY5" fmla="*/ 934005 h 2485452"/>
                <a:gd name="connsiteX0" fmla="*/ 0 w 3600392"/>
                <a:gd name="connsiteY0" fmla="*/ 934005 h 2485452"/>
                <a:gd name="connsiteX1" fmla="*/ 1800196 w 3600392"/>
                <a:gd name="connsiteY1" fmla="*/ 0 h 2485452"/>
                <a:gd name="connsiteX2" fmla="*/ 3600392 w 3600392"/>
                <a:gd name="connsiteY2" fmla="*/ 934005 h 2485452"/>
                <a:gd name="connsiteX3" fmla="*/ 2480699 w 3600392"/>
                <a:gd name="connsiteY3" fmla="*/ 2475403 h 2485452"/>
                <a:gd name="connsiteX4" fmla="*/ 185197 w 3600392"/>
                <a:gd name="connsiteY4" fmla="*/ 2485452 h 2485452"/>
                <a:gd name="connsiteX5" fmla="*/ 0 w 3600392"/>
                <a:gd name="connsiteY5" fmla="*/ 934005 h 2485452"/>
                <a:gd name="connsiteX0" fmla="*/ 0 w 3600392"/>
                <a:gd name="connsiteY0" fmla="*/ 934005 h 2475403"/>
                <a:gd name="connsiteX1" fmla="*/ 1800196 w 3600392"/>
                <a:gd name="connsiteY1" fmla="*/ 0 h 2475403"/>
                <a:gd name="connsiteX2" fmla="*/ 3600392 w 3600392"/>
                <a:gd name="connsiteY2" fmla="*/ 934005 h 2475403"/>
                <a:gd name="connsiteX3" fmla="*/ 2480699 w 3600392"/>
                <a:gd name="connsiteY3" fmla="*/ 2475403 h 2475403"/>
                <a:gd name="connsiteX4" fmla="*/ 185197 w 3600392"/>
                <a:gd name="connsiteY4" fmla="*/ 2460052 h 2475403"/>
                <a:gd name="connsiteX5" fmla="*/ 0 w 3600392"/>
                <a:gd name="connsiteY5" fmla="*/ 934005 h 2475403"/>
                <a:gd name="connsiteX0" fmla="*/ 0 w 3600392"/>
                <a:gd name="connsiteY0" fmla="*/ 934005 h 2462703"/>
                <a:gd name="connsiteX1" fmla="*/ 1800196 w 3600392"/>
                <a:gd name="connsiteY1" fmla="*/ 0 h 2462703"/>
                <a:gd name="connsiteX2" fmla="*/ 3600392 w 3600392"/>
                <a:gd name="connsiteY2" fmla="*/ 934005 h 2462703"/>
                <a:gd name="connsiteX3" fmla="*/ 2480699 w 3600392"/>
                <a:gd name="connsiteY3" fmla="*/ 2462703 h 2462703"/>
                <a:gd name="connsiteX4" fmla="*/ 185197 w 3600392"/>
                <a:gd name="connsiteY4" fmla="*/ 2460052 h 2462703"/>
                <a:gd name="connsiteX5" fmla="*/ 0 w 3600392"/>
                <a:gd name="connsiteY5" fmla="*/ 934005 h 2462703"/>
                <a:gd name="connsiteX0" fmla="*/ 0 w 3600392"/>
                <a:gd name="connsiteY0" fmla="*/ 934005 h 2462703"/>
                <a:gd name="connsiteX1" fmla="*/ 1800196 w 3600392"/>
                <a:gd name="connsiteY1" fmla="*/ 0 h 2462703"/>
                <a:gd name="connsiteX2" fmla="*/ 3600392 w 3600392"/>
                <a:gd name="connsiteY2" fmla="*/ 934005 h 2462703"/>
                <a:gd name="connsiteX3" fmla="*/ 2480699 w 3600392"/>
                <a:gd name="connsiteY3" fmla="*/ 2462703 h 2462703"/>
                <a:gd name="connsiteX4" fmla="*/ 207422 w 3600392"/>
                <a:gd name="connsiteY4" fmla="*/ 2460052 h 2462703"/>
                <a:gd name="connsiteX5" fmla="*/ 0 w 3600392"/>
                <a:gd name="connsiteY5" fmla="*/ 934005 h 2462703"/>
                <a:gd name="connsiteX0" fmla="*/ 0 w 3600392"/>
                <a:gd name="connsiteY0" fmla="*/ 934005 h 2462703"/>
                <a:gd name="connsiteX1" fmla="*/ 1800196 w 3600392"/>
                <a:gd name="connsiteY1" fmla="*/ 0 h 2462703"/>
                <a:gd name="connsiteX2" fmla="*/ 3600392 w 3600392"/>
                <a:gd name="connsiteY2" fmla="*/ 934005 h 2462703"/>
                <a:gd name="connsiteX3" fmla="*/ 2414024 w 3600392"/>
                <a:gd name="connsiteY3" fmla="*/ 2462703 h 2462703"/>
                <a:gd name="connsiteX4" fmla="*/ 207422 w 3600392"/>
                <a:gd name="connsiteY4" fmla="*/ 2460052 h 2462703"/>
                <a:gd name="connsiteX5" fmla="*/ 0 w 3600392"/>
                <a:gd name="connsiteY5" fmla="*/ 934005 h 2462703"/>
                <a:gd name="connsiteX0" fmla="*/ 0 w 3600392"/>
                <a:gd name="connsiteY0" fmla="*/ 919718 h 2448416"/>
                <a:gd name="connsiteX1" fmla="*/ 2124046 w 3600392"/>
                <a:gd name="connsiteY1" fmla="*/ 0 h 2448416"/>
                <a:gd name="connsiteX2" fmla="*/ 3600392 w 3600392"/>
                <a:gd name="connsiteY2" fmla="*/ 919718 h 2448416"/>
                <a:gd name="connsiteX3" fmla="*/ 2414024 w 3600392"/>
                <a:gd name="connsiteY3" fmla="*/ 2448416 h 2448416"/>
                <a:gd name="connsiteX4" fmla="*/ 207422 w 3600392"/>
                <a:gd name="connsiteY4" fmla="*/ 2445765 h 2448416"/>
                <a:gd name="connsiteX5" fmla="*/ 0 w 3600392"/>
                <a:gd name="connsiteY5" fmla="*/ 919718 h 2448416"/>
                <a:gd name="connsiteX0" fmla="*/ 0 w 3576579"/>
                <a:gd name="connsiteY0" fmla="*/ 929243 h 2448416"/>
                <a:gd name="connsiteX1" fmla="*/ 2100233 w 3576579"/>
                <a:gd name="connsiteY1" fmla="*/ 0 h 2448416"/>
                <a:gd name="connsiteX2" fmla="*/ 3576579 w 3576579"/>
                <a:gd name="connsiteY2" fmla="*/ 919718 h 2448416"/>
                <a:gd name="connsiteX3" fmla="*/ 2390211 w 3576579"/>
                <a:gd name="connsiteY3" fmla="*/ 2448416 h 2448416"/>
                <a:gd name="connsiteX4" fmla="*/ 183609 w 3576579"/>
                <a:gd name="connsiteY4" fmla="*/ 2445765 h 2448416"/>
                <a:gd name="connsiteX5" fmla="*/ 0 w 3576579"/>
                <a:gd name="connsiteY5" fmla="*/ 929243 h 2448416"/>
                <a:gd name="connsiteX0" fmla="*/ 0 w 3576579"/>
                <a:gd name="connsiteY0" fmla="*/ 929243 h 2448416"/>
                <a:gd name="connsiteX1" fmla="*/ 2100233 w 3576579"/>
                <a:gd name="connsiteY1" fmla="*/ 0 h 2448416"/>
                <a:gd name="connsiteX2" fmla="*/ 3576579 w 3576579"/>
                <a:gd name="connsiteY2" fmla="*/ 919718 h 2448416"/>
                <a:gd name="connsiteX3" fmla="*/ 3497470 w 3576579"/>
                <a:gd name="connsiteY3" fmla="*/ 998909 h 2448416"/>
                <a:gd name="connsiteX4" fmla="*/ 2390211 w 3576579"/>
                <a:gd name="connsiteY4" fmla="*/ 2448416 h 2448416"/>
                <a:gd name="connsiteX5" fmla="*/ 183609 w 3576579"/>
                <a:gd name="connsiteY5" fmla="*/ 2445765 h 2448416"/>
                <a:gd name="connsiteX6" fmla="*/ 0 w 3576579"/>
                <a:gd name="connsiteY6" fmla="*/ 929243 h 2448416"/>
                <a:gd name="connsiteX0" fmla="*/ 0 w 3576579"/>
                <a:gd name="connsiteY0" fmla="*/ 929243 h 2448416"/>
                <a:gd name="connsiteX1" fmla="*/ 2100233 w 3576579"/>
                <a:gd name="connsiteY1" fmla="*/ 0 h 2448416"/>
                <a:gd name="connsiteX2" fmla="*/ 2176369 w 3576579"/>
                <a:gd name="connsiteY2" fmla="*/ 33707 h 2448416"/>
                <a:gd name="connsiteX3" fmla="*/ 3576579 w 3576579"/>
                <a:gd name="connsiteY3" fmla="*/ 919718 h 2448416"/>
                <a:gd name="connsiteX4" fmla="*/ 3497470 w 3576579"/>
                <a:gd name="connsiteY4" fmla="*/ 998909 h 2448416"/>
                <a:gd name="connsiteX5" fmla="*/ 2390211 w 3576579"/>
                <a:gd name="connsiteY5" fmla="*/ 2448416 h 2448416"/>
                <a:gd name="connsiteX6" fmla="*/ 183609 w 3576579"/>
                <a:gd name="connsiteY6" fmla="*/ 2445765 h 2448416"/>
                <a:gd name="connsiteX7" fmla="*/ 0 w 3576579"/>
                <a:gd name="connsiteY7" fmla="*/ 929243 h 2448416"/>
                <a:gd name="connsiteX0" fmla="*/ 0 w 3576579"/>
                <a:gd name="connsiteY0" fmla="*/ 929243 h 2448416"/>
                <a:gd name="connsiteX1" fmla="*/ 2035962 w 3576579"/>
                <a:gd name="connsiteY1" fmla="*/ 27229 h 2448416"/>
                <a:gd name="connsiteX2" fmla="*/ 2100233 w 3576579"/>
                <a:gd name="connsiteY2" fmla="*/ 0 h 2448416"/>
                <a:gd name="connsiteX3" fmla="*/ 2176369 w 3576579"/>
                <a:gd name="connsiteY3" fmla="*/ 33707 h 2448416"/>
                <a:gd name="connsiteX4" fmla="*/ 3576579 w 3576579"/>
                <a:gd name="connsiteY4" fmla="*/ 919718 h 2448416"/>
                <a:gd name="connsiteX5" fmla="*/ 3497470 w 3576579"/>
                <a:gd name="connsiteY5" fmla="*/ 998909 h 2448416"/>
                <a:gd name="connsiteX6" fmla="*/ 2390211 w 3576579"/>
                <a:gd name="connsiteY6" fmla="*/ 2448416 h 2448416"/>
                <a:gd name="connsiteX7" fmla="*/ 183609 w 3576579"/>
                <a:gd name="connsiteY7" fmla="*/ 2445765 h 2448416"/>
                <a:gd name="connsiteX8" fmla="*/ 0 w 3576579"/>
                <a:gd name="connsiteY8" fmla="*/ 929243 h 2448416"/>
                <a:gd name="connsiteX0" fmla="*/ 0 w 3576579"/>
                <a:gd name="connsiteY0" fmla="*/ 929243 h 2448416"/>
                <a:gd name="connsiteX1" fmla="*/ 2035962 w 3576579"/>
                <a:gd name="connsiteY1" fmla="*/ 27229 h 2448416"/>
                <a:gd name="connsiteX2" fmla="*/ 2100233 w 3576579"/>
                <a:gd name="connsiteY2" fmla="*/ 0 h 2448416"/>
                <a:gd name="connsiteX3" fmla="*/ 2176369 w 3576579"/>
                <a:gd name="connsiteY3" fmla="*/ 33707 h 2448416"/>
                <a:gd name="connsiteX4" fmla="*/ 3576579 w 3576579"/>
                <a:gd name="connsiteY4" fmla="*/ 919718 h 2448416"/>
                <a:gd name="connsiteX5" fmla="*/ 3497470 w 3576579"/>
                <a:gd name="connsiteY5" fmla="*/ 998909 h 2448416"/>
                <a:gd name="connsiteX6" fmla="*/ 2390211 w 3576579"/>
                <a:gd name="connsiteY6" fmla="*/ 2448416 h 2448416"/>
                <a:gd name="connsiteX7" fmla="*/ 183609 w 3576579"/>
                <a:gd name="connsiteY7" fmla="*/ 2445765 h 2448416"/>
                <a:gd name="connsiteX8" fmla="*/ 6444 w 3576579"/>
                <a:gd name="connsiteY8" fmla="*/ 1005386 h 2448416"/>
                <a:gd name="connsiteX9" fmla="*/ 0 w 3576579"/>
                <a:gd name="connsiteY9" fmla="*/ 929243 h 2448416"/>
                <a:gd name="connsiteX0" fmla="*/ 0 w 3576579"/>
                <a:gd name="connsiteY0" fmla="*/ 929243 h 2448416"/>
                <a:gd name="connsiteX1" fmla="*/ 70265 w 3576579"/>
                <a:gd name="connsiteY1" fmla="*/ 888785 h 2448416"/>
                <a:gd name="connsiteX2" fmla="*/ 2035962 w 3576579"/>
                <a:gd name="connsiteY2" fmla="*/ 27229 h 2448416"/>
                <a:gd name="connsiteX3" fmla="*/ 2100233 w 3576579"/>
                <a:gd name="connsiteY3" fmla="*/ 0 h 2448416"/>
                <a:gd name="connsiteX4" fmla="*/ 2176369 w 3576579"/>
                <a:gd name="connsiteY4" fmla="*/ 33707 h 2448416"/>
                <a:gd name="connsiteX5" fmla="*/ 3576579 w 3576579"/>
                <a:gd name="connsiteY5" fmla="*/ 919718 h 2448416"/>
                <a:gd name="connsiteX6" fmla="*/ 3497470 w 3576579"/>
                <a:gd name="connsiteY6" fmla="*/ 998909 h 2448416"/>
                <a:gd name="connsiteX7" fmla="*/ 2390211 w 3576579"/>
                <a:gd name="connsiteY7" fmla="*/ 2448416 h 2448416"/>
                <a:gd name="connsiteX8" fmla="*/ 183609 w 3576579"/>
                <a:gd name="connsiteY8" fmla="*/ 2445765 h 2448416"/>
                <a:gd name="connsiteX9" fmla="*/ 6444 w 3576579"/>
                <a:gd name="connsiteY9" fmla="*/ 1005386 h 2448416"/>
                <a:gd name="connsiteX10" fmla="*/ 0 w 3576579"/>
                <a:gd name="connsiteY10" fmla="*/ 929243 h 2448416"/>
                <a:gd name="connsiteX0" fmla="*/ 0 w 3576579"/>
                <a:gd name="connsiteY0" fmla="*/ 929243 h 2448416"/>
                <a:gd name="connsiteX1" fmla="*/ 70265 w 3576579"/>
                <a:gd name="connsiteY1" fmla="*/ 888785 h 2448416"/>
                <a:gd name="connsiteX2" fmla="*/ 2035962 w 3576579"/>
                <a:gd name="connsiteY2" fmla="*/ 27229 h 2448416"/>
                <a:gd name="connsiteX3" fmla="*/ 2100233 w 3576579"/>
                <a:gd name="connsiteY3" fmla="*/ 0 h 2448416"/>
                <a:gd name="connsiteX4" fmla="*/ 2176369 w 3576579"/>
                <a:gd name="connsiteY4" fmla="*/ 33707 h 2448416"/>
                <a:gd name="connsiteX5" fmla="*/ 3576579 w 3576579"/>
                <a:gd name="connsiteY5" fmla="*/ 919718 h 2448416"/>
                <a:gd name="connsiteX6" fmla="*/ 3497470 w 3576579"/>
                <a:gd name="connsiteY6" fmla="*/ 998909 h 2448416"/>
                <a:gd name="connsiteX7" fmla="*/ 2390211 w 3576579"/>
                <a:gd name="connsiteY7" fmla="*/ 2448416 h 2448416"/>
                <a:gd name="connsiteX8" fmla="*/ 255347 w 3576579"/>
                <a:gd name="connsiteY8" fmla="*/ 2436994 h 2448416"/>
                <a:gd name="connsiteX9" fmla="*/ 183609 w 3576579"/>
                <a:gd name="connsiteY9" fmla="*/ 2445765 h 2448416"/>
                <a:gd name="connsiteX10" fmla="*/ 6444 w 3576579"/>
                <a:gd name="connsiteY10" fmla="*/ 1005386 h 2448416"/>
                <a:gd name="connsiteX11" fmla="*/ 0 w 3576579"/>
                <a:gd name="connsiteY11" fmla="*/ 929243 h 2448416"/>
                <a:gd name="connsiteX0" fmla="*/ 0 w 3576579"/>
                <a:gd name="connsiteY0" fmla="*/ 929243 h 2448416"/>
                <a:gd name="connsiteX1" fmla="*/ 70265 w 3576579"/>
                <a:gd name="connsiteY1" fmla="*/ 888785 h 2448416"/>
                <a:gd name="connsiteX2" fmla="*/ 2035962 w 3576579"/>
                <a:gd name="connsiteY2" fmla="*/ 27229 h 2448416"/>
                <a:gd name="connsiteX3" fmla="*/ 2100233 w 3576579"/>
                <a:gd name="connsiteY3" fmla="*/ 0 h 2448416"/>
                <a:gd name="connsiteX4" fmla="*/ 2176369 w 3576579"/>
                <a:gd name="connsiteY4" fmla="*/ 33707 h 2448416"/>
                <a:gd name="connsiteX5" fmla="*/ 3576579 w 3576579"/>
                <a:gd name="connsiteY5" fmla="*/ 919718 h 2448416"/>
                <a:gd name="connsiteX6" fmla="*/ 3497470 w 3576579"/>
                <a:gd name="connsiteY6" fmla="*/ 998909 h 2448416"/>
                <a:gd name="connsiteX7" fmla="*/ 2390211 w 3576579"/>
                <a:gd name="connsiteY7" fmla="*/ 2448416 h 2448416"/>
                <a:gd name="connsiteX8" fmla="*/ 255347 w 3576579"/>
                <a:gd name="connsiteY8" fmla="*/ 2436994 h 2448416"/>
                <a:gd name="connsiteX9" fmla="*/ 183609 w 3576579"/>
                <a:gd name="connsiteY9" fmla="*/ 2445765 h 2448416"/>
                <a:gd name="connsiteX10" fmla="*/ 159615 w 3576579"/>
                <a:gd name="connsiteY10" fmla="*/ 2346303 h 2448416"/>
                <a:gd name="connsiteX11" fmla="*/ 6444 w 3576579"/>
                <a:gd name="connsiteY11" fmla="*/ 1005386 h 2448416"/>
                <a:gd name="connsiteX12" fmla="*/ 0 w 3576579"/>
                <a:gd name="connsiteY12" fmla="*/ 929243 h 2448416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390211 w 3576579"/>
                <a:gd name="connsiteY7" fmla="*/ 2448416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83609 w 3576579"/>
                <a:gd name="connsiteY10" fmla="*/ 2445765 h 2449950"/>
                <a:gd name="connsiteX11" fmla="*/ 159615 w 3576579"/>
                <a:gd name="connsiteY11" fmla="*/ 2346303 h 2449950"/>
                <a:gd name="connsiteX12" fmla="*/ 6444 w 3576579"/>
                <a:gd name="connsiteY12" fmla="*/ 1005386 h 2449950"/>
                <a:gd name="connsiteX13" fmla="*/ 0 w 3576579"/>
                <a:gd name="connsiteY13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390211 w 3576579"/>
                <a:gd name="connsiteY8" fmla="*/ 2448416 h 2449950"/>
                <a:gd name="connsiteX9" fmla="*/ 2291247 w 3576579"/>
                <a:gd name="connsiteY9" fmla="*/ 2449950 h 2449950"/>
                <a:gd name="connsiteX10" fmla="*/ 255347 w 3576579"/>
                <a:gd name="connsiteY10" fmla="*/ 2436994 h 2449950"/>
                <a:gd name="connsiteX11" fmla="*/ 183609 w 3576579"/>
                <a:gd name="connsiteY11" fmla="*/ 2445765 h 2449950"/>
                <a:gd name="connsiteX12" fmla="*/ 159615 w 3576579"/>
                <a:gd name="connsiteY12" fmla="*/ 2346303 h 2449950"/>
                <a:gd name="connsiteX13" fmla="*/ 6444 w 3576579"/>
                <a:gd name="connsiteY13" fmla="*/ 1005386 h 2449950"/>
                <a:gd name="connsiteX14" fmla="*/ 0 w 3576579"/>
                <a:gd name="connsiteY14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83609 w 3576579"/>
                <a:gd name="connsiteY10" fmla="*/ 2445765 h 2449950"/>
                <a:gd name="connsiteX11" fmla="*/ 159615 w 3576579"/>
                <a:gd name="connsiteY11" fmla="*/ 2346303 h 2449950"/>
                <a:gd name="connsiteX12" fmla="*/ 6444 w 3576579"/>
                <a:gd name="connsiteY12" fmla="*/ 1005386 h 2449950"/>
                <a:gd name="connsiteX13" fmla="*/ 0 w 3576579"/>
                <a:gd name="connsiteY13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83609 w 3576579"/>
                <a:gd name="connsiteY10" fmla="*/ 2445765 h 2449950"/>
                <a:gd name="connsiteX11" fmla="*/ 159615 w 3576579"/>
                <a:gd name="connsiteY11" fmla="*/ 2346303 h 2449950"/>
                <a:gd name="connsiteX12" fmla="*/ 6444 w 3576579"/>
                <a:gd name="connsiteY12" fmla="*/ 1005386 h 2449950"/>
                <a:gd name="connsiteX13" fmla="*/ 0 w 3576579"/>
                <a:gd name="connsiteY13" fmla="*/ 929243 h 2449950"/>
                <a:gd name="connsiteX0" fmla="*/ 0 w 3576579"/>
                <a:gd name="connsiteY0" fmla="*/ 929243 h 2456697"/>
                <a:gd name="connsiteX1" fmla="*/ 70265 w 3576579"/>
                <a:gd name="connsiteY1" fmla="*/ 888785 h 2456697"/>
                <a:gd name="connsiteX2" fmla="*/ 2035962 w 3576579"/>
                <a:gd name="connsiteY2" fmla="*/ 27229 h 2456697"/>
                <a:gd name="connsiteX3" fmla="*/ 2100233 w 3576579"/>
                <a:gd name="connsiteY3" fmla="*/ 0 h 2456697"/>
                <a:gd name="connsiteX4" fmla="*/ 2176369 w 3576579"/>
                <a:gd name="connsiteY4" fmla="*/ 33707 h 2456697"/>
                <a:gd name="connsiteX5" fmla="*/ 3576579 w 3576579"/>
                <a:gd name="connsiteY5" fmla="*/ 919718 h 2456697"/>
                <a:gd name="connsiteX6" fmla="*/ 3497470 w 3576579"/>
                <a:gd name="connsiteY6" fmla="*/ 998909 h 2456697"/>
                <a:gd name="connsiteX7" fmla="*/ 2450801 w 3576579"/>
                <a:gd name="connsiteY7" fmla="*/ 2359259 h 2456697"/>
                <a:gd name="connsiteX8" fmla="*/ 2291247 w 3576579"/>
                <a:gd name="connsiteY8" fmla="*/ 2449950 h 2456697"/>
                <a:gd name="connsiteX9" fmla="*/ 255347 w 3576579"/>
                <a:gd name="connsiteY9" fmla="*/ 2436994 h 2456697"/>
                <a:gd name="connsiteX10" fmla="*/ 183609 w 3576579"/>
                <a:gd name="connsiteY10" fmla="*/ 2445765 h 2456697"/>
                <a:gd name="connsiteX11" fmla="*/ 159615 w 3576579"/>
                <a:gd name="connsiteY11" fmla="*/ 2346303 h 2456697"/>
                <a:gd name="connsiteX12" fmla="*/ 6444 w 3576579"/>
                <a:gd name="connsiteY12" fmla="*/ 1005386 h 2456697"/>
                <a:gd name="connsiteX13" fmla="*/ 0 w 3576579"/>
                <a:gd name="connsiteY13" fmla="*/ 929243 h 2456697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83609 w 3576579"/>
                <a:gd name="connsiteY10" fmla="*/ 2445765 h 2449950"/>
                <a:gd name="connsiteX11" fmla="*/ 159615 w 3576579"/>
                <a:gd name="connsiteY11" fmla="*/ 2346303 h 2449950"/>
                <a:gd name="connsiteX12" fmla="*/ 6444 w 3576579"/>
                <a:gd name="connsiteY12" fmla="*/ 1005386 h 2449950"/>
                <a:gd name="connsiteX13" fmla="*/ 0 w 3576579"/>
                <a:gd name="connsiteY13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59615 w 3576579"/>
                <a:gd name="connsiteY10" fmla="*/ 2346303 h 2449950"/>
                <a:gd name="connsiteX11" fmla="*/ 6444 w 3576579"/>
                <a:gd name="connsiteY11" fmla="*/ 1005386 h 2449950"/>
                <a:gd name="connsiteX12" fmla="*/ 0 w 3576579"/>
                <a:gd name="connsiteY12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59615 w 3576579"/>
                <a:gd name="connsiteY10" fmla="*/ 2346303 h 2449950"/>
                <a:gd name="connsiteX11" fmla="*/ 6444 w 3576579"/>
                <a:gd name="connsiteY11" fmla="*/ 1005386 h 2449950"/>
                <a:gd name="connsiteX12" fmla="*/ 0 w 3576579"/>
                <a:gd name="connsiteY12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59615 w 3576579"/>
                <a:gd name="connsiteY10" fmla="*/ 2346303 h 2449950"/>
                <a:gd name="connsiteX11" fmla="*/ 6444 w 3576579"/>
                <a:gd name="connsiteY11" fmla="*/ 1005386 h 2449950"/>
                <a:gd name="connsiteX12" fmla="*/ 0 w 3576579"/>
                <a:gd name="connsiteY12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59615 w 3576579"/>
                <a:gd name="connsiteY10" fmla="*/ 2346303 h 2449950"/>
                <a:gd name="connsiteX11" fmla="*/ 6444 w 3576579"/>
                <a:gd name="connsiteY11" fmla="*/ 1005386 h 2449950"/>
                <a:gd name="connsiteX12" fmla="*/ 0 w 3576579"/>
                <a:gd name="connsiteY12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300022 w 3576579"/>
                <a:gd name="connsiteY9" fmla="*/ 2436994 h 2449950"/>
                <a:gd name="connsiteX10" fmla="*/ 159615 w 3576579"/>
                <a:gd name="connsiteY10" fmla="*/ 2346303 h 2449950"/>
                <a:gd name="connsiteX11" fmla="*/ 6444 w 3576579"/>
                <a:gd name="connsiteY11" fmla="*/ 1005386 h 2449950"/>
                <a:gd name="connsiteX12" fmla="*/ 0 w 3576579"/>
                <a:gd name="connsiteY12" fmla="*/ 929243 h 2449950"/>
                <a:gd name="connsiteX0" fmla="*/ 0 w 3576579"/>
                <a:gd name="connsiteY0" fmla="*/ 929243 h 2443473"/>
                <a:gd name="connsiteX1" fmla="*/ 70265 w 3576579"/>
                <a:gd name="connsiteY1" fmla="*/ 888785 h 2443473"/>
                <a:gd name="connsiteX2" fmla="*/ 2035962 w 3576579"/>
                <a:gd name="connsiteY2" fmla="*/ 27229 h 2443473"/>
                <a:gd name="connsiteX3" fmla="*/ 2100233 w 3576579"/>
                <a:gd name="connsiteY3" fmla="*/ 0 h 2443473"/>
                <a:gd name="connsiteX4" fmla="*/ 2176369 w 3576579"/>
                <a:gd name="connsiteY4" fmla="*/ 33707 h 2443473"/>
                <a:gd name="connsiteX5" fmla="*/ 3576579 w 3576579"/>
                <a:gd name="connsiteY5" fmla="*/ 919718 h 2443473"/>
                <a:gd name="connsiteX6" fmla="*/ 3497470 w 3576579"/>
                <a:gd name="connsiteY6" fmla="*/ 998909 h 2443473"/>
                <a:gd name="connsiteX7" fmla="*/ 2450801 w 3576579"/>
                <a:gd name="connsiteY7" fmla="*/ 2359259 h 2443473"/>
                <a:gd name="connsiteX8" fmla="*/ 2252955 w 3576579"/>
                <a:gd name="connsiteY8" fmla="*/ 2443473 h 2443473"/>
                <a:gd name="connsiteX9" fmla="*/ 300022 w 3576579"/>
                <a:gd name="connsiteY9" fmla="*/ 2436994 h 2443473"/>
                <a:gd name="connsiteX10" fmla="*/ 159615 w 3576579"/>
                <a:gd name="connsiteY10" fmla="*/ 2346303 h 2443473"/>
                <a:gd name="connsiteX11" fmla="*/ 6444 w 3576579"/>
                <a:gd name="connsiteY11" fmla="*/ 1005386 h 2443473"/>
                <a:gd name="connsiteX12" fmla="*/ 0 w 3576579"/>
                <a:gd name="connsiteY12" fmla="*/ 929243 h 2443473"/>
                <a:gd name="connsiteX0" fmla="*/ 0 w 3576579"/>
                <a:gd name="connsiteY0" fmla="*/ 929243 h 2443473"/>
                <a:gd name="connsiteX1" fmla="*/ 70265 w 3576579"/>
                <a:gd name="connsiteY1" fmla="*/ 888785 h 2443473"/>
                <a:gd name="connsiteX2" fmla="*/ 2035962 w 3576579"/>
                <a:gd name="connsiteY2" fmla="*/ 27229 h 2443473"/>
                <a:gd name="connsiteX3" fmla="*/ 2100233 w 3576579"/>
                <a:gd name="connsiteY3" fmla="*/ 0 h 2443473"/>
                <a:gd name="connsiteX4" fmla="*/ 2176369 w 3576579"/>
                <a:gd name="connsiteY4" fmla="*/ 33707 h 2443473"/>
                <a:gd name="connsiteX5" fmla="*/ 3484706 w 3576579"/>
                <a:gd name="connsiteY5" fmla="*/ 836963 h 2443473"/>
                <a:gd name="connsiteX6" fmla="*/ 3576579 w 3576579"/>
                <a:gd name="connsiteY6" fmla="*/ 919718 h 2443473"/>
                <a:gd name="connsiteX7" fmla="*/ 3497470 w 3576579"/>
                <a:gd name="connsiteY7" fmla="*/ 998909 h 2443473"/>
                <a:gd name="connsiteX8" fmla="*/ 2450801 w 3576579"/>
                <a:gd name="connsiteY8" fmla="*/ 2359259 h 2443473"/>
                <a:gd name="connsiteX9" fmla="*/ 2252955 w 3576579"/>
                <a:gd name="connsiteY9" fmla="*/ 2443473 h 2443473"/>
                <a:gd name="connsiteX10" fmla="*/ 300022 w 3576579"/>
                <a:gd name="connsiteY10" fmla="*/ 2436994 h 2443473"/>
                <a:gd name="connsiteX11" fmla="*/ 159615 w 3576579"/>
                <a:gd name="connsiteY11" fmla="*/ 2346303 h 2443473"/>
                <a:gd name="connsiteX12" fmla="*/ 6444 w 3576579"/>
                <a:gd name="connsiteY12" fmla="*/ 1005386 h 2443473"/>
                <a:gd name="connsiteX13" fmla="*/ 0 w 3576579"/>
                <a:gd name="connsiteY13" fmla="*/ 929243 h 2443473"/>
                <a:gd name="connsiteX0" fmla="*/ 0 w 3497470"/>
                <a:gd name="connsiteY0" fmla="*/ 929243 h 2443473"/>
                <a:gd name="connsiteX1" fmla="*/ 70265 w 3497470"/>
                <a:gd name="connsiteY1" fmla="*/ 888785 h 2443473"/>
                <a:gd name="connsiteX2" fmla="*/ 2035962 w 3497470"/>
                <a:gd name="connsiteY2" fmla="*/ 27229 h 2443473"/>
                <a:gd name="connsiteX3" fmla="*/ 2100233 w 3497470"/>
                <a:gd name="connsiteY3" fmla="*/ 0 h 2443473"/>
                <a:gd name="connsiteX4" fmla="*/ 2176369 w 3497470"/>
                <a:gd name="connsiteY4" fmla="*/ 33707 h 2443473"/>
                <a:gd name="connsiteX5" fmla="*/ 3484706 w 3497470"/>
                <a:gd name="connsiteY5" fmla="*/ 836963 h 2443473"/>
                <a:gd name="connsiteX6" fmla="*/ 3497470 w 3497470"/>
                <a:gd name="connsiteY6" fmla="*/ 998909 h 2443473"/>
                <a:gd name="connsiteX7" fmla="*/ 2450801 w 3497470"/>
                <a:gd name="connsiteY7" fmla="*/ 2359259 h 2443473"/>
                <a:gd name="connsiteX8" fmla="*/ 2252955 w 3497470"/>
                <a:gd name="connsiteY8" fmla="*/ 2443473 h 2443473"/>
                <a:gd name="connsiteX9" fmla="*/ 300022 w 3497470"/>
                <a:gd name="connsiteY9" fmla="*/ 2436994 h 2443473"/>
                <a:gd name="connsiteX10" fmla="*/ 159615 w 3497470"/>
                <a:gd name="connsiteY10" fmla="*/ 2346303 h 2443473"/>
                <a:gd name="connsiteX11" fmla="*/ 6444 w 3497470"/>
                <a:gd name="connsiteY11" fmla="*/ 1005386 h 2443473"/>
                <a:gd name="connsiteX12" fmla="*/ 0 w 3497470"/>
                <a:gd name="connsiteY12" fmla="*/ 929243 h 2443473"/>
                <a:gd name="connsiteX0" fmla="*/ 0 w 3520362"/>
                <a:gd name="connsiteY0" fmla="*/ 929243 h 2443473"/>
                <a:gd name="connsiteX1" fmla="*/ 70265 w 3520362"/>
                <a:gd name="connsiteY1" fmla="*/ 888785 h 2443473"/>
                <a:gd name="connsiteX2" fmla="*/ 2035962 w 3520362"/>
                <a:gd name="connsiteY2" fmla="*/ 27229 h 2443473"/>
                <a:gd name="connsiteX3" fmla="*/ 2100233 w 3520362"/>
                <a:gd name="connsiteY3" fmla="*/ 0 h 2443473"/>
                <a:gd name="connsiteX4" fmla="*/ 2176369 w 3520362"/>
                <a:gd name="connsiteY4" fmla="*/ 33707 h 2443473"/>
                <a:gd name="connsiteX5" fmla="*/ 3484706 w 3520362"/>
                <a:gd name="connsiteY5" fmla="*/ 836963 h 2443473"/>
                <a:gd name="connsiteX6" fmla="*/ 3497470 w 3520362"/>
                <a:gd name="connsiteY6" fmla="*/ 998909 h 2443473"/>
                <a:gd name="connsiteX7" fmla="*/ 2450801 w 3520362"/>
                <a:gd name="connsiteY7" fmla="*/ 2359259 h 2443473"/>
                <a:gd name="connsiteX8" fmla="*/ 2252955 w 3520362"/>
                <a:gd name="connsiteY8" fmla="*/ 2443473 h 2443473"/>
                <a:gd name="connsiteX9" fmla="*/ 300022 w 3520362"/>
                <a:gd name="connsiteY9" fmla="*/ 2436994 h 2443473"/>
                <a:gd name="connsiteX10" fmla="*/ 159615 w 3520362"/>
                <a:gd name="connsiteY10" fmla="*/ 2346303 h 2443473"/>
                <a:gd name="connsiteX11" fmla="*/ 6444 w 3520362"/>
                <a:gd name="connsiteY11" fmla="*/ 1005386 h 2443473"/>
                <a:gd name="connsiteX12" fmla="*/ 0 w 3520362"/>
                <a:gd name="connsiteY12" fmla="*/ 929243 h 2443473"/>
                <a:gd name="connsiteX0" fmla="*/ 0 w 3531962"/>
                <a:gd name="connsiteY0" fmla="*/ 929243 h 2443473"/>
                <a:gd name="connsiteX1" fmla="*/ 70265 w 3531962"/>
                <a:gd name="connsiteY1" fmla="*/ 888785 h 2443473"/>
                <a:gd name="connsiteX2" fmla="*/ 2035962 w 3531962"/>
                <a:gd name="connsiteY2" fmla="*/ 27229 h 2443473"/>
                <a:gd name="connsiteX3" fmla="*/ 2100233 w 3531962"/>
                <a:gd name="connsiteY3" fmla="*/ 0 h 2443473"/>
                <a:gd name="connsiteX4" fmla="*/ 2176369 w 3531962"/>
                <a:gd name="connsiteY4" fmla="*/ 33707 h 2443473"/>
                <a:gd name="connsiteX5" fmla="*/ 3484706 w 3531962"/>
                <a:gd name="connsiteY5" fmla="*/ 836963 h 2443473"/>
                <a:gd name="connsiteX6" fmla="*/ 3497470 w 3531962"/>
                <a:gd name="connsiteY6" fmla="*/ 998909 h 2443473"/>
                <a:gd name="connsiteX7" fmla="*/ 2450801 w 3531962"/>
                <a:gd name="connsiteY7" fmla="*/ 2359259 h 2443473"/>
                <a:gd name="connsiteX8" fmla="*/ 2252955 w 3531962"/>
                <a:gd name="connsiteY8" fmla="*/ 2443473 h 2443473"/>
                <a:gd name="connsiteX9" fmla="*/ 300022 w 3531962"/>
                <a:gd name="connsiteY9" fmla="*/ 2436994 h 2443473"/>
                <a:gd name="connsiteX10" fmla="*/ 159615 w 3531962"/>
                <a:gd name="connsiteY10" fmla="*/ 2346303 h 2443473"/>
                <a:gd name="connsiteX11" fmla="*/ 6444 w 3531962"/>
                <a:gd name="connsiteY11" fmla="*/ 1005386 h 2443473"/>
                <a:gd name="connsiteX12" fmla="*/ 0 w 3531962"/>
                <a:gd name="connsiteY12" fmla="*/ 929243 h 2443473"/>
                <a:gd name="connsiteX0" fmla="*/ 0 w 3529781"/>
                <a:gd name="connsiteY0" fmla="*/ 929243 h 2443473"/>
                <a:gd name="connsiteX1" fmla="*/ 70265 w 3529781"/>
                <a:gd name="connsiteY1" fmla="*/ 888785 h 2443473"/>
                <a:gd name="connsiteX2" fmla="*/ 2035962 w 3529781"/>
                <a:gd name="connsiteY2" fmla="*/ 27229 h 2443473"/>
                <a:gd name="connsiteX3" fmla="*/ 2100233 w 3529781"/>
                <a:gd name="connsiteY3" fmla="*/ 0 h 2443473"/>
                <a:gd name="connsiteX4" fmla="*/ 2176369 w 3529781"/>
                <a:gd name="connsiteY4" fmla="*/ 33707 h 2443473"/>
                <a:gd name="connsiteX5" fmla="*/ 3484706 w 3529781"/>
                <a:gd name="connsiteY5" fmla="*/ 836963 h 2443473"/>
                <a:gd name="connsiteX6" fmla="*/ 3497470 w 3529781"/>
                <a:gd name="connsiteY6" fmla="*/ 998909 h 2443473"/>
                <a:gd name="connsiteX7" fmla="*/ 2450801 w 3529781"/>
                <a:gd name="connsiteY7" fmla="*/ 2359259 h 2443473"/>
                <a:gd name="connsiteX8" fmla="*/ 2252955 w 3529781"/>
                <a:gd name="connsiteY8" fmla="*/ 2443473 h 2443473"/>
                <a:gd name="connsiteX9" fmla="*/ 300022 w 3529781"/>
                <a:gd name="connsiteY9" fmla="*/ 2436994 h 2443473"/>
                <a:gd name="connsiteX10" fmla="*/ 159615 w 3529781"/>
                <a:gd name="connsiteY10" fmla="*/ 2346303 h 2443473"/>
                <a:gd name="connsiteX11" fmla="*/ 6444 w 3529781"/>
                <a:gd name="connsiteY11" fmla="*/ 1005386 h 2443473"/>
                <a:gd name="connsiteX12" fmla="*/ 0 w 3529781"/>
                <a:gd name="connsiteY12" fmla="*/ 929243 h 2443473"/>
                <a:gd name="connsiteX0" fmla="*/ 0 w 3529781"/>
                <a:gd name="connsiteY0" fmla="*/ 929243 h 2443473"/>
                <a:gd name="connsiteX1" fmla="*/ 70265 w 3529781"/>
                <a:gd name="connsiteY1" fmla="*/ 888785 h 2443473"/>
                <a:gd name="connsiteX2" fmla="*/ 2035962 w 3529781"/>
                <a:gd name="connsiteY2" fmla="*/ 27229 h 2443473"/>
                <a:gd name="connsiteX3" fmla="*/ 2100233 w 3529781"/>
                <a:gd name="connsiteY3" fmla="*/ 0 h 2443473"/>
                <a:gd name="connsiteX4" fmla="*/ 2176369 w 3529781"/>
                <a:gd name="connsiteY4" fmla="*/ 33707 h 2443473"/>
                <a:gd name="connsiteX5" fmla="*/ 3484706 w 3529781"/>
                <a:gd name="connsiteY5" fmla="*/ 836963 h 2443473"/>
                <a:gd name="connsiteX6" fmla="*/ 3497470 w 3529781"/>
                <a:gd name="connsiteY6" fmla="*/ 998909 h 2443473"/>
                <a:gd name="connsiteX7" fmla="*/ 2450801 w 3529781"/>
                <a:gd name="connsiteY7" fmla="*/ 2359259 h 2443473"/>
                <a:gd name="connsiteX8" fmla="*/ 2252955 w 3529781"/>
                <a:gd name="connsiteY8" fmla="*/ 2443473 h 2443473"/>
                <a:gd name="connsiteX9" fmla="*/ 300022 w 3529781"/>
                <a:gd name="connsiteY9" fmla="*/ 2436994 h 2443473"/>
                <a:gd name="connsiteX10" fmla="*/ 159615 w 3529781"/>
                <a:gd name="connsiteY10" fmla="*/ 2346303 h 2443473"/>
                <a:gd name="connsiteX11" fmla="*/ 6444 w 3529781"/>
                <a:gd name="connsiteY11" fmla="*/ 1005386 h 2443473"/>
                <a:gd name="connsiteX12" fmla="*/ 0 w 3529781"/>
                <a:gd name="connsiteY12" fmla="*/ 929243 h 2443473"/>
                <a:gd name="connsiteX0" fmla="*/ 0 w 3529781"/>
                <a:gd name="connsiteY0" fmla="*/ 902014 h 2416244"/>
                <a:gd name="connsiteX1" fmla="*/ 70265 w 3529781"/>
                <a:gd name="connsiteY1" fmla="*/ 861556 h 2416244"/>
                <a:gd name="connsiteX2" fmla="*/ 2035962 w 3529781"/>
                <a:gd name="connsiteY2" fmla="*/ 0 h 2416244"/>
                <a:gd name="connsiteX3" fmla="*/ 2176369 w 3529781"/>
                <a:gd name="connsiteY3" fmla="*/ 6478 h 2416244"/>
                <a:gd name="connsiteX4" fmla="*/ 3484706 w 3529781"/>
                <a:gd name="connsiteY4" fmla="*/ 809734 h 2416244"/>
                <a:gd name="connsiteX5" fmla="*/ 3497470 w 3529781"/>
                <a:gd name="connsiteY5" fmla="*/ 971680 h 2416244"/>
                <a:gd name="connsiteX6" fmla="*/ 2450801 w 3529781"/>
                <a:gd name="connsiteY6" fmla="*/ 2332030 h 2416244"/>
                <a:gd name="connsiteX7" fmla="*/ 2252955 w 3529781"/>
                <a:gd name="connsiteY7" fmla="*/ 2416244 h 2416244"/>
                <a:gd name="connsiteX8" fmla="*/ 300022 w 3529781"/>
                <a:gd name="connsiteY8" fmla="*/ 2409765 h 2416244"/>
                <a:gd name="connsiteX9" fmla="*/ 159615 w 3529781"/>
                <a:gd name="connsiteY9" fmla="*/ 2319074 h 2416244"/>
                <a:gd name="connsiteX10" fmla="*/ 6444 w 3529781"/>
                <a:gd name="connsiteY10" fmla="*/ 978157 h 2416244"/>
                <a:gd name="connsiteX11" fmla="*/ 0 w 3529781"/>
                <a:gd name="connsiteY11" fmla="*/ 902014 h 2416244"/>
                <a:gd name="connsiteX0" fmla="*/ 0 w 3529781"/>
                <a:gd name="connsiteY0" fmla="*/ 912202 h 2426432"/>
                <a:gd name="connsiteX1" fmla="*/ 70265 w 3529781"/>
                <a:gd name="connsiteY1" fmla="*/ 871744 h 2426432"/>
                <a:gd name="connsiteX2" fmla="*/ 2035962 w 3529781"/>
                <a:gd name="connsiteY2" fmla="*/ 10188 h 2426432"/>
                <a:gd name="connsiteX3" fmla="*/ 2176369 w 3529781"/>
                <a:gd name="connsiteY3" fmla="*/ 16666 h 2426432"/>
                <a:gd name="connsiteX4" fmla="*/ 3484706 w 3529781"/>
                <a:gd name="connsiteY4" fmla="*/ 819922 h 2426432"/>
                <a:gd name="connsiteX5" fmla="*/ 3497470 w 3529781"/>
                <a:gd name="connsiteY5" fmla="*/ 981868 h 2426432"/>
                <a:gd name="connsiteX6" fmla="*/ 2450801 w 3529781"/>
                <a:gd name="connsiteY6" fmla="*/ 2342218 h 2426432"/>
                <a:gd name="connsiteX7" fmla="*/ 2252955 w 3529781"/>
                <a:gd name="connsiteY7" fmla="*/ 2426432 h 2426432"/>
                <a:gd name="connsiteX8" fmla="*/ 300022 w 3529781"/>
                <a:gd name="connsiteY8" fmla="*/ 2419953 h 2426432"/>
                <a:gd name="connsiteX9" fmla="*/ 159615 w 3529781"/>
                <a:gd name="connsiteY9" fmla="*/ 2329262 h 2426432"/>
                <a:gd name="connsiteX10" fmla="*/ 6444 w 3529781"/>
                <a:gd name="connsiteY10" fmla="*/ 988345 h 2426432"/>
                <a:gd name="connsiteX11" fmla="*/ 0 w 3529781"/>
                <a:gd name="connsiteY11" fmla="*/ 912202 h 2426432"/>
                <a:gd name="connsiteX0" fmla="*/ 0 w 3529781"/>
                <a:gd name="connsiteY0" fmla="*/ 920646 h 2434876"/>
                <a:gd name="connsiteX1" fmla="*/ 70265 w 3529781"/>
                <a:gd name="connsiteY1" fmla="*/ 880188 h 2434876"/>
                <a:gd name="connsiteX2" fmla="*/ 2035962 w 3529781"/>
                <a:gd name="connsiteY2" fmla="*/ 18632 h 2434876"/>
                <a:gd name="connsiteX3" fmla="*/ 2176369 w 3529781"/>
                <a:gd name="connsiteY3" fmla="*/ 25110 h 2434876"/>
                <a:gd name="connsiteX4" fmla="*/ 3484706 w 3529781"/>
                <a:gd name="connsiteY4" fmla="*/ 828366 h 2434876"/>
                <a:gd name="connsiteX5" fmla="*/ 3497470 w 3529781"/>
                <a:gd name="connsiteY5" fmla="*/ 990312 h 2434876"/>
                <a:gd name="connsiteX6" fmla="*/ 2450801 w 3529781"/>
                <a:gd name="connsiteY6" fmla="*/ 2350662 h 2434876"/>
                <a:gd name="connsiteX7" fmla="*/ 2252955 w 3529781"/>
                <a:gd name="connsiteY7" fmla="*/ 2434876 h 2434876"/>
                <a:gd name="connsiteX8" fmla="*/ 300022 w 3529781"/>
                <a:gd name="connsiteY8" fmla="*/ 2428397 h 2434876"/>
                <a:gd name="connsiteX9" fmla="*/ 159615 w 3529781"/>
                <a:gd name="connsiteY9" fmla="*/ 2337706 h 2434876"/>
                <a:gd name="connsiteX10" fmla="*/ 6444 w 3529781"/>
                <a:gd name="connsiteY10" fmla="*/ 996789 h 2434876"/>
                <a:gd name="connsiteX11" fmla="*/ 0 w 3529781"/>
                <a:gd name="connsiteY11" fmla="*/ 920646 h 2434876"/>
                <a:gd name="connsiteX0" fmla="*/ 0 w 3529781"/>
                <a:gd name="connsiteY0" fmla="*/ 912903 h 2427133"/>
                <a:gd name="connsiteX1" fmla="*/ 70265 w 3529781"/>
                <a:gd name="connsiteY1" fmla="*/ 872445 h 2427133"/>
                <a:gd name="connsiteX2" fmla="*/ 2010433 w 3529781"/>
                <a:gd name="connsiteY2" fmla="*/ 30323 h 2427133"/>
                <a:gd name="connsiteX3" fmla="*/ 2176369 w 3529781"/>
                <a:gd name="connsiteY3" fmla="*/ 17367 h 2427133"/>
                <a:gd name="connsiteX4" fmla="*/ 3484706 w 3529781"/>
                <a:gd name="connsiteY4" fmla="*/ 820623 h 2427133"/>
                <a:gd name="connsiteX5" fmla="*/ 3497470 w 3529781"/>
                <a:gd name="connsiteY5" fmla="*/ 982569 h 2427133"/>
                <a:gd name="connsiteX6" fmla="*/ 2450801 w 3529781"/>
                <a:gd name="connsiteY6" fmla="*/ 2342919 h 2427133"/>
                <a:gd name="connsiteX7" fmla="*/ 2252955 w 3529781"/>
                <a:gd name="connsiteY7" fmla="*/ 2427133 h 2427133"/>
                <a:gd name="connsiteX8" fmla="*/ 300022 w 3529781"/>
                <a:gd name="connsiteY8" fmla="*/ 2420654 h 2427133"/>
                <a:gd name="connsiteX9" fmla="*/ 159615 w 3529781"/>
                <a:gd name="connsiteY9" fmla="*/ 2329963 h 2427133"/>
                <a:gd name="connsiteX10" fmla="*/ 6444 w 3529781"/>
                <a:gd name="connsiteY10" fmla="*/ 989046 h 2427133"/>
                <a:gd name="connsiteX11" fmla="*/ 0 w 3529781"/>
                <a:gd name="connsiteY11" fmla="*/ 912903 h 2427133"/>
                <a:gd name="connsiteX0" fmla="*/ 0 w 3523337"/>
                <a:gd name="connsiteY0" fmla="*/ 989046 h 2427133"/>
                <a:gd name="connsiteX1" fmla="*/ 63821 w 3523337"/>
                <a:gd name="connsiteY1" fmla="*/ 872445 h 2427133"/>
                <a:gd name="connsiteX2" fmla="*/ 2003989 w 3523337"/>
                <a:gd name="connsiteY2" fmla="*/ 30323 h 2427133"/>
                <a:gd name="connsiteX3" fmla="*/ 2169925 w 3523337"/>
                <a:gd name="connsiteY3" fmla="*/ 17367 h 2427133"/>
                <a:gd name="connsiteX4" fmla="*/ 3478262 w 3523337"/>
                <a:gd name="connsiteY4" fmla="*/ 820623 h 2427133"/>
                <a:gd name="connsiteX5" fmla="*/ 3491026 w 3523337"/>
                <a:gd name="connsiteY5" fmla="*/ 982569 h 2427133"/>
                <a:gd name="connsiteX6" fmla="*/ 2444357 w 3523337"/>
                <a:gd name="connsiteY6" fmla="*/ 2342919 h 2427133"/>
                <a:gd name="connsiteX7" fmla="*/ 2246511 w 3523337"/>
                <a:gd name="connsiteY7" fmla="*/ 2427133 h 2427133"/>
                <a:gd name="connsiteX8" fmla="*/ 293578 w 3523337"/>
                <a:gd name="connsiteY8" fmla="*/ 2420654 h 2427133"/>
                <a:gd name="connsiteX9" fmla="*/ 153171 w 3523337"/>
                <a:gd name="connsiteY9" fmla="*/ 2329963 h 2427133"/>
                <a:gd name="connsiteX10" fmla="*/ 0 w 3523337"/>
                <a:gd name="connsiteY10" fmla="*/ 989046 h 2427133"/>
                <a:gd name="connsiteX0" fmla="*/ 0 w 3523337"/>
                <a:gd name="connsiteY0" fmla="*/ 989046 h 2427133"/>
                <a:gd name="connsiteX1" fmla="*/ 63821 w 3523337"/>
                <a:gd name="connsiteY1" fmla="*/ 872445 h 2427133"/>
                <a:gd name="connsiteX2" fmla="*/ 2003989 w 3523337"/>
                <a:gd name="connsiteY2" fmla="*/ 30323 h 2427133"/>
                <a:gd name="connsiteX3" fmla="*/ 2169925 w 3523337"/>
                <a:gd name="connsiteY3" fmla="*/ 17367 h 2427133"/>
                <a:gd name="connsiteX4" fmla="*/ 3478262 w 3523337"/>
                <a:gd name="connsiteY4" fmla="*/ 820623 h 2427133"/>
                <a:gd name="connsiteX5" fmla="*/ 3491026 w 3523337"/>
                <a:gd name="connsiteY5" fmla="*/ 982569 h 2427133"/>
                <a:gd name="connsiteX6" fmla="*/ 2444357 w 3523337"/>
                <a:gd name="connsiteY6" fmla="*/ 2342919 h 2427133"/>
                <a:gd name="connsiteX7" fmla="*/ 2246511 w 3523337"/>
                <a:gd name="connsiteY7" fmla="*/ 2427133 h 2427133"/>
                <a:gd name="connsiteX8" fmla="*/ 293578 w 3523337"/>
                <a:gd name="connsiteY8" fmla="*/ 2420654 h 2427133"/>
                <a:gd name="connsiteX9" fmla="*/ 153171 w 3523337"/>
                <a:gd name="connsiteY9" fmla="*/ 2329963 h 2427133"/>
                <a:gd name="connsiteX10" fmla="*/ 0 w 3523337"/>
                <a:gd name="connsiteY10" fmla="*/ 989046 h 2427133"/>
                <a:gd name="connsiteX0" fmla="*/ 8599 w 3531936"/>
                <a:gd name="connsiteY0" fmla="*/ 989046 h 2427133"/>
                <a:gd name="connsiteX1" fmla="*/ 72420 w 3531936"/>
                <a:gd name="connsiteY1" fmla="*/ 872445 h 2427133"/>
                <a:gd name="connsiteX2" fmla="*/ 2012588 w 3531936"/>
                <a:gd name="connsiteY2" fmla="*/ 30323 h 2427133"/>
                <a:gd name="connsiteX3" fmla="*/ 2178524 w 3531936"/>
                <a:gd name="connsiteY3" fmla="*/ 17367 h 2427133"/>
                <a:gd name="connsiteX4" fmla="*/ 3486861 w 3531936"/>
                <a:gd name="connsiteY4" fmla="*/ 820623 h 2427133"/>
                <a:gd name="connsiteX5" fmla="*/ 3499625 w 3531936"/>
                <a:gd name="connsiteY5" fmla="*/ 982569 h 2427133"/>
                <a:gd name="connsiteX6" fmla="*/ 2452956 w 3531936"/>
                <a:gd name="connsiteY6" fmla="*/ 2342919 h 2427133"/>
                <a:gd name="connsiteX7" fmla="*/ 2255110 w 3531936"/>
                <a:gd name="connsiteY7" fmla="*/ 2427133 h 2427133"/>
                <a:gd name="connsiteX8" fmla="*/ 302177 w 3531936"/>
                <a:gd name="connsiteY8" fmla="*/ 2420654 h 2427133"/>
                <a:gd name="connsiteX9" fmla="*/ 161770 w 3531936"/>
                <a:gd name="connsiteY9" fmla="*/ 2329963 h 2427133"/>
                <a:gd name="connsiteX10" fmla="*/ 8599 w 3531936"/>
                <a:gd name="connsiteY10" fmla="*/ 989046 h 2427133"/>
                <a:gd name="connsiteX0" fmla="*/ 0 w 3523337"/>
                <a:gd name="connsiteY0" fmla="*/ 989046 h 2427133"/>
                <a:gd name="connsiteX1" fmla="*/ 63821 w 3523337"/>
                <a:gd name="connsiteY1" fmla="*/ 872445 h 2427133"/>
                <a:gd name="connsiteX2" fmla="*/ 2003989 w 3523337"/>
                <a:gd name="connsiteY2" fmla="*/ 30323 h 2427133"/>
                <a:gd name="connsiteX3" fmla="*/ 2169925 w 3523337"/>
                <a:gd name="connsiteY3" fmla="*/ 17367 h 2427133"/>
                <a:gd name="connsiteX4" fmla="*/ 3478262 w 3523337"/>
                <a:gd name="connsiteY4" fmla="*/ 820623 h 2427133"/>
                <a:gd name="connsiteX5" fmla="*/ 3491026 w 3523337"/>
                <a:gd name="connsiteY5" fmla="*/ 982569 h 2427133"/>
                <a:gd name="connsiteX6" fmla="*/ 2444357 w 3523337"/>
                <a:gd name="connsiteY6" fmla="*/ 2342919 h 2427133"/>
                <a:gd name="connsiteX7" fmla="*/ 2246511 w 3523337"/>
                <a:gd name="connsiteY7" fmla="*/ 2427133 h 2427133"/>
                <a:gd name="connsiteX8" fmla="*/ 293578 w 3523337"/>
                <a:gd name="connsiteY8" fmla="*/ 2420654 h 2427133"/>
                <a:gd name="connsiteX9" fmla="*/ 153171 w 3523337"/>
                <a:gd name="connsiteY9" fmla="*/ 2329963 h 2427133"/>
                <a:gd name="connsiteX10" fmla="*/ 0 w 3523337"/>
                <a:gd name="connsiteY10" fmla="*/ 989046 h 2427133"/>
                <a:gd name="connsiteX0" fmla="*/ 0 w 3523337"/>
                <a:gd name="connsiteY0" fmla="*/ 1027913 h 2427133"/>
                <a:gd name="connsiteX1" fmla="*/ 63821 w 3523337"/>
                <a:gd name="connsiteY1" fmla="*/ 872445 h 2427133"/>
                <a:gd name="connsiteX2" fmla="*/ 2003989 w 3523337"/>
                <a:gd name="connsiteY2" fmla="*/ 30323 h 2427133"/>
                <a:gd name="connsiteX3" fmla="*/ 2169925 w 3523337"/>
                <a:gd name="connsiteY3" fmla="*/ 17367 h 2427133"/>
                <a:gd name="connsiteX4" fmla="*/ 3478262 w 3523337"/>
                <a:gd name="connsiteY4" fmla="*/ 820623 h 2427133"/>
                <a:gd name="connsiteX5" fmla="*/ 3491026 w 3523337"/>
                <a:gd name="connsiteY5" fmla="*/ 982569 h 2427133"/>
                <a:gd name="connsiteX6" fmla="*/ 2444357 w 3523337"/>
                <a:gd name="connsiteY6" fmla="*/ 2342919 h 2427133"/>
                <a:gd name="connsiteX7" fmla="*/ 2246511 w 3523337"/>
                <a:gd name="connsiteY7" fmla="*/ 2427133 h 2427133"/>
                <a:gd name="connsiteX8" fmla="*/ 293578 w 3523337"/>
                <a:gd name="connsiteY8" fmla="*/ 2420654 h 2427133"/>
                <a:gd name="connsiteX9" fmla="*/ 153171 w 3523337"/>
                <a:gd name="connsiteY9" fmla="*/ 2329963 h 2427133"/>
                <a:gd name="connsiteX10" fmla="*/ 0 w 3523337"/>
                <a:gd name="connsiteY10" fmla="*/ 1027913 h 2427133"/>
                <a:gd name="connsiteX0" fmla="*/ 5782 w 3529119"/>
                <a:gd name="connsiteY0" fmla="*/ 1027913 h 2427133"/>
                <a:gd name="connsiteX1" fmla="*/ 69603 w 3529119"/>
                <a:gd name="connsiteY1" fmla="*/ 872445 h 2427133"/>
                <a:gd name="connsiteX2" fmla="*/ 2009771 w 3529119"/>
                <a:gd name="connsiteY2" fmla="*/ 30323 h 2427133"/>
                <a:gd name="connsiteX3" fmla="*/ 2175707 w 3529119"/>
                <a:gd name="connsiteY3" fmla="*/ 17367 h 2427133"/>
                <a:gd name="connsiteX4" fmla="*/ 3484044 w 3529119"/>
                <a:gd name="connsiteY4" fmla="*/ 820623 h 2427133"/>
                <a:gd name="connsiteX5" fmla="*/ 3496808 w 3529119"/>
                <a:gd name="connsiteY5" fmla="*/ 982569 h 2427133"/>
                <a:gd name="connsiteX6" fmla="*/ 2450139 w 3529119"/>
                <a:gd name="connsiteY6" fmla="*/ 2342919 h 2427133"/>
                <a:gd name="connsiteX7" fmla="*/ 2252293 w 3529119"/>
                <a:gd name="connsiteY7" fmla="*/ 2427133 h 2427133"/>
                <a:gd name="connsiteX8" fmla="*/ 299360 w 3529119"/>
                <a:gd name="connsiteY8" fmla="*/ 2420654 h 2427133"/>
                <a:gd name="connsiteX9" fmla="*/ 158953 w 3529119"/>
                <a:gd name="connsiteY9" fmla="*/ 2329963 h 2427133"/>
                <a:gd name="connsiteX10" fmla="*/ 5782 w 3529119"/>
                <a:gd name="connsiteY10" fmla="*/ 1027913 h 2427133"/>
                <a:gd name="connsiteX0" fmla="*/ 2978 w 3526315"/>
                <a:gd name="connsiteY0" fmla="*/ 1027913 h 2427133"/>
                <a:gd name="connsiteX1" fmla="*/ 66799 w 3526315"/>
                <a:gd name="connsiteY1" fmla="*/ 872445 h 2427133"/>
                <a:gd name="connsiteX2" fmla="*/ 2006967 w 3526315"/>
                <a:gd name="connsiteY2" fmla="*/ 30323 h 2427133"/>
                <a:gd name="connsiteX3" fmla="*/ 2172903 w 3526315"/>
                <a:gd name="connsiteY3" fmla="*/ 17367 h 2427133"/>
                <a:gd name="connsiteX4" fmla="*/ 3481240 w 3526315"/>
                <a:gd name="connsiteY4" fmla="*/ 820623 h 2427133"/>
                <a:gd name="connsiteX5" fmla="*/ 3494004 w 3526315"/>
                <a:gd name="connsiteY5" fmla="*/ 982569 h 2427133"/>
                <a:gd name="connsiteX6" fmla="*/ 2447335 w 3526315"/>
                <a:gd name="connsiteY6" fmla="*/ 2342919 h 2427133"/>
                <a:gd name="connsiteX7" fmla="*/ 2249489 w 3526315"/>
                <a:gd name="connsiteY7" fmla="*/ 2427133 h 2427133"/>
                <a:gd name="connsiteX8" fmla="*/ 296556 w 3526315"/>
                <a:gd name="connsiteY8" fmla="*/ 2420654 h 2427133"/>
                <a:gd name="connsiteX9" fmla="*/ 156149 w 3526315"/>
                <a:gd name="connsiteY9" fmla="*/ 2329963 h 2427133"/>
                <a:gd name="connsiteX10" fmla="*/ 2978 w 3526315"/>
                <a:gd name="connsiteY10" fmla="*/ 1027913 h 242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26315" h="2427133">
                  <a:moveTo>
                    <a:pt x="2978" y="1027913"/>
                  </a:moveTo>
                  <a:cubicBezTo>
                    <a:pt x="-1276" y="969613"/>
                    <a:pt x="-11914" y="917789"/>
                    <a:pt x="66799" y="872445"/>
                  </a:cubicBezTo>
                  <a:lnTo>
                    <a:pt x="2006967" y="30323"/>
                  </a:lnTo>
                  <a:cubicBezTo>
                    <a:pt x="2053769" y="6569"/>
                    <a:pt x="2100572" y="-17182"/>
                    <a:pt x="2172903" y="17367"/>
                  </a:cubicBezTo>
                  <a:lnTo>
                    <a:pt x="3481240" y="820623"/>
                  </a:lnTo>
                  <a:cubicBezTo>
                    <a:pt x="3555699" y="881083"/>
                    <a:pt x="3521660" y="948021"/>
                    <a:pt x="3494004" y="982569"/>
                  </a:cubicBezTo>
                  <a:lnTo>
                    <a:pt x="2447335" y="2342919"/>
                  </a:lnTo>
                  <a:cubicBezTo>
                    <a:pt x="2381386" y="2424973"/>
                    <a:pt x="2340967" y="2422814"/>
                    <a:pt x="2249489" y="2427133"/>
                  </a:cubicBezTo>
                  <a:lnTo>
                    <a:pt x="296556" y="2420654"/>
                  </a:lnTo>
                  <a:cubicBezTo>
                    <a:pt x="188060" y="2416335"/>
                    <a:pt x="168913" y="2373149"/>
                    <a:pt x="156149" y="2329963"/>
                  </a:cubicBezTo>
                  <a:lnTo>
                    <a:pt x="2978" y="1027913"/>
                  </a:lnTo>
                  <a:close/>
                </a:path>
              </a:pathLst>
            </a:custGeom>
            <a:noFill/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13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32E3BD8E-E241-46FF-86CD-674E9553150A}"/>
                </a:ext>
              </a:extLst>
            </p:cNvPr>
            <p:cNvSpPr txBox="1"/>
            <p:nvPr/>
          </p:nvSpPr>
          <p:spPr>
            <a:xfrm>
              <a:off x="2661707" y="304279"/>
              <a:ext cx="614969" cy="25436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Блок 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2431484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2104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620" name="think-cell Slide" r:id="rId6" imgW="802" imgH="802" progId="TCLayout.ActiveDocument.1">
                  <p:embed/>
                </p:oleObj>
              </mc:Choice>
              <mc:Fallback>
                <p:oleObj name="think-cell Slide" r:id="rId6" imgW="802" imgH="80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xmlns="" id="{7371160C-E0F5-4DBC-9881-0D3F3BDC6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ru-RU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 Black" panose="020B0A04020102020204" pitchFamily="34" charset="0"/>
            </a:endParaRPr>
          </a:p>
        </p:txBody>
      </p:sp>
      <p:sp>
        <p:nvSpPr>
          <p:cNvPr id="24" name="Заголовок 3">
            <a:extLst>
              <a:ext uri="{FF2B5EF4-FFF2-40B4-BE49-F238E27FC236}">
                <a16:creationId xmlns:a16="http://schemas.microsoft.com/office/drawing/2014/main" xmlns="" id="{03D3426E-F2A6-4A97-8704-98FDD5691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7" y="219180"/>
            <a:ext cx="11302999" cy="41251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 smtClean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Варианты использования </a:t>
            </a:r>
            <a:endParaRPr lang="ru-RU" sz="2400" b="1" dirty="0"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25" name="Rectangle 94">
            <a:extLst>
              <a:ext uri="{FF2B5EF4-FFF2-40B4-BE49-F238E27FC236}">
                <a16:creationId xmlns:a16="http://schemas.microsoft.com/office/drawing/2014/main" xmlns="" id="{43A09D4D-B200-4EEA-A5CE-0D27FF145BC1}"/>
              </a:ext>
            </a:extLst>
          </p:cNvPr>
          <p:cNvSpPr/>
          <p:nvPr/>
        </p:nvSpPr>
        <p:spPr>
          <a:xfrm>
            <a:off x="197337" y="631690"/>
            <a:ext cx="117973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lang="ru-RU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Виды продуктов, которыми можно будет управлять в Sber Product Catalog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D71EDD29-DC0C-4952-BEE5-F8A0D1CF13C6}"/>
              </a:ext>
            </a:extLst>
          </p:cNvPr>
          <p:cNvSpPr txBox="1"/>
          <p:nvPr/>
        </p:nvSpPr>
        <p:spPr>
          <a:xfrm>
            <a:off x="197336" y="6500320"/>
            <a:ext cx="56619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* Примеры продуктов доступны в приложении 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88081604-6415-4D44-94A2-50A8BCB0C9DF}"/>
              </a:ext>
            </a:extLst>
          </p:cNvPr>
          <p:cNvGrpSpPr/>
          <p:nvPr/>
        </p:nvGrpSpPr>
        <p:grpSpPr>
          <a:xfrm>
            <a:off x="413755" y="2913680"/>
            <a:ext cx="1812776" cy="2987873"/>
            <a:chOff x="744991" y="2606329"/>
            <a:chExt cx="1812776" cy="2987873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xmlns="" id="{AD4DC6DC-188F-4EBD-B586-564CAD36C568}"/>
                </a:ext>
              </a:extLst>
            </p:cNvPr>
            <p:cNvSpPr txBox="1"/>
            <p:nvPr/>
          </p:nvSpPr>
          <p:spPr>
            <a:xfrm>
              <a:off x="744991" y="3285878"/>
              <a:ext cx="1812776" cy="23083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Вклады и кредиты </a:t>
              </a: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Ипотеки </a:t>
              </a: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Карты и счета </a:t>
              </a: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Страхование </a:t>
              </a: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Ячейки и сейфы </a:t>
              </a: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VIP-продукты 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A9BF87B0-13DE-47F7-B16C-36B37635EBC0}"/>
                </a:ext>
              </a:extLst>
            </p:cNvPr>
            <p:cNvSpPr txBox="1"/>
            <p:nvPr/>
          </p:nvSpPr>
          <p:spPr>
            <a:xfrm>
              <a:off x="744991" y="2606329"/>
              <a:ext cx="181277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ru-RU" sz="1400" dirty="0">
                  <a:solidFill>
                    <a:srgbClr val="522486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Банк </a:t>
              </a:r>
              <a:endParaRPr lang="en-US" sz="14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9CF5D95E-CEB3-4DBC-9214-174B6155264A}"/>
              </a:ext>
            </a:extLst>
          </p:cNvPr>
          <p:cNvGrpSpPr/>
          <p:nvPr/>
        </p:nvGrpSpPr>
        <p:grpSpPr>
          <a:xfrm>
            <a:off x="7573718" y="2913578"/>
            <a:ext cx="1812776" cy="2803207"/>
            <a:chOff x="3708071" y="2606329"/>
            <a:chExt cx="1812776" cy="280320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xmlns="" id="{84FDFB00-97E5-4173-95D4-D29D8360F6EA}"/>
                </a:ext>
              </a:extLst>
            </p:cNvPr>
            <p:cNvSpPr txBox="1"/>
            <p:nvPr/>
          </p:nvSpPr>
          <p:spPr>
            <a:xfrm>
              <a:off x="3708071" y="3285878"/>
              <a:ext cx="1812776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Девайсы </a:t>
              </a: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Аксессуары </a:t>
              </a: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Цифровые продукты </a:t>
              </a: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Билеты в кино </a:t>
              </a: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Продукты питания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10F6A9B1-7BCF-42CC-BD9E-EF6FCB3AB8B0}"/>
                </a:ext>
              </a:extLst>
            </p:cNvPr>
            <p:cNvSpPr txBox="1"/>
            <p:nvPr/>
          </p:nvSpPr>
          <p:spPr>
            <a:xfrm>
              <a:off x="3708071" y="2606329"/>
              <a:ext cx="181277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ru-RU" sz="1400" dirty="0">
                  <a:solidFill>
                    <a:srgbClr val="522486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Ритейл </a:t>
              </a:r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xmlns="" id="{56D1C4EA-EE63-4640-89EB-381CB94DA153}"/>
              </a:ext>
            </a:extLst>
          </p:cNvPr>
          <p:cNvGrpSpPr/>
          <p:nvPr/>
        </p:nvGrpSpPr>
        <p:grpSpPr>
          <a:xfrm>
            <a:off x="9771305" y="2913578"/>
            <a:ext cx="2193459" cy="2249209"/>
            <a:chOff x="6480810" y="2606329"/>
            <a:chExt cx="2193459" cy="2249209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E64A8C11-5178-435C-996B-B45EFFA309D1}"/>
                </a:ext>
              </a:extLst>
            </p:cNvPr>
            <p:cNvSpPr txBox="1"/>
            <p:nvPr/>
          </p:nvSpPr>
          <p:spPr>
            <a:xfrm>
              <a:off x="6671151" y="3285878"/>
              <a:ext cx="1812776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Опции и тарифы </a:t>
              </a:r>
            </a:p>
            <a:p>
              <a:pPr marL="17145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Модемы и роутеры </a:t>
              </a:r>
            </a:p>
            <a:p>
              <a:pPr marL="17145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Телевидение </a:t>
              </a:r>
            </a:p>
            <a:p>
              <a:pPr marL="17145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Интернет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xmlns="" id="{CEED5343-5B4A-4B62-B9CB-5071C2B95BE0}"/>
                </a:ext>
              </a:extLst>
            </p:cNvPr>
            <p:cNvSpPr txBox="1"/>
            <p:nvPr/>
          </p:nvSpPr>
          <p:spPr>
            <a:xfrm>
              <a:off x="6480810" y="2606329"/>
              <a:ext cx="21934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ru-RU" sz="1400" dirty="0">
                  <a:solidFill>
                    <a:srgbClr val="522486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Телекоммуникации</a:t>
              </a: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A60B6111-0AFA-4AB5-A67C-847591A7E4BF}"/>
              </a:ext>
            </a:extLst>
          </p:cNvPr>
          <p:cNvGrpSpPr/>
          <p:nvPr/>
        </p:nvGrpSpPr>
        <p:grpSpPr>
          <a:xfrm>
            <a:off x="2805503" y="2913680"/>
            <a:ext cx="1812776" cy="1879878"/>
            <a:chOff x="9634231" y="2606329"/>
            <a:chExt cx="1812776" cy="1879878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xmlns="" id="{17839E68-DCA4-42F5-90D0-713F1A00D683}"/>
                </a:ext>
              </a:extLst>
            </p:cNvPr>
            <p:cNvSpPr txBox="1"/>
            <p:nvPr/>
          </p:nvSpPr>
          <p:spPr>
            <a:xfrm>
              <a:off x="9634231" y="3285878"/>
              <a:ext cx="1812776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Маркетинговые кампании</a:t>
              </a:r>
              <a:r>
                <a:rPr lang="en-US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 </a:t>
              </a: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en-US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Скидки </a:t>
              </a:r>
              <a:endParaRPr lang="en-US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en-US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en-US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Bundles </a:t>
              </a: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xmlns="" id="{8C580094-58F5-48AC-B6EC-BBFB240A1ABE}"/>
                </a:ext>
              </a:extLst>
            </p:cNvPr>
            <p:cNvSpPr txBox="1"/>
            <p:nvPr/>
          </p:nvSpPr>
          <p:spPr>
            <a:xfrm>
              <a:off x="9634231" y="2606329"/>
              <a:ext cx="181277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ru-RU" sz="1400" dirty="0">
                  <a:solidFill>
                    <a:srgbClr val="522486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Маркетинг </a:t>
              </a:r>
            </a:p>
          </p:txBody>
        </p:sp>
      </p:grpSp>
      <p:cxnSp>
        <p:nvCxnSpPr>
          <p:cNvPr id="20" name="Прямая соединительная линия 118">
            <a:extLst>
              <a:ext uri="{FF2B5EF4-FFF2-40B4-BE49-F238E27FC236}">
                <a16:creationId xmlns:a16="http://schemas.microsoft.com/office/drawing/2014/main" xmlns="" id="{82C11D8E-5893-46EF-BA07-1551D7D8885E}"/>
              </a:ext>
            </a:extLst>
          </p:cNvPr>
          <p:cNvCxnSpPr>
            <a:cxnSpLocks/>
          </p:cNvCxnSpPr>
          <p:nvPr/>
        </p:nvCxnSpPr>
        <p:spPr>
          <a:xfrm flipV="1">
            <a:off x="7289963" y="1315648"/>
            <a:ext cx="0" cy="4936613"/>
          </a:xfrm>
          <a:prstGeom prst="line">
            <a:avLst/>
          </a:prstGeom>
          <a:noFill/>
          <a:ln w="6350" cap="rnd">
            <a:gradFill flip="none" rotWithShape="1">
              <a:gsLst>
                <a:gs pos="29000">
                  <a:srgbClr val="006192"/>
                </a:gs>
                <a:gs pos="100000">
                  <a:srgbClr val="001721">
                    <a:alpha val="0"/>
                  </a:srgbClr>
                </a:gs>
                <a:gs pos="70000">
                  <a:srgbClr val="7DC4DD"/>
                </a:gs>
                <a:gs pos="0">
                  <a:srgbClr val="001822">
                    <a:alpha val="0"/>
                  </a:srgbClr>
                </a:gs>
              </a:gsLst>
              <a:lin ang="5400000" scaled="1"/>
              <a:tileRect/>
            </a:gradFill>
            <a:head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Прямая соединительная линия 118">
            <a:extLst>
              <a:ext uri="{FF2B5EF4-FFF2-40B4-BE49-F238E27FC236}">
                <a16:creationId xmlns:a16="http://schemas.microsoft.com/office/drawing/2014/main" xmlns="" id="{D07D9548-9525-44EF-90D8-D52969752A58}"/>
              </a:ext>
            </a:extLst>
          </p:cNvPr>
          <p:cNvCxnSpPr>
            <a:cxnSpLocks/>
          </p:cNvCxnSpPr>
          <p:nvPr/>
        </p:nvCxnSpPr>
        <p:spPr>
          <a:xfrm flipV="1">
            <a:off x="2514107" y="1315648"/>
            <a:ext cx="0" cy="4936613"/>
          </a:xfrm>
          <a:prstGeom prst="line">
            <a:avLst/>
          </a:prstGeom>
          <a:noFill/>
          <a:ln w="6350" cap="rnd">
            <a:gradFill flip="none" rotWithShape="1">
              <a:gsLst>
                <a:gs pos="29000">
                  <a:srgbClr val="006192"/>
                </a:gs>
                <a:gs pos="100000">
                  <a:srgbClr val="001721">
                    <a:alpha val="0"/>
                  </a:srgbClr>
                </a:gs>
                <a:gs pos="70000">
                  <a:srgbClr val="7DC4DD"/>
                </a:gs>
                <a:gs pos="0">
                  <a:srgbClr val="001822">
                    <a:alpha val="0"/>
                  </a:srgbClr>
                </a:gs>
              </a:gsLst>
              <a:lin ang="5400000" scaled="1"/>
              <a:tileRect/>
            </a:gradFill>
            <a:head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2" name="Прямая соединительная линия 118">
            <a:extLst>
              <a:ext uri="{FF2B5EF4-FFF2-40B4-BE49-F238E27FC236}">
                <a16:creationId xmlns:a16="http://schemas.microsoft.com/office/drawing/2014/main" xmlns="" id="{62B4A675-D956-439D-8C01-80BB1712EBC9}"/>
              </a:ext>
            </a:extLst>
          </p:cNvPr>
          <p:cNvCxnSpPr>
            <a:cxnSpLocks/>
          </p:cNvCxnSpPr>
          <p:nvPr/>
        </p:nvCxnSpPr>
        <p:spPr>
          <a:xfrm flipV="1">
            <a:off x="9677891" y="1315648"/>
            <a:ext cx="0" cy="4936613"/>
          </a:xfrm>
          <a:prstGeom prst="line">
            <a:avLst/>
          </a:prstGeom>
          <a:noFill/>
          <a:ln w="6350" cap="rnd">
            <a:gradFill flip="none" rotWithShape="1">
              <a:gsLst>
                <a:gs pos="29000">
                  <a:srgbClr val="006192"/>
                </a:gs>
                <a:gs pos="100000">
                  <a:srgbClr val="001721">
                    <a:alpha val="0"/>
                  </a:srgbClr>
                </a:gs>
                <a:gs pos="70000">
                  <a:srgbClr val="7DC4DD"/>
                </a:gs>
                <a:gs pos="0">
                  <a:srgbClr val="001822">
                    <a:alpha val="0"/>
                  </a:srgbClr>
                </a:gs>
              </a:gsLst>
              <a:lin ang="5400000" scaled="1"/>
              <a:tileRect/>
            </a:gradFill>
            <a:head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B60C61EB-080E-402D-97E8-B7CC8006C89A}"/>
              </a:ext>
            </a:extLst>
          </p:cNvPr>
          <p:cNvGrpSpPr/>
          <p:nvPr/>
        </p:nvGrpSpPr>
        <p:grpSpPr>
          <a:xfrm>
            <a:off x="5193433" y="2913680"/>
            <a:ext cx="1812776" cy="2433875"/>
            <a:chOff x="9634231" y="-140462"/>
            <a:chExt cx="1812776" cy="2433875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60380E6D-74CB-48BC-A0FD-E89FDDF50508}"/>
                </a:ext>
              </a:extLst>
            </p:cNvPr>
            <p:cNvSpPr txBox="1"/>
            <p:nvPr/>
          </p:nvSpPr>
          <p:spPr>
            <a:xfrm>
              <a:off x="9634231" y="539087"/>
              <a:ext cx="1812776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en-US" sz="1200" dirty="0" err="1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DocDoc</a:t>
              </a:r>
              <a:r>
                <a:rPr lang="en-US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 </a:t>
              </a: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en-US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БЕРУ </a:t>
              </a: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en-US" sz="1200" dirty="0" err="1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OkkO</a:t>
              </a:r>
              <a:r>
                <a:rPr lang="en-US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 </a:t>
              </a: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en-US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Афиша </a:t>
              </a: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Другие ДЗО 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F3FEB1D0-CB2D-402B-84D5-ECD5580BF02F}"/>
                </a:ext>
              </a:extLst>
            </p:cNvPr>
            <p:cNvSpPr txBox="1"/>
            <p:nvPr/>
          </p:nvSpPr>
          <p:spPr>
            <a:xfrm>
              <a:off x="9634231" y="-140462"/>
              <a:ext cx="181277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ru-RU" sz="1400" dirty="0">
                  <a:solidFill>
                    <a:srgbClr val="522486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Федерация </a:t>
              </a:r>
            </a:p>
          </p:txBody>
        </p:sp>
      </p:grpSp>
      <p:cxnSp>
        <p:nvCxnSpPr>
          <p:cNvPr id="29" name="Прямая соединительная линия 118">
            <a:extLst>
              <a:ext uri="{FF2B5EF4-FFF2-40B4-BE49-F238E27FC236}">
                <a16:creationId xmlns:a16="http://schemas.microsoft.com/office/drawing/2014/main" xmlns="" id="{6E4BA1DD-97CA-4F70-82B3-50AB320E13BB}"/>
              </a:ext>
            </a:extLst>
          </p:cNvPr>
          <p:cNvCxnSpPr>
            <a:cxnSpLocks/>
          </p:cNvCxnSpPr>
          <p:nvPr/>
        </p:nvCxnSpPr>
        <p:spPr>
          <a:xfrm flipV="1">
            <a:off x="4902035" y="1315648"/>
            <a:ext cx="0" cy="4936613"/>
          </a:xfrm>
          <a:prstGeom prst="line">
            <a:avLst/>
          </a:prstGeom>
          <a:noFill/>
          <a:ln w="6350" cap="rnd">
            <a:gradFill flip="none" rotWithShape="1">
              <a:gsLst>
                <a:gs pos="29000">
                  <a:srgbClr val="006192"/>
                </a:gs>
                <a:gs pos="100000">
                  <a:srgbClr val="001721">
                    <a:alpha val="0"/>
                  </a:srgbClr>
                </a:gs>
                <a:gs pos="70000">
                  <a:srgbClr val="7DC4DD"/>
                </a:gs>
                <a:gs pos="0">
                  <a:srgbClr val="001822">
                    <a:alpha val="0"/>
                  </a:srgbClr>
                </a:gs>
              </a:gsLst>
              <a:lin ang="5400000" scaled="1"/>
              <a:tileRect/>
            </a:gradFill>
            <a:head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30" name="Рисунок 29">
            <a:extLst>
              <a:ext uri="{FF2B5EF4-FFF2-40B4-BE49-F238E27FC236}">
                <a16:creationId xmlns:a16="http://schemas.microsoft.com/office/drawing/2014/main" xmlns="" id="{9C58C15A-7E45-4989-A0F7-6616CDD59F3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144" y="1599789"/>
            <a:ext cx="936000" cy="936000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46E0317B-8F8E-402F-B9CB-6D4BB803961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7999" y="1599789"/>
            <a:ext cx="936000" cy="936000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xmlns="" id="{9CB14396-3F39-447D-8CBB-12803AE9AD0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71" y="1599687"/>
            <a:ext cx="936000" cy="936000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xmlns="" id="{3FD870DD-0B6F-4415-AF34-5DBC05C02DB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6704" y="1614021"/>
            <a:ext cx="936000" cy="9360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xmlns="" id="{0B2E23AF-51A2-4AD7-AB95-9A34017C770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152" y="1599687"/>
            <a:ext cx="936000" cy="936000"/>
          </a:xfrm>
          <a:prstGeom prst="rect">
            <a:avLst/>
          </a:prstGeom>
        </p:spPr>
      </p:pic>
      <p:sp>
        <p:nvSpPr>
          <p:cNvPr id="31" name="Стрелка вправо 30">
            <a:extLst>
              <a:ext uri="{FF2B5EF4-FFF2-40B4-BE49-F238E27FC236}">
                <a16:creationId xmlns:a16="http://schemas.microsoft.com/office/drawing/2014/main" xmlns="" id="{BFF633EF-AF57-594E-954D-FEB908B8AD61}"/>
              </a:ext>
            </a:extLst>
          </p:cNvPr>
          <p:cNvSpPr/>
          <p:nvPr/>
        </p:nvSpPr>
        <p:spPr>
          <a:xfrm>
            <a:off x="498666" y="6273325"/>
            <a:ext cx="11194665" cy="194272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055467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244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124" name="think-cell Slide" r:id="rId6" imgW="802" imgH="802" progId="TCLayout.ActiveDocument.1">
                  <p:embed/>
                </p:oleObj>
              </mc:Choice>
              <mc:Fallback>
                <p:oleObj name="think-cell Slide" r:id="rId6" imgW="802" imgH="80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xmlns="" id="{7371160C-E0F5-4DBC-9881-0D3F3BDC6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ru-RU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 Black" panose="020B0A04020102020204" pitchFamily="34" charset="0"/>
            </a:endParaRPr>
          </a:p>
        </p:txBody>
      </p:sp>
      <p:sp>
        <p:nvSpPr>
          <p:cNvPr id="24" name="Заголовок 3">
            <a:extLst>
              <a:ext uri="{FF2B5EF4-FFF2-40B4-BE49-F238E27FC236}">
                <a16:creationId xmlns:a16="http://schemas.microsoft.com/office/drawing/2014/main" xmlns="" id="{03D3426E-F2A6-4A97-8704-98FDD5691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7" y="219180"/>
            <a:ext cx="11302999" cy="41251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 smtClean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ример продукта </a:t>
            </a:r>
            <a:endParaRPr lang="ru-RU" sz="2400" b="1" dirty="0"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25" name="Rectangle 94">
            <a:extLst>
              <a:ext uri="{FF2B5EF4-FFF2-40B4-BE49-F238E27FC236}">
                <a16:creationId xmlns:a16="http://schemas.microsoft.com/office/drawing/2014/main" xmlns="" id="{43A09D4D-B200-4EEA-A5CE-0D27FF145BC1}"/>
              </a:ext>
            </a:extLst>
          </p:cNvPr>
          <p:cNvSpPr/>
          <p:nvPr/>
        </p:nvSpPr>
        <p:spPr>
          <a:xfrm>
            <a:off x="197337" y="631690"/>
            <a:ext cx="117973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lang="ru-RU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рта с </a:t>
            </a:r>
            <a:r>
              <a:rPr lang="en-US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cashback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BAE060D-6C40-4FD4-A6FB-D4498452DEB0}"/>
              </a:ext>
            </a:extLst>
          </p:cNvPr>
          <p:cNvSpPr txBox="1"/>
          <p:nvPr/>
        </p:nvSpPr>
        <p:spPr>
          <a:xfrm>
            <a:off x="324335" y="1329675"/>
            <a:ext cx="11670327" cy="4982348"/>
          </a:xfrm>
          <a:prstGeom prst="rect">
            <a:avLst/>
          </a:prstGeom>
          <a:noFill/>
        </p:spPr>
        <p:txBody>
          <a:bodyPr wrap="square" numCol="3" spcCol="360000" rtlCol="0">
            <a:spAutoFit/>
          </a:bodyPr>
          <a:lstStyle/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Характеристики продукта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Название: Сбербанк </a:t>
            </a: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эшбэк</a:t>
            </a: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писание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ртинка (картинки)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Зарплатная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Дебетовая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Цены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бслуживание карты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роцент на остаток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эшбэк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в любимых местах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эшбэк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со всех покупок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Лимит на снятие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еревод на другие карты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рочие тарифы </a:t>
            </a:r>
          </a:p>
          <a:p>
            <a:pPr lvl="0">
              <a:buClr>
                <a:srgbClr val="522486"/>
              </a:buClr>
              <a:defRPr/>
            </a:pPr>
            <a:endParaRPr lang="en-US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налы</a:t>
            </a:r>
            <a:r>
              <a:rPr lang="en-US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</a:t>
            </a:r>
            <a:endParaRPr lang="ru-RU" sz="1200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БОЛ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айт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Маркетплейс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артнеры: партнер 1, партнер 2 и т.д.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Акции</a:t>
            </a: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Условия: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Только новые клиенты банка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рок с x по y</a:t>
            </a: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Цены и скидки: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бслуживание карты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Документы</a:t>
            </a:r>
            <a:r>
              <a:rPr lang="en-US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</a:t>
            </a:r>
            <a:endParaRPr lang="ru-RU" sz="1200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Договоры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ервисы (услуги)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ткрытие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Доставка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бслуживание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нятие наличных</a:t>
            </a:r>
          </a:p>
          <a:p>
            <a:pPr marL="628650" lvl="1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в 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банкоматах сети</a:t>
            </a:r>
          </a:p>
          <a:p>
            <a:pPr marL="628650" lvl="1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в 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ети партнеров</a:t>
            </a:r>
          </a:p>
          <a:p>
            <a:pPr marL="628650" lvl="1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о QR-коду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ополнение</a:t>
            </a:r>
          </a:p>
          <a:p>
            <a:pPr marL="628650" lvl="1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о 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реквизитам</a:t>
            </a:r>
          </a:p>
          <a:p>
            <a:pPr marL="628650" lvl="1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о 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номеру карты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ереводы на другие карты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Начисление процентов на остаток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эшбэк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в любимых местах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эшбэк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со всех покупок</a:t>
            </a:r>
          </a:p>
          <a:p>
            <a:pPr lvl="0">
              <a:buClr>
                <a:srgbClr val="522486"/>
              </a:buClr>
              <a:defRPr/>
            </a:pPr>
            <a:endParaRPr lang="ru-RU" sz="1200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Ресурсы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ластиковая карта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Номер карты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CVV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Дата</a:t>
            </a: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ФИО владельца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Дата открытия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рок действия </a:t>
            </a:r>
          </a:p>
        </p:txBody>
      </p:sp>
      <p:pic>
        <p:nvPicPr>
          <p:cNvPr id="9" name="Picture 2" descr="ÐÐ¾Ð»Ð¾ÑÐ°Ñ ÐºÐ°ÑÑÐ°">
            <a:extLst>
              <a:ext uri="{FF2B5EF4-FFF2-40B4-BE49-F238E27FC236}">
                <a16:creationId xmlns:a16="http://schemas.microsoft.com/office/drawing/2014/main" xmlns="" id="{EECAB5EA-C746-4DCE-9177-874A5FAFB0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6057" y="3848120"/>
            <a:ext cx="3522889" cy="2228227"/>
          </a:xfrm>
          <a:prstGeom prst="roundRect">
            <a:avLst>
              <a:gd name="adj" fmla="val 4714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263155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9032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148" name="think-cell Slide" r:id="rId6" imgW="802" imgH="802" progId="TCLayout.ActiveDocument.1">
                  <p:embed/>
                </p:oleObj>
              </mc:Choice>
              <mc:Fallback>
                <p:oleObj name="think-cell Slide" r:id="rId6" imgW="802" imgH="80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xmlns="" id="{7371160C-E0F5-4DBC-9881-0D3F3BDC6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ru-RU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 Black" panose="020B0A04020102020204" pitchFamily="34" charset="0"/>
            </a:endParaRPr>
          </a:p>
        </p:txBody>
      </p:sp>
      <p:sp>
        <p:nvSpPr>
          <p:cNvPr id="24" name="Заголовок 3">
            <a:extLst>
              <a:ext uri="{FF2B5EF4-FFF2-40B4-BE49-F238E27FC236}">
                <a16:creationId xmlns:a16="http://schemas.microsoft.com/office/drawing/2014/main" xmlns="" id="{03D3426E-F2A6-4A97-8704-98FDD5691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7" y="219180"/>
            <a:ext cx="11302999" cy="41251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ример </a:t>
            </a:r>
            <a:r>
              <a:rPr lang="ru-RU" sz="2400" b="1" dirty="0" smtClean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родукта </a:t>
            </a:r>
            <a:endParaRPr lang="ru-RU" sz="2400" b="1" dirty="0"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25" name="Rectangle 94">
            <a:extLst>
              <a:ext uri="{FF2B5EF4-FFF2-40B4-BE49-F238E27FC236}">
                <a16:creationId xmlns:a16="http://schemas.microsoft.com/office/drawing/2014/main" xmlns="" id="{43A09D4D-B200-4EEA-A5CE-0D27FF145BC1}"/>
              </a:ext>
            </a:extLst>
          </p:cNvPr>
          <p:cNvSpPr/>
          <p:nvPr/>
        </p:nvSpPr>
        <p:spPr>
          <a:xfrm>
            <a:off x="197337" y="631690"/>
            <a:ext cx="117973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lang="ru-RU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Мобильный тарифный план по подписке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D4BE9205-DCE3-4C59-9C72-93BBA63ABBFF}"/>
              </a:ext>
            </a:extLst>
          </p:cNvPr>
          <p:cNvSpPr txBox="1"/>
          <p:nvPr/>
        </p:nvSpPr>
        <p:spPr>
          <a:xfrm>
            <a:off x="324335" y="1329675"/>
            <a:ext cx="11491843" cy="4982348"/>
          </a:xfrm>
          <a:prstGeom prst="rect">
            <a:avLst/>
          </a:prstGeom>
          <a:noFill/>
        </p:spPr>
        <p:txBody>
          <a:bodyPr wrap="square" numCol="3" spcCol="360000" rtlCol="0">
            <a:spAutoFit/>
          </a:bodyPr>
          <a:lstStyle/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Характеристики продукта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Название: </a:t>
            </a: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берМобайл</a:t>
            </a: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писание: мобильный тарифный план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ртинка (картинки)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Доставка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Цены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Ежемесячная абонентская плата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бъем звонков внутри сети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бъем интернета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бъем СМС внутри сети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Тарификация:</a:t>
            </a:r>
          </a:p>
          <a:p>
            <a:pPr marL="628650" lvl="1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Звонки внутри сети </a:t>
            </a:r>
          </a:p>
          <a:p>
            <a:pPr marL="628650" lvl="1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Звонки в роуминге</a:t>
            </a:r>
            <a:endParaRPr lang="en-US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endParaRPr lang="ru-RU" sz="1200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налы</a:t>
            </a:r>
            <a:r>
              <a:rPr lang="en-US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</a:t>
            </a:r>
            <a:endParaRPr lang="ru-RU" sz="1200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БОЛ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Акции</a:t>
            </a: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Условия: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Только новые клиенты банка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рок с x по y</a:t>
            </a: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Цены и скидки: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бслуживание карты </a:t>
            </a:r>
          </a:p>
          <a:p>
            <a:pPr lvl="0">
              <a:buClr>
                <a:srgbClr val="522486"/>
              </a:buClr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ервисы (услуги)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Входящие звонки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Исходящие звонки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Интернет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МС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ММС</a:t>
            </a:r>
          </a:p>
          <a:p>
            <a:pPr lvl="0">
              <a:buClr>
                <a:srgbClr val="522486"/>
              </a:buClr>
              <a:defRPr/>
            </a:pPr>
            <a:endParaRPr lang="ru-RU" sz="1200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Ресурсы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en-US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SIM-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рта</a:t>
            </a:r>
          </a:p>
          <a:p>
            <a:pPr marL="628650" lvl="1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en-US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IMCI</a:t>
            </a:r>
          </a:p>
          <a:p>
            <a:pPr marL="628650" lvl="1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en-US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ICCDN</a:t>
            </a:r>
          </a:p>
        </p:txBody>
      </p:sp>
      <p:pic>
        <p:nvPicPr>
          <p:cNvPr id="10" name="Picture 2" descr="https://sbermobile.ru/i/logo.png">
            <a:extLst>
              <a:ext uri="{FF2B5EF4-FFF2-40B4-BE49-F238E27FC236}">
                <a16:creationId xmlns:a16="http://schemas.microsoft.com/office/drawing/2014/main" xmlns="" id="{86474B2C-F374-42E6-AFF3-5A7EA4C313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8162" y="1329675"/>
            <a:ext cx="4509049" cy="750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217332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7555" name="think-cell Slide" r:id="rId6" imgW="802" imgH="802" progId="TCLayout.ActiveDocument.1">
                  <p:embed/>
                </p:oleObj>
              </mc:Choice>
              <mc:Fallback>
                <p:oleObj name="think-cell Slide" r:id="rId6" imgW="802" imgH="80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xmlns="" id="{7371160C-E0F5-4DBC-9881-0D3F3BDC6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ru-RU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 Black" panose="020B0A04020102020204" pitchFamily="34" charset="0"/>
            </a:endParaRPr>
          </a:p>
        </p:txBody>
      </p:sp>
      <p:sp>
        <p:nvSpPr>
          <p:cNvPr id="24" name="Заголовок 3">
            <a:extLst>
              <a:ext uri="{FF2B5EF4-FFF2-40B4-BE49-F238E27FC236}">
                <a16:creationId xmlns:a16="http://schemas.microsoft.com/office/drawing/2014/main" xmlns="" id="{03D3426E-F2A6-4A97-8704-98FDD5691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7" y="219180"/>
            <a:ext cx="11302999" cy="41251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ример продукта </a:t>
            </a:r>
          </a:p>
        </p:txBody>
      </p:sp>
      <p:sp>
        <p:nvSpPr>
          <p:cNvPr id="25" name="Rectangle 94">
            <a:extLst>
              <a:ext uri="{FF2B5EF4-FFF2-40B4-BE49-F238E27FC236}">
                <a16:creationId xmlns:a16="http://schemas.microsoft.com/office/drawing/2014/main" xmlns="" id="{43A09D4D-B200-4EEA-A5CE-0D27FF145BC1}"/>
              </a:ext>
            </a:extLst>
          </p:cNvPr>
          <p:cNvSpPr/>
          <p:nvPr/>
        </p:nvSpPr>
        <p:spPr>
          <a:xfrm>
            <a:off x="197337" y="631690"/>
            <a:ext cx="117973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lang="ru-RU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</a:t>
            </a:r>
            <a:r>
              <a:rPr lang="ru-RU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нига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E81FDD40-942C-884C-A82C-D0DAA84336E7}"/>
              </a:ext>
            </a:extLst>
          </p:cNvPr>
          <p:cNvSpPr txBox="1"/>
          <p:nvPr/>
        </p:nvSpPr>
        <p:spPr>
          <a:xfrm>
            <a:off x="197337" y="1223115"/>
            <a:ext cx="4470689" cy="3600986"/>
          </a:xfrm>
          <a:prstGeom prst="rect">
            <a:avLst/>
          </a:prstGeom>
          <a:noFill/>
        </p:spPr>
        <p:txBody>
          <a:bodyPr wrap="square" numCol="1" spcCol="360000" rtlCol="0">
            <a:spAutoFit/>
          </a:bodyPr>
          <a:lstStyle/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Характеристики продукта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Название: Академия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Автор: Айзек Азимов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писание: …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Доставка: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Вариант: печатная, электронная</a:t>
            </a:r>
          </a:p>
          <a:p>
            <a:pPr lvl="0">
              <a:buClr>
                <a:srgbClr val="522486"/>
              </a:buClr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Цены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ечатная: 307 Р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Электронная: 219 Р</a:t>
            </a:r>
          </a:p>
          <a:p>
            <a:pPr lvl="0">
              <a:buClr>
                <a:srgbClr val="522486"/>
              </a:buClr>
              <a:defRPr/>
            </a:pPr>
            <a:endParaRPr lang="en-US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налы</a:t>
            </a:r>
            <a:r>
              <a:rPr lang="en-US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</a:t>
            </a:r>
            <a:endParaRPr lang="ru-RU" sz="1200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Маркетплейс</a:t>
            </a: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Акции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-</a:t>
            </a:r>
          </a:p>
          <a:p>
            <a:pPr lvl="0">
              <a:buClr>
                <a:srgbClr val="522486"/>
              </a:buClr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ервисы (услуги)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родажа</a:t>
            </a:r>
          </a:p>
        </p:txBody>
      </p:sp>
      <p:pic>
        <p:nvPicPr>
          <p:cNvPr id="12" name="Picture 4" descr="https://cdn1.ozone.ru/multimedia/c1200/1023127473.jpg">
            <a:extLst>
              <a:ext uri="{FF2B5EF4-FFF2-40B4-BE49-F238E27FC236}">
                <a16:creationId xmlns:a16="http://schemas.microsoft.com/office/drawing/2014/main" xmlns="" id="{7530B4EA-91EC-F343-9E8D-3D09C3D1A1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4514" y="1223115"/>
            <a:ext cx="2190688" cy="3436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019113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1887" name="think-cell Slide" r:id="rId6" imgW="802" imgH="802" progId="TCLayout.ActiveDocument.1">
                  <p:embed/>
                </p:oleObj>
              </mc:Choice>
              <mc:Fallback>
                <p:oleObj name="think-cell Slide" r:id="rId6" imgW="802" imgH="80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xmlns="" id="{7371160C-E0F5-4DBC-9881-0D3F3BDC6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ru-RU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 Black" panose="020B0A04020102020204" pitchFamily="34" charset="0"/>
            </a:endParaRPr>
          </a:p>
        </p:txBody>
      </p:sp>
      <p:sp>
        <p:nvSpPr>
          <p:cNvPr id="24" name="Заголовок 3">
            <a:extLst>
              <a:ext uri="{FF2B5EF4-FFF2-40B4-BE49-F238E27FC236}">
                <a16:creationId xmlns:a16="http://schemas.microsoft.com/office/drawing/2014/main" xmlns="" id="{03D3426E-F2A6-4A97-8704-98FDD5691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7" y="219180"/>
            <a:ext cx="11302999" cy="41251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ример продукта </a:t>
            </a:r>
          </a:p>
        </p:txBody>
      </p:sp>
      <p:sp>
        <p:nvSpPr>
          <p:cNvPr id="25" name="Rectangle 94">
            <a:extLst>
              <a:ext uri="{FF2B5EF4-FFF2-40B4-BE49-F238E27FC236}">
                <a16:creationId xmlns:a16="http://schemas.microsoft.com/office/drawing/2014/main" xmlns="" id="{43A09D4D-B200-4EEA-A5CE-0D27FF145BC1}"/>
              </a:ext>
            </a:extLst>
          </p:cNvPr>
          <p:cNvSpPr/>
          <p:nvPr/>
        </p:nvSpPr>
        <p:spPr>
          <a:xfrm>
            <a:off x="197337" y="631690"/>
            <a:ext cx="117973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lang="ru-RU" dirty="0" err="1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Бандл</a:t>
            </a:r>
            <a:r>
              <a:rPr lang="ru-RU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мобильного тарифного плана и карты с </a:t>
            </a:r>
            <a:r>
              <a:rPr lang="en-US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cashback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BAE060D-6C40-4FD4-A6FB-D4498452DEB0}"/>
              </a:ext>
            </a:extLst>
          </p:cNvPr>
          <p:cNvSpPr txBox="1"/>
          <p:nvPr/>
        </p:nvSpPr>
        <p:spPr>
          <a:xfrm>
            <a:off x="324335" y="1329675"/>
            <a:ext cx="11670327" cy="4982348"/>
          </a:xfrm>
          <a:prstGeom prst="rect">
            <a:avLst/>
          </a:prstGeom>
          <a:noFill/>
        </p:spPr>
        <p:txBody>
          <a:bodyPr wrap="square" numCol="3" spcCol="360000" rtlCol="0">
            <a:spAutoFit/>
          </a:bodyPr>
          <a:lstStyle/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Характеристики продукта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Название: Карта </a:t>
            </a: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бер@Мобайл</a:t>
            </a: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писание: тарифный план и банковская карта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ртинка (картинки)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Автоматическая оплата мобильного со счета: да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овышенный </a:t>
            </a: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эшбэк</a:t>
            </a: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Цены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Ежемесячная абонентская плата: 500 Р. 450 Р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(цены с </a:t>
            </a: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мобилы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)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(цены с карты)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бслуживание карты: 290 р/</a:t>
            </a: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мес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 250 р/</a:t>
            </a: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мес</a:t>
            </a: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эшбэк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в любимых местах: 10% 12%</a:t>
            </a:r>
          </a:p>
          <a:p>
            <a:pPr lvl="0">
              <a:buClr>
                <a:srgbClr val="522486"/>
              </a:buClr>
              <a:defRPr/>
            </a:pPr>
            <a:endParaRPr lang="en-US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налы</a:t>
            </a:r>
            <a:r>
              <a:rPr lang="en-US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</a:t>
            </a:r>
            <a:endParaRPr lang="ru-RU" sz="1200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БОЛ</a:t>
            </a: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артнеры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Акции</a:t>
            </a: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Условия: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Только новые клиенты банка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рок с x по y</a:t>
            </a: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Цены и скидки: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бслуживание карты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Документы</a:t>
            </a:r>
            <a:r>
              <a:rPr lang="en-US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</a:t>
            </a:r>
            <a:endParaRPr lang="ru-RU" sz="1200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Договоры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ервисы (услуги)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автоматическая оплата со счета карта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эшбэк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в любимых местах</a:t>
            </a:r>
          </a:p>
          <a:p>
            <a:pPr lvl="0">
              <a:buClr>
                <a:srgbClr val="522486"/>
              </a:buClr>
              <a:defRPr/>
            </a:pPr>
            <a:endParaRPr lang="ru-RU" sz="1200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тношения с другими продуктами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Бандл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из "</a:t>
            </a: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бер@Мобайл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" и карты "Сбербанк </a:t>
            </a: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эшбэк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"</a:t>
            </a:r>
          </a:p>
        </p:txBody>
      </p:sp>
      <p:pic>
        <p:nvPicPr>
          <p:cNvPr id="9" name="Picture 2" descr="ÐÐ¾Ð»Ð¾ÑÐ°Ñ ÐºÐ°ÑÑÐ°">
            <a:extLst>
              <a:ext uri="{FF2B5EF4-FFF2-40B4-BE49-F238E27FC236}">
                <a16:creationId xmlns:a16="http://schemas.microsoft.com/office/drawing/2014/main" xmlns="" id="{EECAB5EA-C746-4DCE-9177-874A5FAFB0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6057" y="2911142"/>
            <a:ext cx="3522889" cy="2228227"/>
          </a:xfrm>
          <a:prstGeom prst="roundRect">
            <a:avLst>
              <a:gd name="adj" fmla="val 4714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https://sbermobile.ru/i/logo.png">
            <a:extLst>
              <a:ext uri="{FF2B5EF4-FFF2-40B4-BE49-F238E27FC236}">
                <a16:creationId xmlns:a16="http://schemas.microsoft.com/office/drawing/2014/main" xmlns="" id="{64A09663-74C8-864F-BF8A-8DF5C73F50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361" y="5661890"/>
            <a:ext cx="3908585" cy="650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178634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3933" name="think-cell Slide" r:id="rId6" imgW="802" imgH="802" progId="TCLayout.ActiveDocument.1">
                  <p:embed/>
                </p:oleObj>
              </mc:Choice>
              <mc:Fallback>
                <p:oleObj name="think-cell Slide" r:id="rId6" imgW="802" imgH="80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xmlns="" id="{7371160C-E0F5-4DBC-9881-0D3F3BDC6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ru-RU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 Black" panose="020B0A04020102020204" pitchFamily="34" charset="0"/>
            </a:endParaRPr>
          </a:p>
        </p:txBody>
      </p:sp>
      <p:sp>
        <p:nvSpPr>
          <p:cNvPr id="24" name="Заголовок 3">
            <a:extLst>
              <a:ext uri="{FF2B5EF4-FFF2-40B4-BE49-F238E27FC236}">
                <a16:creationId xmlns:a16="http://schemas.microsoft.com/office/drawing/2014/main" xmlns="" id="{03D3426E-F2A6-4A97-8704-98FDD5691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7" y="219180"/>
            <a:ext cx="11302999" cy="41251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ример продукта </a:t>
            </a:r>
          </a:p>
        </p:txBody>
      </p:sp>
      <p:sp>
        <p:nvSpPr>
          <p:cNvPr id="25" name="Rectangle 94">
            <a:extLst>
              <a:ext uri="{FF2B5EF4-FFF2-40B4-BE49-F238E27FC236}">
                <a16:creationId xmlns:a16="http://schemas.microsoft.com/office/drawing/2014/main" xmlns="" id="{43A09D4D-B200-4EEA-A5CE-0D27FF145BC1}"/>
              </a:ext>
            </a:extLst>
          </p:cNvPr>
          <p:cNvSpPr/>
          <p:nvPr/>
        </p:nvSpPr>
        <p:spPr>
          <a:xfrm>
            <a:off x="197337" y="631690"/>
            <a:ext cx="117973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22486"/>
                </a:solidFill>
                <a:effectLst/>
                <a:uLnTx/>
                <a:uFillTx/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Бандл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22486"/>
                </a:solidFill>
                <a:effectLst/>
                <a:uLnTx/>
                <a:uFillTx/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«Сбербанк премьер»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BAE060D-6C40-4FD4-A6FB-D4498452DEB0}"/>
              </a:ext>
            </a:extLst>
          </p:cNvPr>
          <p:cNvSpPr txBox="1"/>
          <p:nvPr/>
        </p:nvSpPr>
        <p:spPr>
          <a:xfrm>
            <a:off x="324335" y="2459504"/>
            <a:ext cx="5658776" cy="1938992"/>
          </a:xfrm>
          <a:prstGeom prst="rect">
            <a:avLst/>
          </a:prstGeom>
          <a:noFill/>
        </p:spPr>
        <p:txBody>
          <a:bodyPr wrap="square" numCol="1" spcCol="360000" rtlCol="0">
            <a:spAutoFit/>
          </a:bodyPr>
          <a:lstStyle/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родукты, входящие в </a:t>
            </a:r>
            <a:r>
              <a:rPr lang="ru-RU" sz="1200" dirty="0" err="1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бандл</a:t>
            </a:r>
            <a:endParaRPr lang="ru-RU" sz="1200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рта с большими бонусами и бесплатным обслуживанием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Вклады с повышенной ставкой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Выгодные условия конверсии валют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ейфовые ячейки со скидкой 20%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Бесплатный проход в бизнес-залы аэропортов с </a:t>
            </a:r>
            <a:r>
              <a:rPr lang="en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Priority Pass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трахование путешественников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Бесплатная помощь с возвратом налогов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5 бесплатных </a:t>
            </a: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чекапов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</a:t>
            </a:r>
            <a:r>
              <a:rPr lang="en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DocDoc</a:t>
            </a:r>
            <a:endParaRPr lang="en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pic>
        <p:nvPicPr>
          <p:cNvPr id="9" name="Picture 4" descr="ÐÐ°ÑÑÐ¸Ð½ÐºÐ¸ Ð¿Ð¾ Ð·Ð°Ð¿ÑÐ¾ÑÑ Ð´Ð¾ÐºÐ´Ð¾Ðº">
            <a:extLst>
              <a:ext uri="{FF2B5EF4-FFF2-40B4-BE49-F238E27FC236}">
                <a16:creationId xmlns:a16="http://schemas.microsoft.com/office/drawing/2014/main" xmlns="" id="{BC430E33-5C2D-DE4D-938A-D2F5DF6CF3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3456" y="3903213"/>
            <a:ext cx="2947850" cy="1842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19CA3825-5218-9542-8CBB-1CD6945FDFD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16683" y="2026765"/>
            <a:ext cx="3371850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60023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821" name="think-cell Slide" r:id="rId6" imgW="802" imgH="802" progId="TCLayout.ActiveDocument.1">
                  <p:embed/>
                </p:oleObj>
              </mc:Choice>
              <mc:Fallback>
                <p:oleObj name="think-cell Slide" r:id="rId6" imgW="802" imgH="80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xmlns="" id="{7371160C-E0F5-4DBC-9881-0D3F3BDC6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ru-RU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 Black" panose="020B0A04020102020204" pitchFamily="34" charset="0"/>
            </a:endParaRPr>
          </a:p>
        </p:txBody>
      </p:sp>
      <p:sp>
        <p:nvSpPr>
          <p:cNvPr id="24" name="Заголовок 3">
            <a:extLst>
              <a:ext uri="{FF2B5EF4-FFF2-40B4-BE49-F238E27FC236}">
                <a16:creationId xmlns:a16="http://schemas.microsoft.com/office/drawing/2014/main" xmlns="" id="{03D3426E-F2A6-4A97-8704-98FDD5691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7" y="219180"/>
            <a:ext cx="11302999" cy="41251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 smtClean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Что такое продуктовый каталог?</a:t>
            </a:r>
            <a:endParaRPr lang="ru-RU" sz="2400" b="1" dirty="0"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25" name="Rectangle 94">
            <a:extLst>
              <a:ext uri="{FF2B5EF4-FFF2-40B4-BE49-F238E27FC236}">
                <a16:creationId xmlns:a16="http://schemas.microsoft.com/office/drawing/2014/main" xmlns="" id="{43A09D4D-B200-4EEA-A5CE-0D27FF145BC1}"/>
              </a:ext>
            </a:extLst>
          </p:cNvPr>
          <p:cNvSpPr/>
          <p:nvPr/>
        </p:nvSpPr>
        <p:spPr>
          <a:xfrm>
            <a:off x="197337" y="631690"/>
            <a:ext cx="117973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lang="ru-RU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родуктовый каталог – это автоматизированная система, обеспечивающая централизованное управление продуктами компании. </a:t>
            </a:r>
            <a:r>
              <a:rPr lang="ru-RU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римеры продуктов: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BAE060D-6C40-4FD4-A6FB-D4498452DEB0}"/>
              </a:ext>
            </a:extLst>
          </p:cNvPr>
          <p:cNvSpPr txBox="1"/>
          <p:nvPr/>
        </p:nvSpPr>
        <p:spPr>
          <a:xfrm>
            <a:off x="335486" y="3080856"/>
            <a:ext cx="3629762" cy="3600986"/>
          </a:xfrm>
          <a:prstGeom prst="rect">
            <a:avLst/>
          </a:prstGeom>
          <a:noFill/>
        </p:spPr>
        <p:txBody>
          <a:bodyPr wrap="square" numCol="1" spcCol="360000" rtlCol="0">
            <a:spAutoFit/>
          </a:bodyPr>
          <a:lstStyle/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Характеристики продукта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Название: Сбербанк </a:t>
            </a: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эшбэк</a:t>
            </a: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писание</a:t>
            </a:r>
            <a:r>
              <a:rPr lang="en-US" sz="1200" dirty="0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: </a:t>
            </a:r>
            <a:r>
              <a:rPr lang="ru-RU" sz="1200" dirty="0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Дебетовая карта с </a:t>
            </a:r>
            <a:r>
              <a:rPr lang="ru-RU" sz="1200" dirty="0" err="1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эшбэком</a:t>
            </a: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ртинка (картинки)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Зарплатная</a:t>
            </a:r>
            <a:r>
              <a:rPr lang="en-US" sz="1200" dirty="0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: </a:t>
            </a:r>
            <a:r>
              <a:rPr lang="ru-RU" sz="1200" dirty="0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Да/Нет </a:t>
            </a: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Цены</a:t>
            </a:r>
            <a:endParaRPr lang="ru-RU" sz="1200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Ежемесячная абонентская плата: </a:t>
            </a:r>
            <a:r>
              <a:rPr lang="ru-RU" sz="1200" dirty="0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450-500 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Р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бслуживание 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рты: </a:t>
            </a:r>
            <a:r>
              <a:rPr lang="ru-RU" sz="1200" dirty="0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250-290 р/</a:t>
            </a:r>
            <a:r>
              <a:rPr lang="ru-RU" sz="1200" dirty="0" err="1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мес</a:t>
            </a: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эшбэк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в любимых местах: </a:t>
            </a:r>
            <a:r>
              <a:rPr lang="ru-RU" sz="1200" dirty="0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10-12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%</a:t>
            </a:r>
          </a:p>
          <a:p>
            <a:pPr lvl="0">
              <a:buClr>
                <a:srgbClr val="522486"/>
              </a:buClr>
              <a:defRPr/>
            </a:pPr>
            <a:endParaRPr lang="en-US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налы</a:t>
            </a:r>
            <a:r>
              <a:rPr lang="en-US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</a:t>
            </a:r>
            <a:endParaRPr lang="ru-RU" sz="1200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БОЛ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айт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Маркетплейс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артнеры: партнер 1, партнер 2 и т.д.</a:t>
            </a:r>
          </a:p>
          <a:p>
            <a:pPr lvl="0">
              <a:buClr>
                <a:srgbClr val="522486"/>
              </a:buClr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pic>
        <p:nvPicPr>
          <p:cNvPr id="9" name="Picture 2" descr="ÐÐ¾Ð»Ð¾ÑÐ°Ñ ÐºÐ°ÑÑÐ°">
            <a:extLst>
              <a:ext uri="{FF2B5EF4-FFF2-40B4-BE49-F238E27FC236}">
                <a16:creationId xmlns:a16="http://schemas.microsoft.com/office/drawing/2014/main" xmlns="" id="{EECAB5EA-C746-4DCE-9177-874A5FAFB0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79" y="1551021"/>
            <a:ext cx="1780672" cy="1126275"/>
          </a:xfrm>
          <a:prstGeom prst="roundRect">
            <a:avLst>
              <a:gd name="adj" fmla="val 4714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4F474DED-0363-EA46-AEBE-DFE984346A06}"/>
              </a:ext>
            </a:extLst>
          </p:cNvPr>
          <p:cNvSpPr txBox="1"/>
          <p:nvPr/>
        </p:nvSpPr>
        <p:spPr>
          <a:xfrm>
            <a:off x="4263750" y="3080856"/>
            <a:ext cx="3170170" cy="3416320"/>
          </a:xfrm>
          <a:prstGeom prst="rect">
            <a:avLst/>
          </a:prstGeom>
          <a:noFill/>
        </p:spPr>
        <p:txBody>
          <a:bodyPr wrap="square" numCol="1" spcCol="360000" rtlCol="0">
            <a:spAutoFit/>
          </a:bodyPr>
          <a:lstStyle/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Характеристики продукта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Название: </a:t>
            </a:r>
            <a:r>
              <a:rPr lang="en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iPhone </a:t>
            </a:r>
            <a:r>
              <a:rPr lang="en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Xr</a:t>
            </a:r>
            <a:endParaRPr lang="en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Цвет: голубой, черный, ..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бъем памяти: 64 ГБ, 128 ГБ, …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Доставка: самовывоз, доставка курьером, …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Дисплей: 6.1", 828</a:t>
            </a:r>
            <a:r>
              <a:rPr lang="en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x1792 Pix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en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2 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меры: 12 </a:t>
            </a:r>
            <a:r>
              <a:rPr lang="en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Mpix</a:t>
            </a:r>
            <a:r>
              <a:rPr lang="en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и 7 </a:t>
            </a:r>
            <a:r>
              <a:rPr lang="en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Mpix</a:t>
            </a:r>
            <a:endParaRPr lang="en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en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Wi-Fi, Bluetooth, NFC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en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…</a:t>
            </a:r>
          </a:p>
          <a:p>
            <a:pPr lvl="0">
              <a:buClr>
                <a:srgbClr val="522486"/>
              </a:buClr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Цены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64ГБ – 56 990 Р,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128ГБ – 64 990 Р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256ГБ – 69 990Р</a:t>
            </a:r>
          </a:p>
          <a:p>
            <a:pPr lvl="0">
              <a:buClr>
                <a:srgbClr val="522486"/>
              </a:buClr>
              <a:defRPr/>
            </a:pPr>
            <a:endParaRPr lang="en-US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налы</a:t>
            </a:r>
            <a:r>
              <a:rPr lang="en-US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</a:t>
            </a:r>
            <a:endParaRPr lang="ru-RU" sz="1200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Маркетплейс</a:t>
            </a: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pic>
        <p:nvPicPr>
          <p:cNvPr id="11" name="Picture 2" descr="https://moscow.shop.megafon.ru/images/goods/1063/106351_p_21.png">
            <a:extLst>
              <a:ext uri="{FF2B5EF4-FFF2-40B4-BE49-F238E27FC236}">
                <a16:creationId xmlns:a16="http://schemas.microsoft.com/office/drawing/2014/main" xmlns="" id="{B3A22419-D8AC-4942-8A62-5E53FC6B79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7041" y="1386410"/>
            <a:ext cx="784425" cy="1341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4AA30C75-9ABE-C842-B627-526AE0D4DAA4}"/>
              </a:ext>
            </a:extLst>
          </p:cNvPr>
          <p:cNvSpPr txBox="1"/>
          <p:nvPr/>
        </p:nvSpPr>
        <p:spPr>
          <a:xfrm>
            <a:off x="7977445" y="3080856"/>
            <a:ext cx="3522889" cy="2677656"/>
          </a:xfrm>
          <a:prstGeom prst="rect">
            <a:avLst/>
          </a:prstGeom>
          <a:noFill/>
        </p:spPr>
        <p:txBody>
          <a:bodyPr wrap="square" numCol="1" spcCol="360000" rtlCol="0">
            <a:spAutoFit/>
          </a:bodyPr>
          <a:lstStyle/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Характеристики продукта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Название: Полный </a:t>
            </a: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чекап</a:t>
            </a: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писание: Полное обследование организма </a:t>
            </a:r>
          </a:p>
          <a:p>
            <a:pPr lvl="0">
              <a:buClr>
                <a:srgbClr val="522486"/>
              </a:buClr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Цены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олный </a:t>
            </a: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чекап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организма: 90 700 Р</a:t>
            </a:r>
            <a:endParaRPr lang="en-US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en-US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Условия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Всем клиентам, во всех регионах</a:t>
            </a:r>
          </a:p>
          <a:p>
            <a:pPr lvl="0">
              <a:buClr>
                <a:srgbClr val="522486"/>
              </a:buClr>
              <a:defRPr/>
            </a:pPr>
            <a:endParaRPr lang="en-US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налы</a:t>
            </a:r>
            <a:r>
              <a:rPr lang="en-US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</a:t>
            </a:r>
            <a:endParaRPr lang="ru-RU" sz="1200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en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DocDoc</a:t>
            </a:r>
            <a:r>
              <a:rPr lang="en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,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БОЛ</a:t>
            </a: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pic>
        <p:nvPicPr>
          <p:cNvPr id="13" name="Picture 4" descr="ÐÐ°ÑÑÐ¸Ð½ÐºÐ¸ Ð¿Ð¾ Ð·Ð°Ð¿ÑÐ¾ÑÑ Ð´Ð¾ÐºÐ´Ð¾Ðº">
            <a:extLst>
              <a:ext uri="{FF2B5EF4-FFF2-40B4-BE49-F238E27FC236}">
                <a16:creationId xmlns:a16="http://schemas.microsoft.com/office/drawing/2014/main" xmlns="" id="{D75AEFBA-632C-7943-87E4-F83A6B6BD1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771" y="1187052"/>
            <a:ext cx="2621610" cy="1638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94">
            <a:extLst>
              <a:ext uri="{FF2B5EF4-FFF2-40B4-BE49-F238E27FC236}">
                <a16:creationId xmlns:a16="http://schemas.microsoft.com/office/drawing/2014/main" xmlns="" id="{43A09D4D-B200-4EEA-A5CE-0D27FF145BC1}"/>
              </a:ext>
            </a:extLst>
          </p:cNvPr>
          <p:cNvSpPr/>
          <p:nvPr/>
        </p:nvSpPr>
        <p:spPr>
          <a:xfrm>
            <a:off x="335486" y="2743122"/>
            <a:ext cx="24852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lang="ru-RU" sz="14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рта с </a:t>
            </a:r>
            <a:r>
              <a:rPr lang="en-US" sz="14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cashback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15" name="Rectangle 94">
            <a:extLst>
              <a:ext uri="{FF2B5EF4-FFF2-40B4-BE49-F238E27FC236}">
                <a16:creationId xmlns:a16="http://schemas.microsoft.com/office/drawing/2014/main" xmlns="" id="{43A09D4D-B200-4EEA-A5CE-0D27FF145BC1}"/>
              </a:ext>
            </a:extLst>
          </p:cNvPr>
          <p:cNvSpPr/>
          <p:nvPr/>
        </p:nvSpPr>
        <p:spPr>
          <a:xfrm>
            <a:off x="4263750" y="2773079"/>
            <a:ext cx="247100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lang="ru-RU" sz="1400" noProof="0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мартфон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18" name="Rectangle 94">
            <a:extLst>
              <a:ext uri="{FF2B5EF4-FFF2-40B4-BE49-F238E27FC236}">
                <a16:creationId xmlns:a16="http://schemas.microsoft.com/office/drawing/2014/main" xmlns="" id="{43A09D4D-B200-4EEA-A5CE-0D27FF145BC1}"/>
              </a:ext>
            </a:extLst>
          </p:cNvPr>
          <p:cNvSpPr/>
          <p:nvPr/>
        </p:nvSpPr>
        <p:spPr>
          <a:xfrm>
            <a:off x="7977446" y="2743123"/>
            <a:ext cx="247100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lang="ru-RU" sz="1400" noProof="0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ортал поиска врачей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6925878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7869" name="think-cell Slide" r:id="rId6" imgW="802" imgH="802" progId="TCLayout.ActiveDocument.1">
                  <p:embed/>
                </p:oleObj>
              </mc:Choice>
              <mc:Fallback>
                <p:oleObj name="think-cell Slide" r:id="rId6" imgW="802" imgH="80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xmlns="" id="{7371160C-E0F5-4DBC-9881-0D3F3BDC6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 Black" panose="020B0A04020102020204" pitchFamily="34" charset="0"/>
            </a:endParaRPr>
          </a:p>
        </p:txBody>
      </p:sp>
      <p:sp>
        <p:nvSpPr>
          <p:cNvPr id="24" name="Заголовок 3">
            <a:extLst>
              <a:ext uri="{FF2B5EF4-FFF2-40B4-BE49-F238E27FC236}">
                <a16:creationId xmlns:a16="http://schemas.microsoft.com/office/drawing/2014/main" xmlns="" id="{03D3426E-F2A6-4A97-8704-98FDD5691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7" y="219180"/>
            <a:ext cx="11302999" cy="41251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 smtClean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к новые продукты попадают на рынок?</a:t>
            </a:r>
            <a:endParaRPr lang="ru-RU" sz="2400" b="1" dirty="0"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25" name="Rectangle 94">
            <a:extLst>
              <a:ext uri="{FF2B5EF4-FFF2-40B4-BE49-F238E27FC236}">
                <a16:creationId xmlns:a16="http://schemas.microsoft.com/office/drawing/2014/main" xmlns="" id="{43A09D4D-B200-4EEA-A5CE-0D27FF145BC1}"/>
              </a:ext>
            </a:extLst>
          </p:cNvPr>
          <p:cNvSpPr/>
          <p:nvPr/>
        </p:nvSpPr>
        <p:spPr>
          <a:xfrm>
            <a:off x="197337" y="631690"/>
            <a:ext cx="117973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lang="ru-RU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родукты </a:t>
            </a:r>
            <a:r>
              <a:rPr lang="ru-RU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оздают маркетологи </a:t>
            </a:r>
            <a:r>
              <a:rPr lang="ru-RU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в продуктовом </a:t>
            </a:r>
            <a:r>
              <a:rPr lang="ru-RU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талоге и </a:t>
            </a:r>
            <a:r>
              <a:rPr lang="ru-RU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управляют их жизненным циклом.</a:t>
            </a:r>
            <a:endParaRPr lang="ru-RU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95" name="Marketing &amp; Sales">
            <a:extLst>
              <a:ext uri="{FF2B5EF4-FFF2-40B4-BE49-F238E27FC236}">
                <a16:creationId xmlns:a16="http://schemas.microsoft.com/office/drawing/2014/main" xmlns="" id="{B72F5F4B-341F-1041-B18A-AB651BF6B5C6}"/>
              </a:ext>
            </a:extLst>
          </p:cNvPr>
          <p:cNvSpPr/>
          <p:nvPr/>
        </p:nvSpPr>
        <p:spPr>
          <a:xfrm>
            <a:off x="455390" y="1579676"/>
            <a:ext cx="2145235" cy="1270001"/>
          </a:xfrm>
          <a:prstGeom prst="rightArrow">
            <a:avLst>
              <a:gd name="adj1" fmla="val 32000"/>
              <a:gd name="adj2" fmla="val 64000"/>
            </a:avLst>
          </a:prstGeom>
          <a:solidFill>
            <a:schemeClr val="accent4">
              <a:lumMod val="20000"/>
              <a:lumOff val="80000"/>
            </a:schemeClr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/>
          <a:p>
            <a:pPr marL="0" marR="0" lvl="0" indent="0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Marketing &amp; Sales</a:t>
            </a:r>
          </a:p>
        </p:txBody>
      </p:sp>
      <p:sp>
        <p:nvSpPr>
          <p:cNvPr id="96" name="Product Management">
            <a:extLst>
              <a:ext uri="{FF2B5EF4-FFF2-40B4-BE49-F238E27FC236}">
                <a16:creationId xmlns:a16="http://schemas.microsoft.com/office/drawing/2014/main" xmlns="" id="{73D26B89-FBFB-C14E-BD2E-9FB3289424A9}"/>
              </a:ext>
            </a:extLst>
          </p:cNvPr>
          <p:cNvSpPr/>
          <p:nvPr/>
        </p:nvSpPr>
        <p:spPr>
          <a:xfrm>
            <a:off x="455390" y="3161112"/>
            <a:ext cx="2145235" cy="1270001"/>
          </a:xfrm>
          <a:prstGeom prst="rightArrow">
            <a:avLst>
              <a:gd name="adj1" fmla="val 32000"/>
              <a:gd name="adj2" fmla="val 6400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/>
          <a:p>
            <a:pPr marL="0" marR="0" lvl="0" indent="0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Product Management</a:t>
            </a:r>
          </a:p>
        </p:txBody>
      </p:sp>
      <p:sp>
        <p:nvSpPr>
          <p:cNvPr id="97" name="Engineering">
            <a:extLst>
              <a:ext uri="{FF2B5EF4-FFF2-40B4-BE49-F238E27FC236}">
                <a16:creationId xmlns:a16="http://schemas.microsoft.com/office/drawing/2014/main" xmlns="" id="{5A38F9BE-18BC-6041-B109-AA05E11DC9C5}"/>
              </a:ext>
            </a:extLst>
          </p:cNvPr>
          <p:cNvSpPr/>
          <p:nvPr/>
        </p:nvSpPr>
        <p:spPr>
          <a:xfrm>
            <a:off x="455390" y="4742548"/>
            <a:ext cx="2145235" cy="1270001"/>
          </a:xfrm>
          <a:prstGeom prst="rightArrow">
            <a:avLst>
              <a:gd name="adj1" fmla="val 32000"/>
              <a:gd name="adj2" fmla="val 6400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/>
          <a:p>
            <a:pPr marL="0" marR="0" lvl="0" indent="0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Engineering </a:t>
            </a:r>
          </a:p>
        </p:txBody>
      </p:sp>
      <p:sp>
        <p:nvSpPr>
          <p:cNvPr id="98" name="Технические возможности платформы">
            <a:extLst>
              <a:ext uri="{FF2B5EF4-FFF2-40B4-BE49-F238E27FC236}">
                <a16:creationId xmlns:a16="http://schemas.microsoft.com/office/drawing/2014/main" xmlns="" id="{FC61FCF6-CCEA-D046-85DF-E898B3B07820}"/>
              </a:ext>
            </a:extLst>
          </p:cNvPr>
          <p:cNvSpPr/>
          <p:nvPr/>
        </p:nvSpPr>
        <p:spPr>
          <a:xfrm>
            <a:off x="3173092" y="4742548"/>
            <a:ext cx="6372268" cy="1371601"/>
          </a:xfrm>
          <a:prstGeom prst="rect">
            <a:avLst/>
          </a:prstGeom>
          <a:solidFill>
            <a:srgbClr val="FFFFFF"/>
          </a:solidFill>
          <a:ln w="12700">
            <a:solidFill>
              <a:srgbClr val="522486"/>
            </a:solidFill>
            <a:miter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10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Технические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 </a:t>
            </a:r>
            <a:r>
              <a:rPr kumimoji="0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возможности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 </a:t>
            </a:r>
            <a:r>
              <a:rPr kumimoji="0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платформы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/>
              <a:cs typeface="Arial Black"/>
              <a:sym typeface="Arial Black"/>
            </a:endParaRPr>
          </a:p>
        </p:txBody>
      </p:sp>
      <p:sp>
        <p:nvSpPr>
          <p:cNvPr id="99" name="Service Catalog">
            <a:extLst>
              <a:ext uri="{FF2B5EF4-FFF2-40B4-BE49-F238E27FC236}">
                <a16:creationId xmlns:a16="http://schemas.microsoft.com/office/drawing/2014/main" xmlns="" id="{FF47075A-1875-E345-AD07-2B30AC24FBD3}"/>
              </a:ext>
            </a:extLst>
          </p:cNvPr>
          <p:cNvSpPr/>
          <p:nvPr/>
        </p:nvSpPr>
        <p:spPr>
          <a:xfrm>
            <a:off x="3173092" y="3098604"/>
            <a:ext cx="6372268" cy="1395016"/>
          </a:xfrm>
          <a:prstGeom prst="rect">
            <a:avLst/>
          </a:prstGeom>
          <a:solidFill>
            <a:srgbClr val="FFFFFF"/>
          </a:solidFill>
          <a:ln w="12700">
            <a:solidFill>
              <a:srgbClr val="522486"/>
            </a:solidFill>
            <a:miter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10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Service Catalog</a:t>
            </a:r>
          </a:p>
        </p:txBody>
      </p:sp>
      <p:sp>
        <p:nvSpPr>
          <p:cNvPr id="100" name="Product Catalog">
            <a:extLst>
              <a:ext uri="{FF2B5EF4-FFF2-40B4-BE49-F238E27FC236}">
                <a16:creationId xmlns:a16="http://schemas.microsoft.com/office/drawing/2014/main" xmlns="" id="{E643E727-706E-4E48-92C1-B97A38D354CC}"/>
              </a:ext>
            </a:extLst>
          </p:cNvPr>
          <p:cNvSpPr/>
          <p:nvPr/>
        </p:nvSpPr>
        <p:spPr>
          <a:xfrm>
            <a:off x="3173092" y="1517168"/>
            <a:ext cx="6372268" cy="13950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rgbClr val="522486"/>
            </a:solidFill>
            <a:miter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10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Product Catalog</a:t>
            </a:r>
          </a:p>
        </p:txBody>
      </p:sp>
      <p:sp>
        <p:nvSpPr>
          <p:cNvPr id="101" name="Бизнес-сервис: активация вклада">
            <a:extLst>
              <a:ext uri="{FF2B5EF4-FFF2-40B4-BE49-F238E27FC236}">
                <a16:creationId xmlns:a16="http://schemas.microsoft.com/office/drawing/2014/main" xmlns="" id="{26935B51-5FB1-DC41-B5F3-8F3FD73FBEE4}"/>
              </a:ext>
            </a:extLst>
          </p:cNvPr>
          <p:cNvSpPr/>
          <p:nvPr/>
        </p:nvSpPr>
        <p:spPr>
          <a:xfrm>
            <a:off x="3522903" y="3503751"/>
            <a:ext cx="2358482" cy="851994"/>
          </a:xfrm>
          <a:prstGeom prst="roundRect">
            <a:avLst>
              <a:gd name="adj" fmla="val 8575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Бизнес-сервис: активация вклада</a:t>
            </a:r>
          </a:p>
        </p:txBody>
      </p:sp>
      <p:sp>
        <p:nvSpPr>
          <p:cNvPr id="104" name="Бизнес-сервис: начисление %">
            <a:extLst>
              <a:ext uri="{FF2B5EF4-FFF2-40B4-BE49-F238E27FC236}">
                <a16:creationId xmlns:a16="http://schemas.microsoft.com/office/drawing/2014/main" xmlns="" id="{5918D5D4-AFFC-BD42-A59B-71C67348B1A7}"/>
              </a:ext>
            </a:extLst>
          </p:cNvPr>
          <p:cNvSpPr/>
          <p:nvPr/>
        </p:nvSpPr>
        <p:spPr>
          <a:xfrm>
            <a:off x="5993053" y="3503751"/>
            <a:ext cx="1516536" cy="851994"/>
          </a:xfrm>
          <a:prstGeom prst="roundRect">
            <a:avLst>
              <a:gd name="adj" fmla="val 8575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Бизнес-сервис: начисление %</a:t>
            </a:r>
          </a:p>
        </p:txBody>
      </p:sp>
      <p:sp>
        <p:nvSpPr>
          <p:cNvPr id="106" name="Бизнес-сервис: …">
            <a:extLst>
              <a:ext uri="{FF2B5EF4-FFF2-40B4-BE49-F238E27FC236}">
                <a16:creationId xmlns:a16="http://schemas.microsoft.com/office/drawing/2014/main" xmlns="" id="{3276E236-384C-1747-875B-9833500D28AC}"/>
              </a:ext>
            </a:extLst>
          </p:cNvPr>
          <p:cNvSpPr/>
          <p:nvPr/>
        </p:nvSpPr>
        <p:spPr>
          <a:xfrm>
            <a:off x="7679012" y="3503751"/>
            <a:ext cx="1516536" cy="851994"/>
          </a:xfrm>
          <a:prstGeom prst="roundRect">
            <a:avLst>
              <a:gd name="adj" fmla="val 8575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Бизнес-сервис: …</a:t>
            </a:r>
          </a:p>
        </p:txBody>
      </p:sp>
      <p:sp>
        <p:nvSpPr>
          <p:cNvPr id="107" name="Бандл: «Премиум»">
            <a:extLst>
              <a:ext uri="{FF2B5EF4-FFF2-40B4-BE49-F238E27FC236}">
                <a16:creationId xmlns:a16="http://schemas.microsoft.com/office/drawing/2014/main" xmlns="" id="{048DFB48-CFF1-F64B-AD45-BD51C2B44E93}"/>
              </a:ext>
            </a:extLst>
          </p:cNvPr>
          <p:cNvSpPr/>
          <p:nvPr/>
        </p:nvSpPr>
        <p:spPr>
          <a:xfrm>
            <a:off x="4741573" y="1892782"/>
            <a:ext cx="3540716" cy="905703"/>
          </a:xfrm>
          <a:prstGeom prst="roundRect">
            <a:avLst>
              <a:gd name="adj" fmla="val 8066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Бандл: «Премиум»</a:t>
            </a:r>
          </a:p>
        </p:txBody>
      </p:sp>
      <p:sp>
        <p:nvSpPr>
          <p:cNvPr id="108" name="Продукт: Вклад сохраняй@онлайн">
            <a:extLst>
              <a:ext uri="{FF2B5EF4-FFF2-40B4-BE49-F238E27FC236}">
                <a16:creationId xmlns:a16="http://schemas.microsoft.com/office/drawing/2014/main" xmlns="" id="{9408A192-9550-D14D-B460-9325735D4D27}"/>
              </a:ext>
            </a:extLst>
          </p:cNvPr>
          <p:cNvSpPr/>
          <p:nvPr/>
        </p:nvSpPr>
        <p:spPr>
          <a:xfrm>
            <a:off x="5142492" y="2222012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Продукт: Вклад сохраняй@онлайн</a:t>
            </a:r>
          </a:p>
        </p:txBody>
      </p:sp>
      <p:sp>
        <p:nvSpPr>
          <p:cNvPr id="109" name="Продукт: Льготная тарификация">
            <a:extLst>
              <a:ext uri="{FF2B5EF4-FFF2-40B4-BE49-F238E27FC236}">
                <a16:creationId xmlns:a16="http://schemas.microsoft.com/office/drawing/2014/main" xmlns="" id="{AB7126BD-ABC3-354B-BF0E-0CA25B430E40}"/>
              </a:ext>
            </a:extLst>
          </p:cNvPr>
          <p:cNvSpPr/>
          <p:nvPr/>
        </p:nvSpPr>
        <p:spPr>
          <a:xfrm>
            <a:off x="6488692" y="2222012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Продукт: Льготная тарификация</a:t>
            </a:r>
          </a:p>
        </p:txBody>
      </p:sp>
      <p:sp>
        <p:nvSpPr>
          <p:cNvPr id="110" name="Доступно: никому">
            <a:extLst>
              <a:ext uri="{FF2B5EF4-FFF2-40B4-BE49-F238E27FC236}">
                <a16:creationId xmlns:a16="http://schemas.microsoft.com/office/drawing/2014/main" xmlns="" id="{C6E3AC79-0ED1-ED46-8A1B-01C87C2FE7BB}"/>
              </a:ext>
            </a:extLst>
          </p:cNvPr>
          <p:cNvSpPr/>
          <p:nvPr/>
        </p:nvSpPr>
        <p:spPr>
          <a:xfrm>
            <a:off x="6865125" y="2142699"/>
            <a:ext cx="899444" cy="152401"/>
          </a:xfrm>
          <a:prstGeom prst="rect">
            <a:avLst/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 anchor="ctr"/>
          <a:lstStyle>
            <a:lvl1pPr algn="ctr">
              <a:lnSpc>
                <a:spcPct val="90000"/>
              </a:lnSpc>
              <a:defRPr sz="5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Доступно: никому</a:t>
            </a:r>
          </a:p>
        </p:txBody>
      </p:sp>
      <p:sp>
        <p:nvSpPr>
          <p:cNvPr id="111" name="Доступно: никому">
            <a:extLst>
              <a:ext uri="{FF2B5EF4-FFF2-40B4-BE49-F238E27FC236}">
                <a16:creationId xmlns:a16="http://schemas.microsoft.com/office/drawing/2014/main" xmlns="" id="{1323FFF7-1A42-F348-BDD2-61717ED3E600}"/>
              </a:ext>
            </a:extLst>
          </p:cNvPr>
          <p:cNvSpPr/>
          <p:nvPr/>
        </p:nvSpPr>
        <p:spPr>
          <a:xfrm>
            <a:off x="5499876" y="2142699"/>
            <a:ext cx="899444" cy="152401"/>
          </a:xfrm>
          <a:prstGeom prst="rect">
            <a:avLst/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 anchor="ctr"/>
          <a:lstStyle>
            <a:lvl1pPr algn="ctr">
              <a:lnSpc>
                <a:spcPct val="90000"/>
              </a:lnSpc>
              <a:defRPr sz="5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Доступно</a:t>
            </a:r>
            <a:r>
              <a:rPr kumimoji="0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: </a:t>
            </a:r>
            <a:r>
              <a:rPr kumimoji="0" sz="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никому</a:t>
            </a:r>
            <a:endParaRPr kumimoji="0" sz="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12" name="Product Instance">
            <a:extLst>
              <a:ext uri="{FF2B5EF4-FFF2-40B4-BE49-F238E27FC236}">
                <a16:creationId xmlns:a16="http://schemas.microsoft.com/office/drawing/2014/main" xmlns="" id="{9A190358-3F17-3E41-A4EB-378CC6F6D40A}"/>
              </a:ext>
            </a:extLst>
          </p:cNvPr>
          <p:cNvSpPr/>
          <p:nvPr/>
        </p:nvSpPr>
        <p:spPr>
          <a:xfrm>
            <a:off x="10107462" y="3301804"/>
            <a:ext cx="1933165" cy="2778840"/>
          </a:xfrm>
          <a:prstGeom prst="rect">
            <a:avLst/>
          </a:prstGeom>
          <a:solidFill>
            <a:srgbClr val="FFFFFF"/>
          </a:solidFill>
          <a:ln w="12700">
            <a:solidFill>
              <a:srgbClr val="522486"/>
            </a:solidFill>
            <a:miter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10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Product Instance</a:t>
            </a:r>
          </a:p>
        </p:txBody>
      </p:sp>
      <p:sp>
        <p:nvSpPr>
          <p:cNvPr id="113" name="Мужчина">
            <a:extLst>
              <a:ext uri="{FF2B5EF4-FFF2-40B4-BE49-F238E27FC236}">
                <a16:creationId xmlns:a16="http://schemas.microsoft.com/office/drawing/2014/main" xmlns="" id="{BE168E01-A6EB-5845-BFAA-C9ABD43E42E7}"/>
              </a:ext>
            </a:extLst>
          </p:cNvPr>
          <p:cNvSpPr/>
          <p:nvPr/>
        </p:nvSpPr>
        <p:spPr>
          <a:xfrm>
            <a:off x="10275180" y="3821934"/>
            <a:ext cx="201979" cy="5450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7" h="21600" extrusionOk="0">
                <a:moveTo>
                  <a:pt x="10777" y="0"/>
                </a:moveTo>
                <a:cubicBezTo>
                  <a:pt x="9509" y="0"/>
                  <a:pt x="8239" y="180"/>
                  <a:pt x="7271" y="540"/>
                </a:cubicBezTo>
                <a:cubicBezTo>
                  <a:pt x="5335" y="1259"/>
                  <a:pt x="5335" y="2425"/>
                  <a:pt x="7271" y="3144"/>
                </a:cubicBezTo>
                <a:cubicBezTo>
                  <a:pt x="9206" y="3863"/>
                  <a:pt x="12348" y="3863"/>
                  <a:pt x="14284" y="3144"/>
                </a:cubicBezTo>
                <a:cubicBezTo>
                  <a:pt x="16220" y="2425"/>
                  <a:pt x="16220" y="1259"/>
                  <a:pt x="14284" y="540"/>
                </a:cubicBezTo>
                <a:cubicBezTo>
                  <a:pt x="13316" y="180"/>
                  <a:pt x="12046" y="0"/>
                  <a:pt x="10777" y="0"/>
                </a:cubicBezTo>
                <a:close/>
                <a:moveTo>
                  <a:pt x="4845" y="4060"/>
                </a:moveTo>
                <a:cubicBezTo>
                  <a:pt x="2970" y="4060"/>
                  <a:pt x="1445" y="4331"/>
                  <a:pt x="907" y="4563"/>
                </a:cubicBezTo>
                <a:cubicBezTo>
                  <a:pt x="-23" y="4963"/>
                  <a:pt x="-21" y="5438"/>
                  <a:pt x="8" y="5606"/>
                </a:cubicBezTo>
                <a:lnTo>
                  <a:pt x="8" y="12393"/>
                </a:lnTo>
                <a:cubicBezTo>
                  <a:pt x="8" y="12733"/>
                  <a:pt x="732" y="13004"/>
                  <a:pt x="1648" y="13004"/>
                </a:cubicBezTo>
                <a:cubicBezTo>
                  <a:pt x="2563" y="13004"/>
                  <a:pt x="3292" y="12728"/>
                  <a:pt x="3292" y="12393"/>
                </a:cubicBezTo>
                <a:lnTo>
                  <a:pt x="3292" y="6777"/>
                </a:lnTo>
                <a:lnTo>
                  <a:pt x="4791" y="6777"/>
                </a:lnTo>
                <a:lnTo>
                  <a:pt x="4791" y="12641"/>
                </a:lnTo>
                <a:lnTo>
                  <a:pt x="4804" y="12641"/>
                </a:lnTo>
                <a:lnTo>
                  <a:pt x="4804" y="20628"/>
                </a:lnTo>
                <a:cubicBezTo>
                  <a:pt x="4804" y="21163"/>
                  <a:pt x="5982" y="21600"/>
                  <a:pt x="7421" y="21600"/>
                </a:cubicBezTo>
                <a:cubicBezTo>
                  <a:pt x="8860" y="21600"/>
                  <a:pt x="10037" y="21163"/>
                  <a:pt x="10037" y="20628"/>
                </a:cubicBezTo>
                <a:lnTo>
                  <a:pt x="10037" y="12641"/>
                </a:lnTo>
                <a:lnTo>
                  <a:pt x="10777" y="12641"/>
                </a:lnTo>
                <a:lnTo>
                  <a:pt x="11504" y="12641"/>
                </a:lnTo>
                <a:lnTo>
                  <a:pt x="11504" y="20628"/>
                </a:lnTo>
                <a:cubicBezTo>
                  <a:pt x="11504" y="21163"/>
                  <a:pt x="12682" y="21600"/>
                  <a:pt x="14121" y="21600"/>
                </a:cubicBezTo>
                <a:cubicBezTo>
                  <a:pt x="15559" y="21600"/>
                  <a:pt x="16737" y="21163"/>
                  <a:pt x="16737" y="20628"/>
                </a:cubicBezTo>
                <a:lnTo>
                  <a:pt x="16737" y="12636"/>
                </a:lnTo>
                <a:lnTo>
                  <a:pt x="16750" y="12636"/>
                </a:lnTo>
                <a:lnTo>
                  <a:pt x="16750" y="6772"/>
                </a:lnTo>
                <a:lnTo>
                  <a:pt x="18249" y="6772"/>
                </a:lnTo>
                <a:lnTo>
                  <a:pt x="18249" y="12388"/>
                </a:lnTo>
                <a:cubicBezTo>
                  <a:pt x="18249" y="12728"/>
                  <a:pt x="18973" y="12997"/>
                  <a:pt x="19889" y="12997"/>
                </a:cubicBezTo>
                <a:cubicBezTo>
                  <a:pt x="20805" y="12997"/>
                  <a:pt x="21533" y="12723"/>
                  <a:pt x="21533" y="12388"/>
                </a:cubicBezTo>
                <a:lnTo>
                  <a:pt x="21533" y="5606"/>
                </a:lnTo>
                <a:cubicBezTo>
                  <a:pt x="21577" y="5438"/>
                  <a:pt x="21564" y="4957"/>
                  <a:pt x="20634" y="4563"/>
                </a:cubicBezTo>
                <a:cubicBezTo>
                  <a:pt x="20096" y="4336"/>
                  <a:pt x="18566" y="4060"/>
                  <a:pt x="16691" y="4060"/>
                </a:cubicBezTo>
                <a:lnTo>
                  <a:pt x="10777" y="4060"/>
                </a:lnTo>
                <a:lnTo>
                  <a:pt x="4845" y="4060"/>
                </a:ln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 kern="0">
              <a:solidFill>
                <a:srgbClr val="FFFFFF"/>
              </a:solidFill>
              <a:ea typeface="+mj-ea"/>
              <a:cs typeface="Calibri"/>
              <a:sym typeface="Calibri"/>
            </a:endParaRPr>
          </a:p>
        </p:txBody>
      </p:sp>
      <p:sp>
        <p:nvSpPr>
          <p:cNvPr id="114" name="Экземпляр: пакет «Премиум»">
            <a:extLst>
              <a:ext uri="{FF2B5EF4-FFF2-40B4-BE49-F238E27FC236}">
                <a16:creationId xmlns:a16="http://schemas.microsoft.com/office/drawing/2014/main" xmlns="" id="{E5FE20EE-C69A-C445-AD28-552BE681290E}"/>
              </a:ext>
            </a:extLst>
          </p:cNvPr>
          <p:cNvSpPr/>
          <p:nvPr/>
        </p:nvSpPr>
        <p:spPr>
          <a:xfrm>
            <a:off x="10818283" y="3834634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Экземпляр: пакет «Премиум»</a:t>
            </a:r>
          </a:p>
        </p:txBody>
      </p:sp>
      <p:sp>
        <p:nvSpPr>
          <p:cNvPr id="115" name="Линия">
            <a:extLst>
              <a:ext uri="{FF2B5EF4-FFF2-40B4-BE49-F238E27FC236}">
                <a16:creationId xmlns:a16="http://schemas.microsoft.com/office/drawing/2014/main" xmlns="" id="{44ACD58F-BC14-5F43-90B7-7FAA8786D2E0}"/>
              </a:ext>
            </a:extLst>
          </p:cNvPr>
          <p:cNvSpPr/>
          <p:nvPr/>
        </p:nvSpPr>
        <p:spPr>
          <a:xfrm>
            <a:off x="10540382" y="4094435"/>
            <a:ext cx="201979" cy="1"/>
          </a:xfrm>
          <a:prstGeom prst="line">
            <a:avLst/>
          </a:prstGeom>
          <a:ln w="25400">
            <a:solidFill>
              <a:srgbClr val="000000"/>
            </a:solidFill>
            <a:prstDash val="sysDot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sp>
        <p:nvSpPr>
          <p:cNvPr id="116" name="Доступно: сегмент: премиум">
            <a:extLst>
              <a:ext uri="{FF2B5EF4-FFF2-40B4-BE49-F238E27FC236}">
                <a16:creationId xmlns:a16="http://schemas.microsoft.com/office/drawing/2014/main" xmlns="" id="{1F4A7DF2-2506-1D46-8D97-D1BF598D0B0C}"/>
              </a:ext>
            </a:extLst>
          </p:cNvPr>
          <p:cNvSpPr/>
          <p:nvPr/>
        </p:nvSpPr>
        <p:spPr>
          <a:xfrm>
            <a:off x="7129043" y="1821114"/>
            <a:ext cx="1062477" cy="152401"/>
          </a:xfrm>
          <a:prstGeom prst="rect">
            <a:avLst/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 anchor="ctr"/>
          <a:lstStyle>
            <a:lvl1pPr algn="ctr">
              <a:lnSpc>
                <a:spcPct val="90000"/>
              </a:lnSpc>
              <a:defRPr sz="5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Доступно</a:t>
            </a:r>
            <a:r>
              <a:rPr kumimoji="0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: </a:t>
            </a:r>
            <a:r>
              <a:rPr kumimoji="0" sz="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сегмент</a:t>
            </a:r>
            <a:r>
              <a:rPr kumimoji="0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: </a:t>
            </a:r>
            <a:r>
              <a:rPr kumimoji="0" sz="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премиум</a:t>
            </a:r>
            <a:r>
              <a:rPr kumimoji="0" lang="ru-RU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, </a:t>
            </a:r>
            <a:r>
              <a:rPr kumimoji="0" lang="ru-RU" sz="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сбол</a:t>
            </a:r>
            <a:endParaRPr kumimoji="0" sz="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17" name="BPM: активация вклада">
            <a:extLst>
              <a:ext uri="{FF2B5EF4-FFF2-40B4-BE49-F238E27FC236}">
                <a16:creationId xmlns:a16="http://schemas.microsoft.com/office/drawing/2014/main" xmlns="" id="{181B8FD7-8183-AF47-BA30-9B73F7D1906A}"/>
              </a:ext>
            </a:extLst>
          </p:cNvPr>
          <p:cNvSpPr/>
          <p:nvPr/>
        </p:nvSpPr>
        <p:spPr>
          <a:xfrm>
            <a:off x="3624503" y="5263670"/>
            <a:ext cx="1062478" cy="519602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BPM: активация вклада</a:t>
            </a:r>
          </a:p>
        </p:txBody>
      </p:sp>
      <p:sp>
        <p:nvSpPr>
          <p:cNvPr id="118" name="BPM: начисление %">
            <a:extLst>
              <a:ext uri="{FF2B5EF4-FFF2-40B4-BE49-F238E27FC236}">
                <a16:creationId xmlns:a16="http://schemas.microsoft.com/office/drawing/2014/main" xmlns="" id="{831A903F-376C-E340-910A-C04EB298E815}"/>
              </a:ext>
            </a:extLst>
          </p:cNvPr>
          <p:cNvSpPr/>
          <p:nvPr/>
        </p:nvSpPr>
        <p:spPr>
          <a:xfrm>
            <a:off x="4879885" y="5263670"/>
            <a:ext cx="1062478" cy="519602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BPM: начисление %</a:t>
            </a:r>
          </a:p>
        </p:txBody>
      </p:sp>
      <p:sp>
        <p:nvSpPr>
          <p:cNvPr id="119" name="…">
            <a:extLst>
              <a:ext uri="{FF2B5EF4-FFF2-40B4-BE49-F238E27FC236}">
                <a16:creationId xmlns:a16="http://schemas.microsoft.com/office/drawing/2014/main" xmlns="" id="{9FBE90C9-D20E-BF41-8826-7553295BAF9F}"/>
              </a:ext>
            </a:extLst>
          </p:cNvPr>
          <p:cNvSpPr/>
          <p:nvPr/>
        </p:nvSpPr>
        <p:spPr>
          <a:xfrm>
            <a:off x="6135267" y="5263670"/>
            <a:ext cx="1062477" cy="519602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…</a:t>
            </a:r>
          </a:p>
        </p:txBody>
      </p:sp>
      <p:sp>
        <p:nvSpPr>
          <p:cNvPr id="120" name="Акция: Вклад сохраняй@онлайн 9 мая 9% годовых">
            <a:extLst>
              <a:ext uri="{FF2B5EF4-FFF2-40B4-BE49-F238E27FC236}">
                <a16:creationId xmlns:a16="http://schemas.microsoft.com/office/drawing/2014/main" xmlns="" id="{6AAAE6D9-B948-FA46-914C-9B3E7A63C07F}"/>
              </a:ext>
            </a:extLst>
          </p:cNvPr>
          <p:cNvSpPr/>
          <p:nvPr/>
        </p:nvSpPr>
        <p:spPr>
          <a:xfrm>
            <a:off x="3340320" y="2136941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Акция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: </a:t>
            </a:r>
            <a:r>
              <a:rPr kumimoji="0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Вклад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 </a:t>
            </a:r>
            <a:r>
              <a:rPr kumimoji="0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сохраняй@онлайн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 9 </a:t>
            </a:r>
            <a:r>
              <a:rPr kumimoji="0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мая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 9% </a:t>
            </a:r>
            <a:r>
              <a:rPr kumimoji="0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годовых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21" name="Доступно: пенсионеры">
            <a:extLst>
              <a:ext uri="{FF2B5EF4-FFF2-40B4-BE49-F238E27FC236}">
                <a16:creationId xmlns:a16="http://schemas.microsoft.com/office/drawing/2014/main" xmlns="" id="{C1674F26-2BDF-114F-9954-96451BC4F271}"/>
              </a:ext>
            </a:extLst>
          </p:cNvPr>
          <p:cNvSpPr/>
          <p:nvPr/>
        </p:nvSpPr>
        <p:spPr>
          <a:xfrm>
            <a:off x="3421837" y="2034723"/>
            <a:ext cx="899444" cy="152401"/>
          </a:xfrm>
          <a:prstGeom prst="rect">
            <a:avLst/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 anchor="ctr"/>
          <a:lstStyle>
            <a:lvl1pPr algn="ctr">
              <a:lnSpc>
                <a:spcPct val="90000"/>
              </a:lnSpc>
              <a:defRPr sz="5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Доступно</a:t>
            </a:r>
            <a:r>
              <a:rPr kumimoji="0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: </a:t>
            </a:r>
            <a:r>
              <a:rPr kumimoji="0" sz="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пенсионеры</a:t>
            </a:r>
            <a:r>
              <a:rPr kumimoji="0" lang="ru-RU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, </a:t>
            </a:r>
            <a:r>
              <a:rPr kumimoji="0" lang="ru-RU" sz="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сбол</a:t>
            </a:r>
            <a:endParaRPr kumimoji="0" sz="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22" name="КМД">
            <a:extLst>
              <a:ext uri="{FF2B5EF4-FFF2-40B4-BE49-F238E27FC236}">
                <a16:creationId xmlns:a16="http://schemas.microsoft.com/office/drawing/2014/main" xmlns="" id="{831B378F-1A96-FF4D-9AC8-96BFAEEF4931}"/>
              </a:ext>
            </a:extLst>
          </p:cNvPr>
          <p:cNvSpPr/>
          <p:nvPr/>
        </p:nvSpPr>
        <p:spPr>
          <a:xfrm>
            <a:off x="7764569" y="5263670"/>
            <a:ext cx="1062477" cy="519602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12700">
            <a:solidFill>
              <a:srgbClr val="522486"/>
            </a:solidFill>
            <a:miter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1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КМД</a:t>
            </a:r>
          </a:p>
        </p:txBody>
      </p:sp>
      <p:sp>
        <p:nvSpPr>
          <p:cNvPr id="123" name="Премиум клиент">
            <a:extLst>
              <a:ext uri="{FF2B5EF4-FFF2-40B4-BE49-F238E27FC236}">
                <a16:creationId xmlns:a16="http://schemas.microsoft.com/office/drawing/2014/main" xmlns="" id="{44421586-4B95-1746-93D5-BE43861DB617}"/>
              </a:ext>
            </a:extLst>
          </p:cNvPr>
          <p:cNvSpPr txBox="1"/>
          <p:nvPr/>
        </p:nvSpPr>
        <p:spPr>
          <a:xfrm>
            <a:off x="10142580" y="4326539"/>
            <a:ext cx="467180" cy="3200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800"/>
            </a:lvl1pPr>
          </a:lstStyle>
          <a:p>
            <a:pPr hangingPunct="0"/>
            <a:r>
              <a:rPr kern="0">
                <a:solidFill>
                  <a:srgbClr val="595959"/>
                </a:solidFill>
                <a:latin typeface="Arial Narrow"/>
                <a:cs typeface="Arial Narrow"/>
                <a:sym typeface="Arial Narrow"/>
              </a:rPr>
              <a:t>Премиум клиент</a:t>
            </a:r>
          </a:p>
        </p:txBody>
      </p:sp>
      <p:pic>
        <p:nvPicPr>
          <p:cNvPr id="124" name="terminal.png" descr="terminal.png">
            <a:extLst>
              <a:ext uri="{FF2B5EF4-FFF2-40B4-BE49-F238E27FC236}">
                <a16:creationId xmlns:a16="http://schemas.microsoft.com/office/drawing/2014/main" xmlns="" id="{68C10BD5-BEC7-4547-8197-08247A1F884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06120" y="5545169"/>
            <a:ext cx="201325" cy="201325"/>
          </a:xfrm>
          <a:prstGeom prst="rect">
            <a:avLst/>
          </a:prstGeom>
          <a:ln w="12700">
            <a:miter lim="400000"/>
          </a:ln>
        </p:spPr>
      </p:pic>
      <p:pic>
        <p:nvPicPr>
          <p:cNvPr id="125" name="terminal.png" descr="terminal.png">
            <a:extLst>
              <a:ext uri="{FF2B5EF4-FFF2-40B4-BE49-F238E27FC236}">
                <a16:creationId xmlns:a16="http://schemas.microsoft.com/office/drawing/2014/main" xmlns="" id="{D225795F-3CE9-6140-9AD1-D2C5124765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98159" y="5545169"/>
            <a:ext cx="201325" cy="201325"/>
          </a:xfrm>
          <a:prstGeom prst="rect">
            <a:avLst/>
          </a:prstGeom>
          <a:ln w="12700">
            <a:miter lim="400000"/>
          </a:ln>
        </p:spPr>
      </p:pic>
      <p:pic>
        <p:nvPicPr>
          <p:cNvPr id="126" name="terminal.png" descr="terminal.png">
            <a:extLst>
              <a:ext uri="{FF2B5EF4-FFF2-40B4-BE49-F238E27FC236}">
                <a16:creationId xmlns:a16="http://schemas.microsoft.com/office/drawing/2014/main" xmlns="" id="{85644ACE-12EB-CB45-A869-16903F70C6B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19268" y="5545169"/>
            <a:ext cx="201325" cy="201325"/>
          </a:xfrm>
          <a:prstGeom prst="rect">
            <a:avLst/>
          </a:prstGeom>
          <a:ln w="12700">
            <a:miter lim="400000"/>
          </a:ln>
        </p:spPr>
      </p:pic>
      <p:sp>
        <p:nvSpPr>
          <p:cNvPr id="131" name="Мужчина">
            <a:extLst>
              <a:ext uri="{FF2B5EF4-FFF2-40B4-BE49-F238E27FC236}">
                <a16:creationId xmlns:a16="http://schemas.microsoft.com/office/drawing/2014/main" xmlns="" id="{6A368F79-3438-2743-8D12-2D59BC951567}"/>
              </a:ext>
            </a:extLst>
          </p:cNvPr>
          <p:cNvSpPr/>
          <p:nvPr/>
        </p:nvSpPr>
        <p:spPr>
          <a:xfrm>
            <a:off x="10275179" y="4857903"/>
            <a:ext cx="201979" cy="5450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7" h="21600" extrusionOk="0">
                <a:moveTo>
                  <a:pt x="10777" y="0"/>
                </a:moveTo>
                <a:cubicBezTo>
                  <a:pt x="9509" y="0"/>
                  <a:pt x="8239" y="180"/>
                  <a:pt x="7271" y="540"/>
                </a:cubicBezTo>
                <a:cubicBezTo>
                  <a:pt x="5335" y="1259"/>
                  <a:pt x="5335" y="2425"/>
                  <a:pt x="7271" y="3144"/>
                </a:cubicBezTo>
                <a:cubicBezTo>
                  <a:pt x="9206" y="3863"/>
                  <a:pt x="12348" y="3863"/>
                  <a:pt x="14284" y="3144"/>
                </a:cubicBezTo>
                <a:cubicBezTo>
                  <a:pt x="16220" y="2425"/>
                  <a:pt x="16220" y="1259"/>
                  <a:pt x="14284" y="540"/>
                </a:cubicBezTo>
                <a:cubicBezTo>
                  <a:pt x="13316" y="180"/>
                  <a:pt x="12046" y="0"/>
                  <a:pt x="10777" y="0"/>
                </a:cubicBezTo>
                <a:close/>
                <a:moveTo>
                  <a:pt x="4845" y="4060"/>
                </a:moveTo>
                <a:cubicBezTo>
                  <a:pt x="2970" y="4060"/>
                  <a:pt x="1445" y="4331"/>
                  <a:pt x="907" y="4563"/>
                </a:cubicBezTo>
                <a:cubicBezTo>
                  <a:pt x="-23" y="4963"/>
                  <a:pt x="-21" y="5438"/>
                  <a:pt x="8" y="5606"/>
                </a:cubicBezTo>
                <a:lnTo>
                  <a:pt x="8" y="12393"/>
                </a:lnTo>
                <a:cubicBezTo>
                  <a:pt x="8" y="12733"/>
                  <a:pt x="732" y="13004"/>
                  <a:pt x="1648" y="13004"/>
                </a:cubicBezTo>
                <a:cubicBezTo>
                  <a:pt x="2563" y="13004"/>
                  <a:pt x="3292" y="12728"/>
                  <a:pt x="3292" y="12393"/>
                </a:cubicBezTo>
                <a:lnTo>
                  <a:pt x="3292" y="6777"/>
                </a:lnTo>
                <a:lnTo>
                  <a:pt x="4791" y="6777"/>
                </a:lnTo>
                <a:lnTo>
                  <a:pt x="4791" y="12641"/>
                </a:lnTo>
                <a:lnTo>
                  <a:pt x="4804" y="12641"/>
                </a:lnTo>
                <a:lnTo>
                  <a:pt x="4804" y="20628"/>
                </a:lnTo>
                <a:cubicBezTo>
                  <a:pt x="4804" y="21163"/>
                  <a:pt x="5982" y="21600"/>
                  <a:pt x="7421" y="21600"/>
                </a:cubicBezTo>
                <a:cubicBezTo>
                  <a:pt x="8860" y="21600"/>
                  <a:pt x="10037" y="21163"/>
                  <a:pt x="10037" y="20628"/>
                </a:cubicBezTo>
                <a:lnTo>
                  <a:pt x="10037" y="12641"/>
                </a:lnTo>
                <a:lnTo>
                  <a:pt x="10777" y="12641"/>
                </a:lnTo>
                <a:lnTo>
                  <a:pt x="11504" y="12641"/>
                </a:lnTo>
                <a:lnTo>
                  <a:pt x="11504" y="20628"/>
                </a:lnTo>
                <a:cubicBezTo>
                  <a:pt x="11504" y="21163"/>
                  <a:pt x="12682" y="21600"/>
                  <a:pt x="14121" y="21600"/>
                </a:cubicBezTo>
                <a:cubicBezTo>
                  <a:pt x="15559" y="21600"/>
                  <a:pt x="16737" y="21163"/>
                  <a:pt x="16737" y="20628"/>
                </a:cubicBezTo>
                <a:lnTo>
                  <a:pt x="16737" y="12636"/>
                </a:lnTo>
                <a:lnTo>
                  <a:pt x="16750" y="12636"/>
                </a:lnTo>
                <a:lnTo>
                  <a:pt x="16750" y="6772"/>
                </a:lnTo>
                <a:lnTo>
                  <a:pt x="18249" y="6772"/>
                </a:lnTo>
                <a:lnTo>
                  <a:pt x="18249" y="12388"/>
                </a:lnTo>
                <a:cubicBezTo>
                  <a:pt x="18249" y="12728"/>
                  <a:pt x="18973" y="12997"/>
                  <a:pt x="19889" y="12997"/>
                </a:cubicBezTo>
                <a:cubicBezTo>
                  <a:pt x="20805" y="12997"/>
                  <a:pt x="21533" y="12723"/>
                  <a:pt x="21533" y="12388"/>
                </a:cubicBezTo>
                <a:lnTo>
                  <a:pt x="21533" y="5606"/>
                </a:lnTo>
                <a:cubicBezTo>
                  <a:pt x="21577" y="5438"/>
                  <a:pt x="21564" y="4957"/>
                  <a:pt x="20634" y="4563"/>
                </a:cubicBezTo>
                <a:cubicBezTo>
                  <a:pt x="20096" y="4336"/>
                  <a:pt x="18566" y="4060"/>
                  <a:pt x="16691" y="4060"/>
                </a:cubicBezTo>
                <a:lnTo>
                  <a:pt x="10777" y="4060"/>
                </a:lnTo>
                <a:lnTo>
                  <a:pt x="4845" y="4060"/>
                </a:ln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 kern="0">
              <a:solidFill>
                <a:srgbClr val="FFFFFF"/>
              </a:solidFill>
              <a:ea typeface="+mj-ea"/>
              <a:cs typeface="Calibri"/>
              <a:sym typeface="Calibri"/>
            </a:endParaRPr>
          </a:p>
        </p:txBody>
      </p:sp>
      <p:sp>
        <p:nvSpPr>
          <p:cNvPr id="132" name="Ветеран">
            <a:extLst>
              <a:ext uri="{FF2B5EF4-FFF2-40B4-BE49-F238E27FC236}">
                <a16:creationId xmlns:a16="http://schemas.microsoft.com/office/drawing/2014/main" xmlns="" id="{3082D1E8-A202-2248-B8E2-DA1C5DA854D9}"/>
              </a:ext>
            </a:extLst>
          </p:cNvPr>
          <p:cNvSpPr txBox="1"/>
          <p:nvPr/>
        </p:nvSpPr>
        <p:spPr>
          <a:xfrm>
            <a:off x="10142579" y="5362508"/>
            <a:ext cx="467181" cy="2057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800"/>
            </a:lvl1pPr>
          </a:lstStyle>
          <a:p>
            <a:pPr hangingPunct="0"/>
            <a:r>
              <a:rPr kern="0">
                <a:solidFill>
                  <a:srgbClr val="595959"/>
                </a:solidFill>
                <a:latin typeface="Arial Narrow"/>
                <a:cs typeface="Arial Narrow"/>
                <a:sym typeface="Arial Narrow"/>
              </a:rPr>
              <a:t>Ветеран</a:t>
            </a:r>
          </a:p>
        </p:txBody>
      </p:sp>
      <p:sp>
        <p:nvSpPr>
          <p:cNvPr id="133" name="Экземпляр: Вклад 9 мая 9%">
            <a:extLst>
              <a:ext uri="{FF2B5EF4-FFF2-40B4-BE49-F238E27FC236}">
                <a16:creationId xmlns:a16="http://schemas.microsoft.com/office/drawing/2014/main" xmlns="" id="{99DF9362-1D1C-4D47-A3E9-052D0F33E73D}"/>
              </a:ext>
            </a:extLst>
          </p:cNvPr>
          <p:cNvSpPr/>
          <p:nvPr/>
        </p:nvSpPr>
        <p:spPr>
          <a:xfrm>
            <a:off x="10818283" y="4870603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Экземпляр: Вклад 9 мая 9%</a:t>
            </a:r>
          </a:p>
        </p:txBody>
      </p:sp>
      <p:sp>
        <p:nvSpPr>
          <p:cNvPr id="134" name="Линия">
            <a:extLst>
              <a:ext uri="{FF2B5EF4-FFF2-40B4-BE49-F238E27FC236}">
                <a16:creationId xmlns:a16="http://schemas.microsoft.com/office/drawing/2014/main" xmlns="" id="{E02B9816-01EE-014B-881F-E8644527A511}"/>
              </a:ext>
            </a:extLst>
          </p:cNvPr>
          <p:cNvSpPr/>
          <p:nvPr/>
        </p:nvSpPr>
        <p:spPr>
          <a:xfrm>
            <a:off x="10540382" y="5130404"/>
            <a:ext cx="201979" cy="1"/>
          </a:xfrm>
          <a:prstGeom prst="line">
            <a:avLst/>
          </a:prstGeom>
          <a:ln w="25400">
            <a:solidFill>
              <a:srgbClr val="000000"/>
            </a:solidFill>
            <a:prstDash val="sysDot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sp>
        <p:nvSpPr>
          <p:cNvPr id="136" name="Сбол">
            <a:extLst>
              <a:ext uri="{FF2B5EF4-FFF2-40B4-BE49-F238E27FC236}">
                <a16:creationId xmlns:a16="http://schemas.microsoft.com/office/drawing/2014/main" xmlns="" id="{D793ADD9-61CD-454C-8D1B-4F6128E311B5}"/>
              </a:ext>
            </a:extLst>
          </p:cNvPr>
          <p:cNvSpPr/>
          <p:nvPr/>
        </p:nvSpPr>
        <p:spPr>
          <a:xfrm>
            <a:off x="10110984" y="1517168"/>
            <a:ext cx="1933165" cy="1598684"/>
          </a:xfrm>
          <a:prstGeom prst="rect">
            <a:avLst/>
          </a:prstGeom>
          <a:solidFill>
            <a:srgbClr val="FFFFFF"/>
          </a:solidFill>
          <a:ln w="12700">
            <a:solidFill>
              <a:srgbClr val="522486"/>
            </a:solidFill>
            <a:miter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10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СБОЛ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/>
              <a:cs typeface="Arial Black"/>
              <a:sym typeface="Arial Black"/>
            </a:endParaRPr>
          </a:p>
        </p:txBody>
      </p:sp>
      <p:sp>
        <p:nvSpPr>
          <p:cNvPr id="138" name="Экземпляр: Вклад 9 мая 9%">
            <a:extLst>
              <a:ext uri="{FF2B5EF4-FFF2-40B4-BE49-F238E27FC236}">
                <a16:creationId xmlns:a16="http://schemas.microsoft.com/office/drawing/2014/main" xmlns="" id="{F4C668C0-A59F-AF47-B620-7D88DFA93F88}"/>
              </a:ext>
            </a:extLst>
          </p:cNvPr>
          <p:cNvSpPr/>
          <p:nvPr/>
        </p:nvSpPr>
        <p:spPr>
          <a:xfrm>
            <a:off x="10613005" y="5609597"/>
            <a:ext cx="618722" cy="302585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EAEAEA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Активация вклада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39" name="Экземпляр: Вклад 9 мая 9%">
            <a:extLst>
              <a:ext uri="{FF2B5EF4-FFF2-40B4-BE49-F238E27FC236}">
                <a16:creationId xmlns:a16="http://schemas.microsoft.com/office/drawing/2014/main" xmlns="" id="{25FEE2D4-C80A-3A42-A37E-A4A64C49C4ED}"/>
              </a:ext>
            </a:extLst>
          </p:cNvPr>
          <p:cNvSpPr/>
          <p:nvPr/>
        </p:nvSpPr>
        <p:spPr>
          <a:xfrm>
            <a:off x="11375940" y="5603987"/>
            <a:ext cx="618722" cy="302585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Начисление 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%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40" name="Линия">
            <a:extLst>
              <a:ext uri="{FF2B5EF4-FFF2-40B4-BE49-F238E27FC236}">
                <a16:creationId xmlns:a16="http://schemas.microsoft.com/office/drawing/2014/main" xmlns="" id="{85227479-6A74-3845-92C0-DEA289F536D4}"/>
              </a:ext>
            </a:extLst>
          </p:cNvPr>
          <p:cNvSpPr/>
          <p:nvPr/>
        </p:nvSpPr>
        <p:spPr>
          <a:xfrm flipV="1">
            <a:off x="10890811" y="5398245"/>
            <a:ext cx="439164" cy="205741"/>
          </a:xfrm>
          <a:prstGeom prst="line">
            <a:avLst/>
          </a:prstGeom>
          <a:ln w="22225">
            <a:solidFill>
              <a:srgbClr val="522486"/>
            </a:solidFill>
            <a:prstDash val="lgDash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sp>
        <p:nvSpPr>
          <p:cNvPr id="141" name="Линия">
            <a:extLst>
              <a:ext uri="{FF2B5EF4-FFF2-40B4-BE49-F238E27FC236}">
                <a16:creationId xmlns:a16="http://schemas.microsoft.com/office/drawing/2014/main" xmlns="" id="{0B1CF254-3FE0-0745-A2FA-AD5CCF1D6E28}"/>
              </a:ext>
            </a:extLst>
          </p:cNvPr>
          <p:cNvSpPr/>
          <p:nvPr/>
        </p:nvSpPr>
        <p:spPr>
          <a:xfrm>
            <a:off x="11329975" y="5398245"/>
            <a:ext cx="400061" cy="213779"/>
          </a:xfrm>
          <a:prstGeom prst="line">
            <a:avLst/>
          </a:prstGeom>
          <a:ln w="22225">
            <a:solidFill>
              <a:srgbClr val="522486"/>
            </a:solidFill>
            <a:prstDash val="lgDash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sp>
        <p:nvSpPr>
          <p:cNvPr id="142" name="Продукт: Льготная тарификация">
            <a:extLst>
              <a:ext uri="{FF2B5EF4-FFF2-40B4-BE49-F238E27FC236}">
                <a16:creationId xmlns:a16="http://schemas.microsoft.com/office/drawing/2014/main" xmlns="" id="{59C36A43-9B29-DD43-BEB0-99B97510540A}"/>
              </a:ext>
            </a:extLst>
          </p:cNvPr>
          <p:cNvSpPr/>
          <p:nvPr/>
        </p:nvSpPr>
        <p:spPr>
          <a:xfrm>
            <a:off x="10578990" y="1826030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err="1">
                <a:latin typeface="Arial Narrow"/>
                <a:cs typeface="Arial Narrow"/>
                <a:sym typeface="Arial Narrow"/>
              </a:rPr>
              <a:t>Бандл</a:t>
            </a:r>
            <a:r>
              <a:rPr lang="ru-RU" kern="0" dirty="0">
                <a:latin typeface="Arial Narrow"/>
                <a:cs typeface="Arial Narrow"/>
                <a:sym typeface="Arial Narrow"/>
              </a:rPr>
              <a:t> «Премиум»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43" name="Продукт: Льготная тарификация">
            <a:extLst>
              <a:ext uri="{FF2B5EF4-FFF2-40B4-BE49-F238E27FC236}">
                <a16:creationId xmlns:a16="http://schemas.microsoft.com/office/drawing/2014/main" xmlns="" id="{C9F1873A-C5A2-1142-83EC-6FE84A0BD1A3}"/>
              </a:ext>
            </a:extLst>
          </p:cNvPr>
          <p:cNvSpPr/>
          <p:nvPr/>
        </p:nvSpPr>
        <p:spPr>
          <a:xfrm>
            <a:off x="10578990" y="2490264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lvl="0" hangingPunct="0">
              <a:defRPr/>
            </a:pPr>
            <a:r>
              <a:rPr lang="ru-RU" kern="0" dirty="0">
                <a:latin typeface="Arial Narrow"/>
                <a:cs typeface="Arial Narrow"/>
                <a:sym typeface="Arial Narrow"/>
              </a:rPr>
              <a:t>Акция: Вклад </a:t>
            </a:r>
            <a:r>
              <a:rPr lang="ru-RU" kern="0" dirty="0" err="1">
                <a:latin typeface="Arial Narrow"/>
                <a:cs typeface="Arial Narrow"/>
                <a:sym typeface="Arial Narrow"/>
              </a:rPr>
              <a:t>сохраняй@онлайн</a:t>
            </a:r>
            <a:r>
              <a:rPr lang="ru-RU" kern="0" dirty="0">
                <a:latin typeface="Arial Narrow"/>
                <a:cs typeface="Arial Narrow"/>
                <a:sym typeface="Arial Narrow"/>
              </a:rPr>
              <a:t> 9 мая 9% годовых</a:t>
            </a:r>
          </a:p>
        </p:txBody>
      </p:sp>
      <p:sp>
        <p:nvSpPr>
          <p:cNvPr id="150" name="Линия">
            <a:extLst>
              <a:ext uri="{FF2B5EF4-FFF2-40B4-BE49-F238E27FC236}">
                <a16:creationId xmlns:a16="http://schemas.microsoft.com/office/drawing/2014/main" xmlns="" id="{9E75FF27-598C-FF47-8D5F-B869E62ECCB6}"/>
              </a:ext>
            </a:extLst>
          </p:cNvPr>
          <p:cNvSpPr/>
          <p:nvPr/>
        </p:nvSpPr>
        <p:spPr>
          <a:xfrm flipV="1">
            <a:off x="4211715" y="4292599"/>
            <a:ext cx="0" cy="963517"/>
          </a:xfrm>
          <a:prstGeom prst="line">
            <a:avLst/>
          </a:prstGeom>
          <a:ln w="22225">
            <a:solidFill>
              <a:srgbClr val="522486"/>
            </a:solidFill>
            <a:prstDash val="lgDash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sp>
        <p:nvSpPr>
          <p:cNvPr id="151" name="Линия">
            <a:extLst>
              <a:ext uri="{FF2B5EF4-FFF2-40B4-BE49-F238E27FC236}">
                <a16:creationId xmlns:a16="http://schemas.microsoft.com/office/drawing/2014/main" xmlns="" id="{DF346E89-2B6A-684D-9863-576C353CBEAF}"/>
              </a:ext>
            </a:extLst>
          </p:cNvPr>
          <p:cNvSpPr/>
          <p:nvPr/>
        </p:nvSpPr>
        <p:spPr>
          <a:xfrm flipH="1" flipV="1">
            <a:off x="3939877" y="2656543"/>
            <a:ext cx="629647" cy="870163"/>
          </a:xfrm>
          <a:prstGeom prst="line">
            <a:avLst/>
          </a:prstGeom>
          <a:ln w="22225">
            <a:solidFill>
              <a:srgbClr val="522486"/>
            </a:solidFill>
            <a:prstDash val="lgDash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sp>
        <p:nvSpPr>
          <p:cNvPr id="152" name="Линия">
            <a:extLst>
              <a:ext uri="{FF2B5EF4-FFF2-40B4-BE49-F238E27FC236}">
                <a16:creationId xmlns:a16="http://schemas.microsoft.com/office/drawing/2014/main" xmlns="" id="{6FAF8CEF-275B-A54E-841F-74167C641C76}"/>
              </a:ext>
            </a:extLst>
          </p:cNvPr>
          <p:cNvSpPr/>
          <p:nvPr/>
        </p:nvSpPr>
        <p:spPr>
          <a:xfrm flipV="1">
            <a:off x="4761154" y="2762173"/>
            <a:ext cx="829210" cy="741578"/>
          </a:xfrm>
          <a:prstGeom prst="line">
            <a:avLst/>
          </a:prstGeom>
          <a:ln w="22225">
            <a:solidFill>
              <a:srgbClr val="522486"/>
            </a:solidFill>
            <a:prstDash val="lgDash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cxnSp>
        <p:nvCxnSpPr>
          <p:cNvPr id="64" name="Прямая соединительная линия 118">
            <a:extLst>
              <a:ext uri="{FF2B5EF4-FFF2-40B4-BE49-F238E27FC236}">
                <a16:creationId xmlns:a16="http://schemas.microsoft.com/office/drawing/2014/main" xmlns="" id="{B998A546-A01B-8144-8651-7FC8FF6C7971}"/>
              </a:ext>
            </a:extLst>
          </p:cNvPr>
          <p:cNvCxnSpPr>
            <a:cxnSpLocks/>
          </p:cNvCxnSpPr>
          <p:nvPr/>
        </p:nvCxnSpPr>
        <p:spPr>
          <a:xfrm flipV="1">
            <a:off x="9810752" y="1134803"/>
            <a:ext cx="0" cy="5508885"/>
          </a:xfrm>
          <a:prstGeom prst="line">
            <a:avLst/>
          </a:prstGeom>
          <a:noFill/>
          <a:ln w="6350" cap="rnd">
            <a:gradFill flip="none" rotWithShape="1">
              <a:gsLst>
                <a:gs pos="29000">
                  <a:srgbClr val="006192"/>
                </a:gs>
                <a:gs pos="100000">
                  <a:srgbClr val="001721">
                    <a:alpha val="0"/>
                  </a:srgbClr>
                </a:gs>
                <a:gs pos="70000">
                  <a:srgbClr val="7DC4DD"/>
                </a:gs>
                <a:gs pos="0">
                  <a:srgbClr val="001822">
                    <a:alpha val="0"/>
                  </a:srgbClr>
                </a:gs>
              </a:gsLst>
              <a:lin ang="5400000" scaled="1"/>
              <a:tileRect/>
            </a:gradFill>
            <a:head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5" name="Стоимость изменений">
            <a:extLst>
              <a:ext uri="{FF2B5EF4-FFF2-40B4-BE49-F238E27FC236}">
                <a16:creationId xmlns:a16="http://schemas.microsoft.com/office/drawing/2014/main" xmlns="" id="{90D329D8-C8B9-1345-AF9A-A27A95FA2D26}"/>
              </a:ext>
            </a:extLst>
          </p:cNvPr>
          <p:cNvSpPr txBox="1"/>
          <p:nvPr/>
        </p:nvSpPr>
        <p:spPr>
          <a:xfrm rot="16200000">
            <a:off x="1478450" y="3775359"/>
            <a:ext cx="2442333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000000"/>
                </a:solidFill>
              </a:defRPr>
            </a:lvl1pPr>
          </a:lstStyle>
          <a:p>
            <a:pPr hangingPunct="0"/>
            <a:r>
              <a:rPr b="1" kern="0" dirty="0" err="1">
                <a:latin typeface="Arial Narrow"/>
                <a:cs typeface="Arial Narrow"/>
                <a:sym typeface="Arial Narrow"/>
              </a:rPr>
              <a:t>Стоимость</a:t>
            </a:r>
            <a:r>
              <a:rPr b="1" kern="0" dirty="0">
                <a:latin typeface="Arial Narrow"/>
                <a:cs typeface="Arial Narrow"/>
                <a:sym typeface="Arial Narrow"/>
              </a:rPr>
              <a:t> </a:t>
            </a:r>
            <a:r>
              <a:rPr b="1" kern="0" dirty="0" err="1">
                <a:latin typeface="Arial Narrow"/>
                <a:cs typeface="Arial Narrow"/>
                <a:sym typeface="Arial Narrow"/>
              </a:rPr>
              <a:t>изменений</a:t>
            </a:r>
            <a:r>
              <a:rPr lang="en-US" b="1" kern="0" dirty="0">
                <a:latin typeface="Arial Narrow"/>
                <a:cs typeface="Arial Narrow"/>
                <a:sym typeface="Arial Narrow"/>
              </a:rPr>
              <a:t> </a:t>
            </a:r>
            <a:r>
              <a:rPr lang="ru-RU" b="1" kern="0" dirty="0">
                <a:latin typeface="Arial Narrow"/>
                <a:cs typeface="Arial Narrow"/>
                <a:sym typeface="Arial Narrow"/>
              </a:rPr>
              <a:t>и временные затраты</a:t>
            </a:r>
            <a:endParaRPr b="1" kern="0" dirty="0">
              <a:latin typeface="Arial Narrow"/>
              <a:cs typeface="Arial Narrow"/>
              <a:sym typeface="Arial Narrow"/>
            </a:endParaRPr>
          </a:p>
        </p:txBody>
      </p:sp>
      <p:sp>
        <p:nvSpPr>
          <p:cNvPr id="66" name="Треугольник 65">
            <a:extLst>
              <a:ext uri="{FF2B5EF4-FFF2-40B4-BE49-F238E27FC236}">
                <a16:creationId xmlns:a16="http://schemas.microsoft.com/office/drawing/2014/main" xmlns="" id="{68E85BEE-35E8-194F-BAC6-932BB4B726A9}"/>
              </a:ext>
            </a:extLst>
          </p:cNvPr>
          <p:cNvSpPr/>
          <p:nvPr/>
        </p:nvSpPr>
        <p:spPr>
          <a:xfrm>
            <a:off x="2802688" y="1392492"/>
            <a:ext cx="201709" cy="4800505"/>
          </a:xfrm>
          <a:prstGeom prst="triangl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D71EDD29-DC0C-4952-BEE5-F8A0D1CF13C6}"/>
              </a:ext>
            </a:extLst>
          </p:cNvPr>
          <p:cNvSpPr txBox="1"/>
          <p:nvPr/>
        </p:nvSpPr>
        <p:spPr>
          <a:xfrm>
            <a:off x="197335" y="6400800"/>
            <a:ext cx="11683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Malgun Gothic" panose="020B0503020000020004" pitchFamily="34" charset="-127"/>
                <a:ea typeface="Malgun Gothic" panose="020B0503020000020004" pitchFamily="34" charset="-127"/>
                <a:cs typeface="Malgun Gothic Semilight" panose="020B0502040204020203" pitchFamily="34" charset="-128"/>
              </a:rPr>
              <a:t>* </a:t>
            </a:r>
            <a:r>
              <a:rPr lang="ru-RU" sz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Маркетолог – специальная роль для создания </a:t>
            </a:r>
            <a:r>
              <a:rPr lang="ru-RU" sz="1200" dirty="0" err="1">
                <a:latin typeface="Malgun Gothic" panose="020B0503020000020004" pitchFamily="34" charset="-127"/>
                <a:ea typeface="Malgun Gothic" panose="020B0503020000020004" pitchFamily="34" charset="-127"/>
              </a:rPr>
              <a:t>акционных</a:t>
            </a:r>
            <a:r>
              <a:rPr lang="ru-RU" sz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продуктов, </a:t>
            </a:r>
            <a:r>
              <a:rPr lang="ru-RU" sz="1200" dirty="0" err="1">
                <a:latin typeface="Malgun Gothic" panose="020B0503020000020004" pitchFamily="34" charset="-127"/>
                <a:ea typeface="Malgun Gothic" panose="020B0503020000020004" pitchFamily="34" charset="-127"/>
              </a:rPr>
              <a:t>бандлов</a:t>
            </a:r>
            <a:r>
              <a:rPr lang="ru-RU" sz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, либо изменение существующих продуктов 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Malgun Gothic" panose="020B0503020000020004" pitchFamily="34" charset="-127"/>
              <a:ea typeface="Malgun Gothic" panose="020B0503020000020004" pitchFamily="34" charset="-127"/>
              <a:cs typeface="Malgun Gothic Semilight" panose="020B0502040204020203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7735877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845" name="think-cell Slide" r:id="rId6" imgW="802" imgH="802" progId="TCLayout.ActiveDocument.1">
                  <p:embed/>
                </p:oleObj>
              </mc:Choice>
              <mc:Fallback>
                <p:oleObj name="think-cell Slide" r:id="rId6" imgW="802" imgH="80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xmlns="" id="{7371160C-E0F5-4DBC-9881-0D3F3BDC6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ru-RU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 Black" panose="020B0A04020102020204" pitchFamily="34" charset="0"/>
            </a:endParaRPr>
          </a:p>
        </p:txBody>
      </p:sp>
      <p:sp>
        <p:nvSpPr>
          <p:cNvPr id="24" name="Заголовок 3">
            <a:extLst>
              <a:ext uri="{FF2B5EF4-FFF2-40B4-BE49-F238E27FC236}">
                <a16:creationId xmlns:a16="http://schemas.microsoft.com/office/drawing/2014/main" xmlns="" id="{03D3426E-F2A6-4A97-8704-98FDD5691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7" y="219180"/>
            <a:ext cx="11302999" cy="41251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 smtClean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Что такое сервисный каталог?</a:t>
            </a:r>
            <a:endParaRPr lang="ru-RU" sz="2400" b="1" dirty="0"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25" name="Rectangle 94">
            <a:extLst>
              <a:ext uri="{FF2B5EF4-FFF2-40B4-BE49-F238E27FC236}">
                <a16:creationId xmlns:a16="http://schemas.microsoft.com/office/drawing/2014/main" xmlns="" id="{43A09D4D-B200-4EEA-A5CE-0D27FF145BC1}"/>
              </a:ext>
            </a:extLst>
          </p:cNvPr>
          <p:cNvSpPr/>
          <p:nvPr/>
        </p:nvSpPr>
        <p:spPr>
          <a:xfrm>
            <a:off x="197337" y="631690"/>
            <a:ext cx="1179732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lang="ru-RU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ервисный каталог – это автоматизированная система, обеспечивающая централизованное управление сервисами в рамках продуктового каталога.</a:t>
            </a:r>
          </a:p>
          <a:p>
            <a:pPr lvl="0">
              <a:tabLst>
                <a:tab pos="3072130" algn="l"/>
              </a:tabLst>
              <a:defRPr/>
            </a:pPr>
            <a:r>
              <a:rPr lang="ru-RU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римеры </a:t>
            </a:r>
            <a:r>
              <a:rPr lang="ru-RU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ервисов </a:t>
            </a:r>
            <a:r>
              <a:rPr lang="ru-RU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(</a:t>
            </a:r>
            <a:r>
              <a:rPr lang="ru-RU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услуг), предоставляемых клиенту по продуктам: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BAE060D-6C40-4FD4-A6FB-D4498452DEB0}"/>
              </a:ext>
            </a:extLst>
          </p:cNvPr>
          <p:cNvSpPr txBox="1"/>
          <p:nvPr/>
        </p:nvSpPr>
        <p:spPr>
          <a:xfrm>
            <a:off x="346638" y="3387265"/>
            <a:ext cx="3522889" cy="3231654"/>
          </a:xfrm>
          <a:prstGeom prst="rect">
            <a:avLst/>
          </a:prstGeom>
          <a:noFill/>
        </p:spPr>
        <p:txBody>
          <a:bodyPr wrap="square" numCol="1" spcCol="360000" rtlCol="0">
            <a:spAutoFit/>
          </a:bodyPr>
          <a:lstStyle/>
          <a:p>
            <a:pPr lvl="0">
              <a:buClr>
                <a:srgbClr val="522486"/>
              </a:buClr>
              <a:defRPr/>
            </a:pPr>
            <a:r>
              <a:rPr lang="ru-RU" sz="12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ервисы </a:t>
            </a:r>
            <a:endParaRPr lang="ru-RU" sz="1200" dirty="0" smtClean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lvl="0">
              <a:buClr>
                <a:srgbClr val="522486"/>
              </a:buClr>
              <a:defRPr/>
            </a:pPr>
            <a:endParaRPr lang="ru-RU" sz="1200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ткрытие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Доставка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бслуживание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нятие наличных</a:t>
            </a:r>
          </a:p>
          <a:p>
            <a:pPr marL="628650" lvl="1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В банкоматах сети</a:t>
            </a:r>
          </a:p>
          <a:p>
            <a:pPr marL="628650" lvl="1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В сети партнеров</a:t>
            </a:r>
          </a:p>
          <a:p>
            <a:pPr marL="628650" lvl="1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о QR-коду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ополнение</a:t>
            </a:r>
          </a:p>
          <a:p>
            <a:pPr marL="628650" lvl="1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о реквизитам</a:t>
            </a:r>
          </a:p>
          <a:p>
            <a:pPr marL="628650" lvl="1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о номеру карты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ереводы на другие карты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Начисление процентов на остаток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эшбэк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в любимых местах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эшбэк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со всех покупок</a:t>
            </a:r>
          </a:p>
          <a:p>
            <a:pPr lvl="0">
              <a:buClr>
                <a:srgbClr val="522486"/>
              </a:buClr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pic>
        <p:nvPicPr>
          <p:cNvPr id="9" name="Picture 2" descr="ÐÐ¾Ð»Ð¾ÑÐ°Ñ ÐºÐ°ÑÑÐ°">
            <a:extLst>
              <a:ext uri="{FF2B5EF4-FFF2-40B4-BE49-F238E27FC236}">
                <a16:creationId xmlns:a16="http://schemas.microsoft.com/office/drawing/2014/main" xmlns="" id="{EECAB5EA-C746-4DCE-9177-874A5FAFB0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429" y="1751272"/>
            <a:ext cx="1780672" cy="1126275"/>
          </a:xfrm>
          <a:prstGeom prst="roundRect">
            <a:avLst>
              <a:gd name="adj" fmla="val 4714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4F474DED-0363-EA46-AEBE-DFE984346A06}"/>
              </a:ext>
            </a:extLst>
          </p:cNvPr>
          <p:cNvSpPr txBox="1"/>
          <p:nvPr/>
        </p:nvSpPr>
        <p:spPr>
          <a:xfrm>
            <a:off x="4263751" y="3440145"/>
            <a:ext cx="3170170" cy="1384995"/>
          </a:xfrm>
          <a:prstGeom prst="rect">
            <a:avLst/>
          </a:prstGeom>
          <a:noFill/>
        </p:spPr>
        <p:txBody>
          <a:bodyPr wrap="square" numCol="1" spcCol="360000" rtlCol="0">
            <a:spAutoFit/>
          </a:bodyPr>
          <a:lstStyle/>
          <a:p>
            <a:pPr lvl="0">
              <a:buClr>
                <a:srgbClr val="522486"/>
              </a:buClr>
              <a:defRPr/>
            </a:pPr>
            <a:r>
              <a:rPr lang="ru-RU" sz="1200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ервисы</a:t>
            </a:r>
          </a:p>
          <a:p>
            <a:pPr lvl="0">
              <a:buClr>
                <a:srgbClr val="522486"/>
              </a:buClr>
              <a:defRPr/>
            </a:pPr>
            <a:endParaRPr lang="ru-RU" sz="1200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родажа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Доставка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Возврат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Гарантийное обслуживание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Настройка</a:t>
            </a:r>
          </a:p>
        </p:txBody>
      </p:sp>
      <p:pic>
        <p:nvPicPr>
          <p:cNvPr id="11" name="Picture 2" descr="https://moscow.shop.megafon.ru/images/goods/1063/106351_p_21.png">
            <a:extLst>
              <a:ext uri="{FF2B5EF4-FFF2-40B4-BE49-F238E27FC236}">
                <a16:creationId xmlns:a16="http://schemas.microsoft.com/office/drawing/2014/main" xmlns="" id="{B3A22419-D8AC-4942-8A62-5E53FC6B79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5148" y="1622665"/>
            <a:ext cx="784425" cy="1341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4AA30C75-9ABE-C842-B627-526AE0D4DAA4}"/>
              </a:ext>
            </a:extLst>
          </p:cNvPr>
          <p:cNvSpPr txBox="1"/>
          <p:nvPr/>
        </p:nvSpPr>
        <p:spPr>
          <a:xfrm>
            <a:off x="7977447" y="3360766"/>
            <a:ext cx="3522889" cy="646331"/>
          </a:xfrm>
          <a:prstGeom prst="rect">
            <a:avLst/>
          </a:prstGeom>
          <a:noFill/>
        </p:spPr>
        <p:txBody>
          <a:bodyPr wrap="square" numCol="1" spcCol="360000" rtlCol="0">
            <a:spAutoFit/>
          </a:bodyPr>
          <a:lstStyle/>
          <a:p>
            <a:pPr lvl="0">
              <a:buClr>
                <a:srgbClr val="522486"/>
              </a:buClr>
              <a:defRPr/>
            </a:pPr>
            <a:r>
              <a:rPr lang="ru-RU" sz="1200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ервисы</a:t>
            </a:r>
          </a:p>
          <a:p>
            <a:pPr lvl="0">
              <a:buClr>
                <a:srgbClr val="522486"/>
              </a:buClr>
              <a:defRPr/>
            </a:pPr>
            <a:endParaRPr lang="ru-RU" sz="1200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олный </a:t>
            </a:r>
            <a:r>
              <a:rPr lang="ru-RU" sz="1200" dirty="0" err="1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чекап</a:t>
            </a: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организма</a:t>
            </a:r>
          </a:p>
        </p:txBody>
      </p:sp>
      <p:pic>
        <p:nvPicPr>
          <p:cNvPr id="13" name="Picture 4" descr="ÐÐ°ÑÑÐ¸Ð½ÐºÐ¸ Ð¿Ð¾ Ð·Ð°Ð¿ÑÐ¾ÑÑ Ð´Ð¾ÐºÐ´Ð¾Ðº">
            <a:extLst>
              <a:ext uri="{FF2B5EF4-FFF2-40B4-BE49-F238E27FC236}">
                <a16:creationId xmlns:a16="http://schemas.microsoft.com/office/drawing/2014/main" xmlns="" id="{D75AEFBA-632C-7943-87E4-F83A6B6BD1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772" y="1495157"/>
            <a:ext cx="2621610" cy="1638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94">
            <a:extLst>
              <a:ext uri="{FF2B5EF4-FFF2-40B4-BE49-F238E27FC236}">
                <a16:creationId xmlns:a16="http://schemas.microsoft.com/office/drawing/2014/main" xmlns="" id="{43A09D4D-B200-4EEA-A5CE-0D27FF145BC1}"/>
              </a:ext>
            </a:extLst>
          </p:cNvPr>
          <p:cNvSpPr/>
          <p:nvPr/>
        </p:nvSpPr>
        <p:spPr>
          <a:xfrm>
            <a:off x="335487" y="3040010"/>
            <a:ext cx="24852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lang="ru-RU" sz="14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рта с </a:t>
            </a:r>
            <a:r>
              <a:rPr lang="en-US" sz="14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cashback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15" name="Rectangle 94">
            <a:extLst>
              <a:ext uri="{FF2B5EF4-FFF2-40B4-BE49-F238E27FC236}">
                <a16:creationId xmlns:a16="http://schemas.microsoft.com/office/drawing/2014/main" xmlns="" id="{43A09D4D-B200-4EEA-A5CE-0D27FF145BC1}"/>
              </a:ext>
            </a:extLst>
          </p:cNvPr>
          <p:cNvSpPr/>
          <p:nvPr/>
        </p:nvSpPr>
        <p:spPr>
          <a:xfrm>
            <a:off x="4263751" y="3052989"/>
            <a:ext cx="247100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lang="ru-RU" sz="1400" noProof="0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мартфон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18" name="Rectangle 94">
            <a:extLst>
              <a:ext uri="{FF2B5EF4-FFF2-40B4-BE49-F238E27FC236}">
                <a16:creationId xmlns:a16="http://schemas.microsoft.com/office/drawing/2014/main" xmlns="" id="{43A09D4D-B200-4EEA-A5CE-0D27FF145BC1}"/>
              </a:ext>
            </a:extLst>
          </p:cNvPr>
          <p:cNvSpPr/>
          <p:nvPr/>
        </p:nvSpPr>
        <p:spPr>
          <a:xfrm>
            <a:off x="7977447" y="3007686"/>
            <a:ext cx="247100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lang="ru-RU" sz="1400" noProof="0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ортал поиска врачей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169019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800" name="think-cell Slide" r:id="rId6" imgW="802" imgH="802" progId="TCLayout.ActiveDocument.1">
                  <p:embed/>
                </p:oleObj>
              </mc:Choice>
              <mc:Fallback>
                <p:oleObj name="think-cell Slide" r:id="rId6" imgW="802" imgH="80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xmlns="" id="{7371160C-E0F5-4DBC-9881-0D3F3BDC6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 Black" panose="020B0A04020102020204" pitchFamily="34" charset="0"/>
            </a:endParaRPr>
          </a:p>
        </p:txBody>
      </p:sp>
      <p:sp>
        <p:nvSpPr>
          <p:cNvPr id="24" name="Заголовок 3">
            <a:extLst>
              <a:ext uri="{FF2B5EF4-FFF2-40B4-BE49-F238E27FC236}">
                <a16:creationId xmlns:a16="http://schemas.microsoft.com/office/drawing/2014/main" xmlns="" id="{03D3426E-F2A6-4A97-8704-98FDD5691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7" y="219180"/>
            <a:ext cx="11302999" cy="41251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 smtClean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к новые сервисы попадают на рынок?</a:t>
            </a:r>
            <a:endParaRPr lang="ru-RU" sz="2400" b="1" dirty="0"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25" name="Rectangle 94">
            <a:extLst>
              <a:ext uri="{FF2B5EF4-FFF2-40B4-BE49-F238E27FC236}">
                <a16:creationId xmlns:a16="http://schemas.microsoft.com/office/drawing/2014/main" xmlns="" id="{43A09D4D-B200-4EEA-A5CE-0D27FF145BC1}"/>
              </a:ext>
            </a:extLst>
          </p:cNvPr>
          <p:cNvSpPr/>
          <p:nvPr/>
        </p:nvSpPr>
        <p:spPr>
          <a:xfrm>
            <a:off x="197337" y="631690"/>
            <a:ext cx="117973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lang="ru-RU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ервисы </a:t>
            </a:r>
            <a:r>
              <a:rPr lang="ru-RU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оздают технологи </a:t>
            </a:r>
            <a:r>
              <a:rPr lang="ru-RU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в сервисном </a:t>
            </a:r>
            <a:r>
              <a:rPr lang="ru-RU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талоге и управляют их жизненным циклом</a:t>
            </a:r>
            <a:endParaRPr lang="ru-RU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95" name="Marketing &amp; Sales">
            <a:extLst>
              <a:ext uri="{FF2B5EF4-FFF2-40B4-BE49-F238E27FC236}">
                <a16:creationId xmlns:a16="http://schemas.microsoft.com/office/drawing/2014/main" xmlns="" id="{B72F5F4B-341F-1041-B18A-AB651BF6B5C6}"/>
              </a:ext>
            </a:extLst>
          </p:cNvPr>
          <p:cNvSpPr/>
          <p:nvPr/>
        </p:nvSpPr>
        <p:spPr>
          <a:xfrm>
            <a:off x="455390" y="1579676"/>
            <a:ext cx="2145235" cy="1270001"/>
          </a:xfrm>
          <a:prstGeom prst="rightArrow">
            <a:avLst>
              <a:gd name="adj1" fmla="val 32000"/>
              <a:gd name="adj2" fmla="val 6400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/>
          <a:p>
            <a:pPr marL="0" marR="0" lvl="0" indent="0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Marketing &amp; Sales</a:t>
            </a:r>
          </a:p>
        </p:txBody>
      </p:sp>
      <p:sp>
        <p:nvSpPr>
          <p:cNvPr id="96" name="Product Management">
            <a:extLst>
              <a:ext uri="{FF2B5EF4-FFF2-40B4-BE49-F238E27FC236}">
                <a16:creationId xmlns:a16="http://schemas.microsoft.com/office/drawing/2014/main" xmlns="" id="{73D26B89-FBFB-C14E-BD2E-9FB3289424A9}"/>
              </a:ext>
            </a:extLst>
          </p:cNvPr>
          <p:cNvSpPr/>
          <p:nvPr/>
        </p:nvSpPr>
        <p:spPr>
          <a:xfrm>
            <a:off x="455390" y="3161112"/>
            <a:ext cx="2145235" cy="1270001"/>
          </a:xfrm>
          <a:prstGeom prst="rightArrow">
            <a:avLst>
              <a:gd name="adj1" fmla="val 32000"/>
              <a:gd name="adj2" fmla="val 64000"/>
            </a:avLst>
          </a:prstGeom>
          <a:solidFill>
            <a:schemeClr val="accent4">
              <a:lumMod val="20000"/>
              <a:lumOff val="80000"/>
            </a:schemeClr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/>
          <a:p>
            <a:pPr marL="0" marR="0" lvl="0" indent="0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Product Management</a:t>
            </a:r>
          </a:p>
        </p:txBody>
      </p:sp>
      <p:sp>
        <p:nvSpPr>
          <p:cNvPr id="97" name="Engineering">
            <a:extLst>
              <a:ext uri="{FF2B5EF4-FFF2-40B4-BE49-F238E27FC236}">
                <a16:creationId xmlns:a16="http://schemas.microsoft.com/office/drawing/2014/main" xmlns="" id="{5A38F9BE-18BC-6041-B109-AA05E11DC9C5}"/>
              </a:ext>
            </a:extLst>
          </p:cNvPr>
          <p:cNvSpPr/>
          <p:nvPr/>
        </p:nvSpPr>
        <p:spPr>
          <a:xfrm>
            <a:off x="455390" y="4742548"/>
            <a:ext cx="2145235" cy="1270001"/>
          </a:xfrm>
          <a:prstGeom prst="rightArrow">
            <a:avLst>
              <a:gd name="adj1" fmla="val 32000"/>
              <a:gd name="adj2" fmla="val 6400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/>
          <a:p>
            <a:pPr marL="0" marR="0" lvl="0" indent="0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Engineering </a:t>
            </a:r>
          </a:p>
        </p:txBody>
      </p:sp>
      <p:sp>
        <p:nvSpPr>
          <p:cNvPr id="98" name="Технические возможности платформы">
            <a:extLst>
              <a:ext uri="{FF2B5EF4-FFF2-40B4-BE49-F238E27FC236}">
                <a16:creationId xmlns:a16="http://schemas.microsoft.com/office/drawing/2014/main" xmlns="" id="{FC61FCF6-CCEA-D046-85DF-E898B3B07820}"/>
              </a:ext>
            </a:extLst>
          </p:cNvPr>
          <p:cNvSpPr/>
          <p:nvPr/>
        </p:nvSpPr>
        <p:spPr>
          <a:xfrm>
            <a:off x="3173092" y="4742548"/>
            <a:ext cx="6372268" cy="1371601"/>
          </a:xfrm>
          <a:prstGeom prst="rect">
            <a:avLst/>
          </a:prstGeom>
          <a:solidFill>
            <a:srgbClr val="FFFFFF"/>
          </a:solidFill>
          <a:ln w="12700">
            <a:solidFill>
              <a:srgbClr val="522486"/>
            </a:solidFill>
            <a:miter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10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Технические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 </a:t>
            </a:r>
            <a:r>
              <a:rPr kumimoji="0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возможности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 </a:t>
            </a:r>
            <a:r>
              <a:rPr kumimoji="0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платформы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/>
              <a:cs typeface="Arial Black"/>
              <a:sym typeface="Arial Black"/>
            </a:endParaRPr>
          </a:p>
        </p:txBody>
      </p:sp>
      <p:sp>
        <p:nvSpPr>
          <p:cNvPr id="99" name="Service Catalog">
            <a:extLst>
              <a:ext uri="{FF2B5EF4-FFF2-40B4-BE49-F238E27FC236}">
                <a16:creationId xmlns:a16="http://schemas.microsoft.com/office/drawing/2014/main" xmlns="" id="{FF47075A-1875-E345-AD07-2B30AC24FBD3}"/>
              </a:ext>
            </a:extLst>
          </p:cNvPr>
          <p:cNvSpPr/>
          <p:nvPr/>
        </p:nvSpPr>
        <p:spPr>
          <a:xfrm>
            <a:off x="3173092" y="3098604"/>
            <a:ext cx="6372268" cy="13950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rgbClr val="522486"/>
            </a:solidFill>
            <a:miter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10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Service Catalog</a:t>
            </a:r>
          </a:p>
        </p:txBody>
      </p:sp>
      <p:sp>
        <p:nvSpPr>
          <p:cNvPr id="100" name="Product Catalog">
            <a:extLst>
              <a:ext uri="{FF2B5EF4-FFF2-40B4-BE49-F238E27FC236}">
                <a16:creationId xmlns:a16="http://schemas.microsoft.com/office/drawing/2014/main" xmlns="" id="{E643E727-706E-4E48-92C1-B97A38D354CC}"/>
              </a:ext>
            </a:extLst>
          </p:cNvPr>
          <p:cNvSpPr/>
          <p:nvPr/>
        </p:nvSpPr>
        <p:spPr>
          <a:xfrm>
            <a:off x="3173092" y="1517168"/>
            <a:ext cx="6372268" cy="1395016"/>
          </a:xfrm>
          <a:prstGeom prst="rect">
            <a:avLst/>
          </a:prstGeom>
          <a:solidFill>
            <a:srgbClr val="FFFFFF"/>
          </a:solidFill>
          <a:ln w="12700">
            <a:solidFill>
              <a:srgbClr val="522486"/>
            </a:solidFill>
            <a:miter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10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Product Catalog</a:t>
            </a:r>
          </a:p>
        </p:txBody>
      </p:sp>
      <p:sp>
        <p:nvSpPr>
          <p:cNvPr id="101" name="Бизнес-сервис: активация вклада">
            <a:extLst>
              <a:ext uri="{FF2B5EF4-FFF2-40B4-BE49-F238E27FC236}">
                <a16:creationId xmlns:a16="http://schemas.microsoft.com/office/drawing/2014/main" xmlns="" id="{26935B51-5FB1-DC41-B5F3-8F3FD73FBEE4}"/>
              </a:ext>
            </a:extLst>
          </p:cNvPr>
          <p:cNvSpPr/>
          <p:nvPr/>
        </p:nvSpPr>
        <p:spPr>
          <a:xfrm>
            <a:off x="3522903" y="3503751"/>
            <a:ext cx="2358482" cy="851994"/>
          </a:xfrm>
          <a:prstGeom prst="roundRect">
            <a:avLst>
              <a:gd name="adj" fmla="val 8575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Бизнес-сервис: активация вклада</a:t>
            </a:r>
          </a:p>
        </p:txBody>
      </p:sp>
      <p:sp>
        <p:nvSpPr>
          <p:cNvPr id="104" name="Бизнес-сервис: начисление %">
            <a:extLst>
              <a:ext uri="{FF2B5EF4-FFF2-40B4-BE49-F238E27FC236}">
                <a16:creationId xmlns:a16="http://schemas.microsoft.com/office/drawing/2014/main" xmlns="" id="{5918D5D4-AFFC-BD42-A59B-71C67348B1A7}"/>
              </a:ext>
            </a:extLst>
          </p:cNvPr>
          <p:cNvSpPr/>
          <p:nvPr/>
        </p:nvSpPr>
        <p:spPr>
          <a:xfrm>
            <a:off x="5993053" y="3503751"/>
            <a:ext cx="1516536" cy="851994"/>
          </a:xfrm>
          <a:prstGeom prst="roundRect">
            <a:avLst>
              <a:gd name="adj" fmla="val 8575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Бизнес-сервис: начисление %</a:t>
            </a:r>
          </a:p>
        </p:txBody>
      </p:sp>
      <p:sp>
        <p:nvSpPr>
          <p:cNvPr id="106" name="Бизнес-сервис: …">
            <a:extLst>
              <a:ext uri="{FF2B5EF4-FFF2-40B4-BE49-F238E27FC236}">
                <a16:creationId xmlns:a16="http://schemas.microsoft.com/office/drawing/2014/main" xmlns="" id="{3276E236-384C-1747-875B-9833500D28AC}"/>
              </a:ext>
            </a:extLst>
          </p:cNvPr>
          <p:cNvSpPr/>
          <p:nvPr/>
        </p:nvSpPr>
        <p:spPr>
          <a:xfrm>
            <a:off x="7679012" y="3503751"/>
            <a:ext cx="1516536" cy="851994"/>
          </a:xfrm>
          <a:prstGeom prst="roundRect">
            <a:avLst>
              <a:gd name="adj" fmla="val 8575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Бизнес-сервис: …</a:t>
            </a:r>
          </a:p>
        </p:txBody>
      </p:sp>
      <p:sp>
        <p:nvSpPr>
          <p:cNvPr id="107" name="Бандл: «Премиум»">
            <a:extLst>
              <a:ext uri="{FF2B5EF4-FFF2-40B4-BE49-F238E27FC236}">
                <a16:creationId xmlns:a16="http://schemas.microsoft.com/office/drawing/2014/main" xmlns="" id="{048DFB48-CFF1-F64B-AD45-BD51C2B44E93}"/>
              </a:ext>
            </a:extLst>
          </p:cNvPr>
          <p:cNvSpPr/>
          <p:nvPr/>
        </p:nvSpPr>
        <p:spPr>
          <a:xfrm>
            <a:off x="4741573" y="1892782"/>
            <a:ext cx="3540716" cy="905703"/>
          </a:xfrm>
          <a:prstGeom prst="roundRect">
            <a:avLst>
              <a:gd name="adj" fmla="val 8066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Бандл: «Премиум»</a:t>
            </a:r>
          </a:p>
        </p:txBody>
      </p:sp>
      <p:sp>
        <p:nvSpPr>
          <p:cNvPr id="108" name="Продукт: Вклад сохраняй@онлайн">
            <a:extLst>
              <a:ext uri="{FF2B5EF4-FFF2-40B4-BE49-F238E27FC236}">
                <a16:creationId xmlns:a16="http://schemas.microsoft.com/office/drawing/2014/main" xmlns="" id="{9408A192-9550-D14D-B460-9325735D4D27}"/>
              </a:ext>
            </a:extLst>
          </p:cNvPr>
          <p:cNvSpPr/>
          <p:nvPr/>
        </p:nvSpPr>
        <p:spPr>
          <a:xfrm>
            <a:off x="5142492" y="2222012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Продукт: Вклад сохраняй@онлайн</a:t>
            </a:r>
          </a:p>
        </p:txBody>
      </p:sp>
      <p:sp>
        <p:nvSpPr>
          <p:cNvPr id="109" name="Продукт: Льготная тарификация">
            <a:extLst>
              <a:ext uri="{FF2B5EF4-FFF2-40B4-BE49-F238E27FC236}">
                <a16:creationId xmlns:a16="http://schemas.microsoft.com/office/drawing/2014/main" xmlns="" id="{AB7126BD-ABC3-354B-BF0E-0CA25B430E40}"/>
              </a:ext>
            </a:extLst>
          </p:cNvPr>
          <p:cNvSpPr/>
          <p:nvPr/>
        </p:nvSpPr>
        <p:spPr>
          <a:xfrm>
            <a:off x="6488692" y="2222012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Продукт: Льготная тарификация</a:t>
            </a:r>
          </a:p>
        </p:txBody>
      </p:sp>
      <p:sp>
        <p:nvSpPr>
          <p:cNvPr id="110" name="Доступно: никому">
            <a:extLst>
              <a:ext uri="{FF2B5EF4-FFF2-40B4-BE49-F238E27FC236}">
                <a16:creationId xmlns:a16="http://schemas.microsoft.com/office/drawing/2014/main" xmlns="" id="{C6E3AC79-0ED1-ED46-8A1B-01C87C2FE7BB}"/>
              </a:ext>
            </a:extLst>
          </p:cNvPr>
          <p:cNvSpPr/>
          <p:nvPr/>
        </p:nvSpPr>
        <p:spPr>
          <a:xfrm>
            <a:off x="6865125" y="2142699"/>
            <a:ext cx="899444" cy="152401"/>
          </a:xfrm>
          <a:prstGeom prst="rect">
            <a:avLst/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 anchor="ctr"/>
          <a:lstStyle>
            <a:lvl1pPr algn="ctr">
              <a:lnSpc>
                <a:spcPct val="90000"/>
              </a:lnSpc>
              <a:defRPr sz="5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Доступно: никому</a:t>
            </a:r>
          </a:p>
        </p:txBody>
      </p:sp>
      <p:sp>
        <p:nvSpPr>
          <p:cNvPr id="111" name="Доступно: никому">
            <a:extLst>
              <a:ext uri="{FF2B5EF4-FFF2-40B4-BE49-F238E27FC236}">
                <a16:creationId xmlns:a16="http://schemas.microsoft.com/office/drawing/2014/main" xmlns="" id="{1323FFF7-1A42-F348-BDD2-61717ED3E600}"/>
              </a:ext>
            </a:extLst>
          </p:cNvPr>
          <p:cNvSpPr/>
          <p:nvPr/>
        </p:nvSpPr>
        <p:spPr>
          <a:xfrm>
            <a:off x="5499876" y="2142699"/>
            <a:ext cx="899444" cy="152401"/>
          </a:xfrm>
          <a:prstGeom prst="rect">
            <a:avLst/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 anchor="ctr"/>
          <a:lstStyle>
            <a:lvl1pPr algn="ctr">
              <a:lnSpc>
                <a:spcPct val="90000"/>
              </a:lnSpc>
              <a:defRPr sz="5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Доступно</a:t>
            </a:r>
            <a:r>
              <a:rPr kumimoji="0" sz="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: </a:t>
            </a:r>
            <a:r>
              <a:rPr kumimoji="0" sz="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никому</a:t>
            </a:r>
            <a:endParaRPr kumimoji="0" sz="5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12" name="Product Instance">
            <a:extLst>
              <a:ext uri="{FF2B5EF4-FFF2-40B4-BE49-F238E27FC236}">
                <a16:creationId xmlns:a16="http://schemas.microsoft.com/office/drawing/2014/main" xmlns="" id="{9A190358-3F17-3E41-A4EB-378CC6F6D40A}"/>
              </a:ext>
            </a:extLst>
          </p:cNvPr>
          <p:cNvSpPr/>
          <p:nvPr/>
        </p:nvSpPr>
        <p:spPr>
          <a:xfrm>
            <a:off x="10107462" y="3301804"/>
            <a:ext cx="1933165" cy="2778840"/>
          </a:xfrm>
          <a:prstGeom prst="rect">
            <a:avLst/>
          </a:prstGeom>
          <a:solidFill>
            <a:srgbClr val="FFFFFF"/>
          </a:solidFill>
          <a:ln w="12700">
            <a:solidFill>
              <a:srgbClr val="522486"/>
            </a:solidFill>
            <a:miter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10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Product Instance</a:t>
            </a:r>
          </a:p>
        </p:txBody>
      </p:sp>
      <p:sp>
        <p:nvSpPr>
          <p:cNvPr id="113" name="Мужчина">
            <a:extLst>
              <a:ext uri="{FF2B5EF4-FFF2-40B4-BE49-F238E27FC236}">
                <a16:creationId xmlns:a16="http://schemas.microsoft.com/office/drawing/2014/main" xmlns="" id="{BE168E01-A6EB-5845-BFAA-C9ABD43E42E7}"/>
              </a:ext>
            </a:extLst>
          </p:cNvPr>
          <p:cNvSpPr/>
          <p:nvPr/>
        </p:nvSpPr>
        <p:spPr>
          <a:xfrm>
            <a:off x="10275180" y="3821934"/>
            <a:ext cx="201979" cy="5450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7" h="21600" extrusionOk="0">
                <a:moveTo>
                  <a:pt x="10777" y="0"/>
                </a:moveTo>
                <a:cubicBezTo>
                  <a:pt x="9509" y="0"/>
                  <a:pt x="8239" y="180"/>
                  <a:pt x="7271" y="540"/>
                </a:cubicBezTo>
                <a:cubicBezTo>
                  <a:pt x="5335" y="1259"/>
                  <a:pt x="5335" y="2425"/>
                  <a:pt x="7271" y="3144"/>
                </a:cubicBezTo>
                <a:cubicBezTo>
                  <a:pt x="9206" y="3863"/>
                  <a:pt x="12348" y="3863"/>
                  <a:pt x="14284" y="3144"/>
                </a:cubicBezTo>
                <a:cubicBezTo>
                  <a:pt x="16220" y="2425"/>
                  <a:pt x="16220" y="1259"/>
                  <a:pt x="14284" y="540"/>
                </a:cubicBezTo>
                <a:cubicBezTo>
                  <a:pt x="13316" y="180"/>
                  <a:pt x="12046" y="0"/>
                  <a:pt x="10777" y="0"/>
                </a:cubicBezTo>
                <a:close/>
                <a:moveTo>
                  <a:pt x="4845" y="4060"/>
                </a:moveTo>
                <a:cubicBezTo>
                  <a:pt x="2970" y="4060"/>
                  <a:pt x="1445" y="4331"/>
                  <a:pt x="907" y="4563"/>
                </a:cubicBezTo>
                <a:cubicBezTo>
                  <a:pt x="-23" y="4963"/>
                  <a:pt x="-21" y="5438"/>
                  <a:pt x="8" y="5606"/>
                </a:cubicBezTo>
                <a:lnTo>
                  <a:pt x="8" y="12393"/>
                </a:lnTo>
                <a:cubicBezTo>
                  <a:pt x="8" y="12733"/>
                  <a:pt x="732" y="13004"/>
                  <a:pt x="1648" y="13004"/>
                </a:cubicBezTo>
                <a:cubicBezTo>
                  <a:pt x="2563" y="13004"/>
                  <a:pt x="3292" y="12728"/>
                  <a:pt x="3292" y="12393"/>
                </a:cubicBezTo>
                <a:lnTo>
                  <a:pt x="3292" y="6777"/>
                </a:lnTo>
                <a:lnTo>
                  <a:pt x="4791" y="6777"/>
                </a:lnTo>
                <a:lnTo>
                  <a:pt x="4791" y="12641"/>
                </a:lnTo>
                <a:lnTo>
                  <a:pt x="4804" y="12641"/>
                </a:lnTo>
                <a:lnTo>
                  <a:pt x="4804" y="20628"/>
                </a:lnTo>
                <a:cubicBezTo>
                  <a:pt x="4804" y="21163"/>
                  <a:pt x="5982" y="21600"/>
                  <a:pt x="7421" y="21600"/>
                </a:cubicBezTo>
                <a:cubicBezTo>
                  <a:pt x="8860" y="21600"/>
                  <a:pt x="10037" y="21163"/>
                  <a:pt x="10037" y="20628"/>
                </a:cubicBezTo>
                <a:lnTo>
                  <a:pt x="10037" y="12641"/>
                </a:lnTo>
                <a:lnTo>
                  <a:pt x="10777" y="12641"/>
                </a:lnTo>
                <a:lnTo>
                  <a:pt x="11504" y="12641"/>
                </a:lnTo>
                <a:lnTo>
                  <a:pt x="11504" y="20628"/>
                </a:lnTo>
                <a:cubicBezTo>
                  <a:pt x="11504" y="21163"/>
                  <a:pt x="12682" y="21600"/>
                  <a:pt x="14121" y="21600"/>
                </a:cubicBezTo>
                <a:cubicBezTo>
                  <a:pt x="15559" y="21600"/>
                  <a:pt x="16737" y="21163"/>
                  <a:pt x="16737" y="20628"/>
                </a:cubicBezTo>
                <a:lnTo>
                  <a:pt x="16737" y="12636"/>
                </a:lnTo>
                <a:lnTo>
                  <a:pt x="16750" y="12636"/>
                </a:lnTo>
                <a:lnTo>
                  <a:pt x="16750" y="6772"/>
                </a:lnTo>
                <a:lnTo>
                  <a:pt x="18249" y="6772"/>
                </a:lnTo>
                <a:lnTo>
                  <a:pt x="18249" y="12388"/>
                </a:lnTo>
                <a:cubicBezTo>
                  <a:pt x="18249" y="12728"/>
                  <a:pt x="18973" y="12997"/>
                  <a:pt x="19889" y="12997"/>
                </a:cubicBezTo>
                <a:cubicBezTo>
                  <a:pt x="20805" y="12997"/>
                  <a:pt x="21533" y="12723"/>
                  <a:pt x="21533" y="12388"/>
                </a:cubicBezTo>
                <a:lnTo>
                  <a:pt x="21533" y="5606"/>
                </a:lnTo>
                <a:cubicBezTo>
                  <a:pt x="21577" y="5438"/>
                  <a:pt x="21564" y="4957"/>
                  <a:pt x="20634" y="4563"/>
                </a:cubicBezTo>
                <a:cubicBezTo>
                  <a:pt x="20096" y="4336"/>
                  <a:pt x="18566" y="4060"/>
                  <a:pt x="16691" y="4060"/>
                </a:cubicBezTo>
                <a:lnTo>
                  <a:pt x="10777" y="4060"/>
                </a:lnTo>
                <a:lnTo>
                  <a:pt x="4845" y="4060"/>
                </a:ln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 kern="0">
              <a:solidFill>
                <a:srgbClr val="FFFFFF"/>
              </a:solidFill>
              <a:ea typeface="+mj-ea"/>
              <a:cs typeface="Calibri"/>
              <a:sym typeface="Calibri"/>
            </a:endParaRPr>
          </a:p>
        </p:txBody>
      </p:sp>
      <p:sp>
        <p:nvSpPr>
          <p:cNvPr id="114" name="Экземпляр: пакет «Премиум»">
            <a:extLst>
              <a:ext uri="{FF2B5EF4-FFF2-40B4-BE49-F238E27FC236}">
                <a16:creationId xmlns:a16="http://schemas.microsoft.com/office/drawing/2014/main" xmlns="" id="{E5FE20EE-C69A-C445-AD28-552BE681290E}"/>
              </a:ext>
            </a:extLst>
          </p:cNvPr>
          <p:cNvSpPr/>
          <p:nvPr/>
        </p:nvSpPr>
        <p:spPr>
          <a:xfrm>
            <a:off x="10818283" y="3834634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Экземпляр: пакет «Премиум»</a:t>
            </a:r>
          </a:p>
        </p:txBody>
      </p:sp>
      <p:sp>
        <p:nvSpPr>
          <p:cNvPr id="115" name="Линия">
            <a:extLst>
              <a:ext uri="{FF2B5EF4-FFF2-40B4-BE49-F238E27FC236}">
                <a16:creationId xmlns:a16="http://schemas.microsoft.com/office/drawing/2014/main" xmlns="" id="{44ACD58F-BC14-5F43-90B7-7FAA8786D2E0}"/>
              </a:ext>
            </a:extLst>
          </p:cNvPr>
          <p:cNvSpPr/>
          <p:nvPr/>
        </p:nvSpPr>
        <p:spPr>
          <a:xfrm>
            <a:off x="10540382" y="4094435"/>
            <a:ext cx="201979" cy="1"/>
          </a:xfrm>
          <a:prstGeom prst="line">
            <a:avLst/>
          </a:prstGeom>
          <a:ln w="25400">
            <a:solidFill>
              <a:srgbClr val="000000"/>
            </a:solidFill>
            <a:prstDash val="sysDot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sp>
        <p:nvSpPr>
          <p:cNvPr id="116" name="Доступно: сегмент: премиум">
            <a:extLst>
              <a:ext uri="{FF2B5EF4-FFF2-40B4-BE49-F238E27FC236}">
                <a16:creationId xmlns:a16="http://schemas.microsoft.com/office/drawing/2014/main" xmlns="" id="{1F4A7DF2-2506-1D46-8D97-D1BF598D0B0C}"/>
              </a:ext>
            </a:extLst>
          </p:cNvPr>
          <p:cNvSpPr/>
          <p:nvPr/>
        </p:nvSpPr>
        <p:spPr>
          <a:xfrm>
            <a:off x="7129043" y="1821114"/>
            <a:ext cx="1062477" cy="152401"/>
          </a:xfrm>
          <a:prstGeom prst="rect">
            <a:avLst/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 anchor="ctr"/>
          <a:lstStyle>
            <a:lvl1pPr algn="ctr">
              <a:lnSpc>
                <a:spcPct val="90000"/>
              </a:lnSpc>
              <a:defRPr sz="5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Доступно</a:t>
            </a:r>
            <a:r>
              <a:rPr kumimoji="0" sz="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: </a:t>
            </a:r>
            <a:r>
              <a:rPr kumimoji="0" sz="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сегмент</a:t>
            </a:r>
            <a:r>
              <a:rPr kumimoji="0" sz="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: </a:t>
            </a:r>
            <a:r>
              <a:rPr kumimoji="0" sz="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премиум</a:t>
            </a:r>
            <a:r>
              <a:rPr kumimoji="0" lang="ru-RU" sz="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, </a:t>
            </a:r>
            <a:r>
              <a:rPr kumimoji="0" lang="ru-RU" sz="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сбол</a:t>
            </a:r>
            <a:endParaRPr kumimoji="0" sz="5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17" name="BPM: активация вклада">
            <a:extLst>
              <a:ext uri="{FF2B5EF4-FFF2-40B4-BE49-F238E27FC236}">
                <a16:creationId xmlns:a16="http://schemas.microsoft.com/office/drawing/2014/main" xmlns="" id="{181B8FD7-8183-AF47-BA30-9B73F7D1906A}"/>
              </a:ext>
            </a:extLst>
          </p:cNvPr>
          <p:cNvSpPr/>
          <p:nvPr/>
        </p:nvSpPr>
        <p:spPr>
          <a:xfrm>
            <a:off x="3624503" y="5263670"/>
            <a:ext cx="1062478" cy="519602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BPM: активация вклада</a:t>
            </a:r>
          </a:p>
        </p:txBody>
      </p:sp>
      <p:sp>
        <p:nvSpPr>
          <p:cNvPr id="118" name="BPM: начисление %">
            <a:extLst>
              <a:ext uri="{FF2B5EF4-FFF2-40B4-BE49-F238E27FC236}">
                <a16:creationId xmlns:a16="http://schemas.microsoft.com/office/drawing/2014/main" xmlns="" id="{831A903F-376C-E340-910A-C04EB298E815}"/>
              </a:ext>
            </a:extLst>
          </p:cNvPr>
          <p:cNvSpPr/>
          <p:nvPr/>
        </p:nvSpPr>
        <p:spPr>
          <a:xfrm>
            <a:off x="4879885" y="5263670"/>
            <a:ext cx="1062478" cy="519602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BPM: начисление %</a:t>
            </a:r>
          </a:p>
        </p:txBody>
      </p:sp>
      <p:sp>
        <p:nvSpPr>
          <p:cNvPr id="119" name="…">
            <a:extLst>
              <a:ext uri="{FF2B5EF4-FFF2-40B4-BE49-F238E27FC236}">
                <a16:creationId xmlns:a16="http://schemas.microsoft.com/office/drawing/2014/main" xmlns="" id="{9FBE90C9-D20E-BF41-8826-7553295BAF9F}"/>
              </a:ext>
            </a:extLst>
          </p:cNvPr>
          <p:cNvSpPr/>
          <p:nvPr/>
        </p:nvSpPr>
        <p:spPr>
          <a:xfrm>
            <a:off x="6135267" y="5263670"/>
            <a:ext cx="1062477" cy="519602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…</a:t>
            </a:r>
          </a:p>
        </p:txBody>
      </p:sp>
      <p:sp>
        <p:nvSpPr>
          <p:cNvPr id="120" name="Акция: Вклад сохраняй@онлайн 9 мая 9% годовых">
            <a:extLst>
              <a:ext uri="{FF2B5EF4-FFF2-40B4-BE49-F238E27FC236}">
                <a16:creationId xmlns:a16="http://schemas.microsoft.com/office/drawing/2014/main" xmlns="" id="{6AAAE6D9-B948-FA46-914C-9B3E7A63C07F}"/>
              </a:ext>
            </a:extLst>
          </p:cNvPr>
          <p:cNvSpPr/>
          <p:nvPr/>
        </p:nvSpPr>
        <p:spPr>
          <a:xfrm>
            <a:off x="3340320" y="2136941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Акция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: </a:t>
            </a:r>
            <a:r>
              <a:rPr kumimoji="0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Вклад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 </a:t>
            </a:r>
            <a:r>
              <a:rPr kumimoji="0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сохраняй@онлайн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 9 </a:t>
            </a:r>
            <a:r>
              <a:rPr kumimoji="0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мая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 9% </a:t>
            </a:r>
            <a:r>
              <a:rPr kumimoji="0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годовых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21" name="Доступно: пенсионеры">
            <a:extLst>
              <a:ext uri="{FF2B5EF4-FFF2-40B4-BE49-F238E27FC236}">
                <a16:creationId xmlns:a16="http://schemas.microsoft.com/office/drawing/2014/main" xmlns="" id="{C1674F26-2BDF-114F-9954-96451BC4F271}"/>
              </a:ext>
            </a:extLst>
          </p:cNvPr>
          <p:cNvSpPr/>
          <p:nvPr/>
        </p:nvSpPr>
        <p:spPr>
          <a:xfrm>
            <a:off x="3421837" y="2034723"/>
            <a:ext cx="899444" cy="152401"/>
          </a:xfrm>
          <a:prstGeom prst="rect">
            <a:avLst/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 anchor="ctr"/>
          <a:lstStyle>
            <a:lvl1pPr algn="ctr">
              <a:lnSpc>
                <a:spcPct val="90000"/>
              </a:lnSpc>
              <a:defRPr sz="5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Доступно</a:t>
            </a:r>
            <a:r>
              <a:rPr kumimoji="0" sz="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: </a:t>
            </a:r>
            <a:r>
              <a:rPr kumimoji="0" sz="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пенсионеры</a:t>
            </a:r>
            <a:r>
              <a:rPr kumimoji="0" lang="ru-RU" sz="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, </a:t>
            </a:r>
            <a:r>
              <a:rPr kumimoji="0" lang="ru-RU" sz="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сбол</a:t>
            </a:r>
            <a:endParaRPr kumimoji="0" sz="5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22" name="КМД">
            <a:extLst>
              <a:ext uri="{FF2B5EF4-FFF2-40B4-BE49-F238E27FC236}">
                <a16:creationId xmlns:a16="http://schemas.microsoft.com/office/drawing/2014/main" xmlns="" id="{831B378F-1A96-FF4D-9AC8-96BFAEEF4931}"/>
              </a:ext>
            </a:extLst>
          </p:cNvPr>
          <p:cNvSpPr/>
          <p:nvPr/>
        </p:nvSpPr>
        <p:spPr>
          <a:xfrm>
            <a:off x="7811641" y="5263670"/>
            <a:ext cx="1062477" cy="519602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12700">
            <a:solidFill>
              <a:srgbClr val="522486"/>
            </a:solidFill>
            <a:miter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1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КМД</a:t>
            </a:r>
          </a:p>
        </p:txBody>
      </p:sp>
      <p:sp>
        <p:nvSpPr>
          <p:cNvPr id="123" name="Премиум клиент">
            <a:extLst>
              <a:ext uri="{FF2B5EF4-FFF2-40B4-BE49-F238E27FC236}">
                <a16:creationId xmlns:a16="http://schemas.microsoft.com/office/drawing/2014/main" xmlns="" id="{44421586-4B95-1746-93D5-BE43861DB617}"/>
              </a:ext>
            </a:extLst>
          </p:cNvPr>
          <p:cNvSpPr txBox="1"/>
          <p:nvPr/>
        </p:nvSpPr>
        <p:spPr>
          <a:xfrm>
            <a:off x="10142580" y="4326539"/>
            <a:ext cx="467180" cy="3200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800"/>
            </a:lvl1pPr>
          </a:lstStyle>
          <a:p>
            <a:pPr hangingPunct="0"/>
            <a:r>
              <a:rPr kern="0">
                <a:solidFill>
                  <a:srgbClr val="595959"/>
                </a:solidFill>
                <a:latin typeface="Arial Narrow"/>
                <a:cs typeface="Arial Narrow"/>
                <a:sym typeface="Arial Narrow"/>
              </a:rPr>
              <a:t>Премиум клиент</a:t>
            </a:r>
          </a:p>
        </p:txBody>
      </p:sp>
      <p:pic>
        <p:nvPicPr>
          <p:cNvPr id="124" name="terminal.png" descr="terminal.png">
            <a:extLst>
              <a:ext uri="{FF2B5EF4-FFF2-40B4-BE49-F238E27FC236}">
                <a16:creationId xmlns:a16="http://schemas.microsoft.com/office/drawing/2014/main" xmlns="" id="{68C10BD5-BEC7-4547-8197-08247A1F884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06120" y="5545169"/>
            <a:ext cx="201325" cy="201325"/>
          </a:xfrm>
          <a:prstGeom prst="rect">
            <a:avLst/>
          </a:prstGeom>
          <a:ln w="12700">
            <a:miter lim="400000"/>
          </a:ln>
        </p:spPr>
      </p:pic>
      <p:pic>
        <p:nvPicPr>
          <p:cNvPr id="125" name="terminal.png" descr="terminal.png">
            <a:extLst>
              <a:ext uri="{FF2B5EF4-FFF2-40B4-BE49-F238E27FC236}">
                <a16:creationId xmlns:a16="http://schemas.microsoft.com/office/drawing/2014/main" xmlns="" id="{D225795F-3CE9-6140-9AD1-D2C5124765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98159" y="5545169"/>
            <a:ext cx="201325" cy="201325"/>
          </a:xfrm>
          <a:prstGeom prst="rect">
            <a:avLst/>
          </a:prstGeom>
          <a:ln w="12700">
            <a:miter lim="400000"/>
          </a:ln>
        </p:spPr>
      </p:pic>
      <p:pic>
        <p:nvPicPr>
          <p:cNvPr id="126" name="terminal.png" descr="terminal.png">
            <a:extLst>
              <a:ext uri="{FF2B5EF4-FFF2-40B4-BE49-F238E27FC236}">
                <a16:creationId xmlns:a16="http://schemas.microsoft.com/office/drawing/2014/main" xmlns="" id="{85644ACE-12EB-CB45-A869-16903F70C6B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19268" y="5545169"/>
            <a:ext cx="201325" cy="201325"/>
          </a:xfrm>
          <a:prstGeom prst="rect">
            <a:avLst/>
          </a:prstGeom>
          <a:ln w="12700">
            <a:miter lim="400000"/>
          </a:ln>
        </p:spPr>
      </p:pic>
      <p:sp>
        <p:nvSpPr>
          <p:cNvPr id="131" name="Мужчина">
            <a:extLst>
              <a:ext uri="{FF2B5EF4-FFF2-40B4-BE49-F238E27FC236}">
                <a16:creationId xmlns:a16="http://schemas.microsoft.com/office/drawing/2014/main" xmlns="" id="{6A368F79-3438-2743-8D12-2D59BC951567}"/>
              </a:ext>
            </a:extLst>
          </p:cNvPr>
          <p:cNvSpPr/>
          <p:nvPr/>
        </p:nvSpPr>
        <p:spPr>
          <a:xfrm>
            <a:off x="10275179" y="4857903"/>
            <a:ext cx="201979" cy="5450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7" h="21600" extrusionOk="0">
                <a:moveTo>
                  <a:pt x="10777" y="0"/>
                </a:moveTo>
                <a:cubicBezTo>
                  <a:pt x="9509" y="0"/>
                  <a:pt x="8239" y="180"/>
                  <a:pt x="7271" y="540"/>
                </a:cubicBezTo>
                <a:cubicBezTo>
                  <a:pt x="5335" y="1259"/>
                  <a:pt x="5335" y="2425"/>
                  <a:pt x="7271" y="3144"/>
                </a:cubicBezTo>
                <a:cubicBezTo>
                  <a:pt x="9206" y="3863"/>
                  <a:pt x="12348" y="3863"/>
                  <a:pt x="14284" y="3144"/>
                </a:cubicBezTo>
                <a:cubicBezTo>
                  <a:pt x="16220" y="2425"/>
                  <a:pt x="16220" y="1259"/>
                  <a:pt x="14284" y="540"/>
                </a:cubicBezTo>
                <a:cubicBezTo>
                  <a:pt x="13316" y="180"/>
                  <a:pt x="12046" y="0"/>
                  <a:pt x="10777" y="0"/>
                </a:cubicBezTo>
                <a:close/>
                <a:moveTo>
                  <a:pt x="4845" y="4060"/>
                </a:moveTo>
                <a:cubicBezTo>
                  <a:pt x="2970" y="4060"/>
                  <a:pt x="1445" y="4331"/>
                  <a:pt x="907" y="4563"/>
                </a:cubicBezTo>
                <a:cubicBezTo>
                  <a:pt x="-23" y="4963"/>
                  <a:pt x="-21" y="5438"/>
                  <a:pt x="8" y="5606"/>
                </a:cubicBezTo>
                <a:lnTo>
                  <a:pt x="8" y="12393"/>
                </a:lnTo>
                <a:cubicBezTo>
                  <a:pt x="8" y="12733"/>
                  <a:pt x="732" y="13004"/>
                  <a:pt x="1648" y="13004"/>
                </a:cubicBezTo>
                <a:cubicBezTo>
                  <a:pt x="2563" y="13004"/>
                  <a:pt x="3292" y="12728"/>
                  <a:pt x="3292" y="12393"/>
                </a:cubicBezTo>
                <a:lnTo>
                  <a:pt x="3292" y="6777"/>
                </a:lnTo>
                <a:lnTo>
                  <a:pt x="4791" y="6777"/>
                </a:lnTo>
                <a:lnTo>
                  <a:pt x="4791" y="12641"/>
                </a:lnTo>
                <a:lnTo>
                  <a:pt x="4804" y="12641"/>
                </a:lnTo>
                <a:lnTo>
                  <a:pt x="4804" y="20628"/>
                </a:lnTo>
                <a:cubicBezTo>
                  <a:pt x="4804" y="21163"/>
                  <a:pt x="5982" y="21600"/>
                  <a:pt x="7421" y="21600"/>
                </a:cubicBezTo>
                <a:cubicBezTo>
                  <a:pt x="8860" y="21600"/>
                  <a:pt x="10037" y="21163"/>
                  <a:pt x="10037" y="20628"/>
                </a:cubicBezTo>
                <a:lnTo>
                  <a:pt x="10037" y="12641"/>
                </a:lnTo>
                <a:lnTo>
                  <a:pt x="10777" y="12641"/>
                </a:lnTo>
                <a:lnTo>
                  <a:pt x="11504" y="12641"/>
                </a:lnTo>
                <a:lnTo>
                  <a:pt x="11504" y="20628"/>
                </a:lnTo>
                <a:cubicBezTo>
                  <a:pt x="11504" y="21163"/>
                  <a:pt x="12682" y="21600"/>
                  <a:pt x="14121" y="21600"/>
                </a:cubicBezTo>
                <a:cubicBezTo>
                  <a:pt x="15559" y="21600"/>
                  <a:pt x="16737" y="21163"/>
                  <a:pt x="16737" y="20628"/>
                </a:cubicBezTo>
                <a:lnTo>
                  <a:pt x="16737" y="12636"/>
                </a:lnTo>
                <a:lnTo>
                  <a:pt x="16750" y="12636"/>
                </a:lnTo>
                <a:lnTo>
                  <a:pt x="16750" y="6772"/>
                </a:lnTo>
                <a:lnTo>
                  <a:pt x="18249" y="6772"/>
                </a:lnTo>
                <a:lnTo>
                  <a:pt x="18249" y="12388"/>
                </a:lnTo>
                <a:cubicBezTo>
                  <a:pt x="18249" y="12728"/>
                  <a:pt x="18973" y="12997"/>
                  <a:pt x="19889" y="12997"/>
                </a:cubicBezTo>
                <a:cubicBezTo>
                  <a:pt x="20805" y="12997"/>
                  <a:pt x="21533" y="12723"/>
                  <a:pt x="21533" y="12388"/>
                </a:cubicBezTo>
                <a:lnTo>
                  <a:pt x="21533" y="5606"/>
                </a:lnTo>
                <a:cubicBezTo>
                  <a:pt x="21577" y="5438"/>
                  <a:pt x="21564" y="4957"/>
                  <a:pt x="20634" y="4563"/>
                </a:cubicBezTo>
                <a:cubicBezTo>
                  <a:pt x="20096" y="4336"/>
                  <a:pt x="18566" y="4060"/>
                  <a:pt x="16691" y="4060"/>
                </a:cubicBezTo>
                <a:lnTo>
                  <a:pt x="10777" y="4060"/>
                </a:lnTo>
                <a:lnTo>
                  <a:pt x="4845" y="4060"/>
                </a:ln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 kern="0">
              <a:solidFill>
                <a:srgbClr val="FFFFFF"/>
              </a:solidFill>
              <a:ea typeface="+mj-ea"/>
              <a:cs typeface="Calibri"/>
              <a:sym typeface="Calibri"/>
            </a:endParaRPr>
          </a:p>
        </p:txBody>
      </p:sp>
      <p:sp>
        <p:nvSpPr>
          <p:cNvPr id="132" name="Ветеран">
            <a:extLst>
              <a:ext uri="{FF2B5EF4-FFF2-40B4-BE49-F238E27FC236}">
                <a16:creationId xmlns:a16="http://schemas.microsoft.com/office/drawing/2014/main" xmlns="" id="{3082D1E8-A202-2248-B8E2-DA1C5DA854D9}"/>
              </a:ext>
            </a:extLst>
          </p:cNvPr>
          <p:cNvSpPr txBox="1"/>
          <p:nvPr/>
        </p:nvSpPr>
        <p:spPr>
          <a:xfrm>
            <a:off x="10142579" y="5362508"/>
            <a:ext cx="467181" cy="2057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800"/>
            </a:lvl1pPr>
          </a:lstStyle>
          <a:p>
            <a:pPr hangingPunct="0"/>
            <a:r>
              <a:rPr kern="0">
                <a:solidFill>
                  <a:srgbClr val="595959"/>
                </a:solidFill>
                <a:latin typeface="Arial Narrow"/>
                <a:cs typeface="Arial Narrow"/>
                <a:sym typeface="Arial Narrow"/>
              </a:rPr>
              <a:t>Ветеран</a:t>
            </a:r>
          </a:p>
        </p:txBody>
      </p:sp>
      <p:sp>
        <p:nvSpPr>
          <p:cNvPr id="133" name="Экземпляр: Вклад 9 мая 9%">
            <a:extLst>
              <a:ext uri="{FF2B5EF4-FFF2-40B4-BE49-F238E27FC236}">
                <a16:creationId xmlns:a16="http://schemas.microsoft.com/office/drawing/2014/main" xmlns="" id="{99DF9362-1D1C-4D47-A3E9-052D0F33E73D}"/>
              </a:ext>
            </a:extLst>
          </p:cNvPr>
          <p:cNvSpPr/>
          <p:nvPr/>
        </p:nvSpPr>
        <p:spPr>
          <a:xfrm>
            <a:off x="10818283" y="4870603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Экземпляр: Вклад 9 мая 9%</a:t>
            </a:r>
          </a:p>
        </p:txBody>
      </p:sp>
      <p:sp>
        <p:nvSpPr>
          <p:cNvPr id="134" name="Линия">
            <a:extLst>
              <a:ext uri="{FF2B5EF4-FFF2-40B4-BE49-F238E27FC236}">
                <a16:creationId xmlns:a16="http://schemas.microsoft.com/office/drawing/2014/main" xmlns="" id="{E02B9816-01EE-014B-881F-E8644527A511}"/>
              </a:ext>
            </a:extLst>
          </p:cNvPr>
          <p:cNvSpPr/>
          <p:nvPr/>
        </p:nvSpPr>
        <p:spPr>
          <a:xfrm>
            <a:off x="10540382" y="5130404"/>
            <a:ext cx="201979" cy="1"/>
          </a:xfrm>
          <a:prstGeom prst="line">
            <a:avLst/>
          </a:prstGeom>
          <a:ln w="25400">
            <a:solidFill>
              <a:srgbClr val="000000"/>
            </a:solidFill>
            <a:prstDash val="sysDot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sp>
        <p:nvSpPr>
          <p:cNvPr id="136" name="Сбол">
            <a:extLst>
              <a:ext uri="{FF2B5EF4-FFF2-40B4-BE49-F238E27FC236}">
                <a16:creationId xmlns:a16="http://schemas.microsoft.com/office/drawing/2014/main" xmlns="" id="{D793ADD9-61CD-454C-8D1B-4F6128E311B5}"/>
              </a:ext>
            </a:extLst>
          </p:cNvPr>
          <p:cNvSpPr/>
          <p:nvPr/>
        </p:nvSpPr>
        <p:spPr>
          <a:xfrm>
            <a:off x="10110984" y="1517168"/>
            <a:ext cx="1933165" cy="1598684"/>
          </a:xfrm>
          <a:prstGeom prst="rect">
            <a:avLst/>
          </a:prstGeom>
          <a:solidFill>
            <a:srgbClr val="FFFFFF"/>
          </a:solidFill>
          <a:ln w="12700">
            <a:solidFill>
              <a:srgbClr val="522486"/>
            </a:solidFill>
            <a:miter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10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СБОЛ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/>
              <a:cs typeface="Arial Black"/>
              <a:sym typeface="Arial Black"/>
            </a:endParaRPr>
          </a:p>
        </p:txBody>
      </p:sp>
      <p:sp>
        <p:nvSpPr>
          <p:cNvPr id="138" name="Экземпляр: Вклад 9 мая 9%">
            <a:extLst>
              <a:ext uri="{FF2B5EF4-FFF2-40B4-BE49-F238E27FC236}">
                <a16:creationId xmlns:a16="http://schemas.microsoft.com/office/drawing/2014/main" xmlns="" id="{F4C668C0-A59F-AF47-B620-7D88DFA93F88}"/>
              </a:ext>
            </a:extLst>
          </p:cNvPr>
          <p:cNvSpPr/>
          <p:nvPr/>
        </p:nvSpPr>
        <p:spPr>
          <a:xfrm>
            <a:off x="10613005" y="5609597"/>
            <a:ext cx="618722" cy="302585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EAEAEA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Активация вклада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39" name="Экземпляр: Вклад 9 мая 9%">
            <a:extLst>
              <a:ext uri="{FF2B5EF4-FFF2-40B4-BE49-F238E27FC236}">
                <a16:creationId xmlns:a16="http://schemas.microsoft.com/office/drawing/2014/main" xmlns="" id="{25FEE2D4-C80A-3A42-A37E-A4A64C49C4ED}"/>
              </a:ext>
            </a:extLst>
          </p:cNvPr>
          <p:cNvSpPr/>
          <p:nvPr/>
        </p:nvSpPr>
        <p:spPr>
          <a:xfrm>
            <a:off x="11375940" y="5603987"/>
            <a:ext cx="618722" cy="302585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Начисление 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%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40" name="Линия">
            <a:extLst>
              <a:ext uri="{FF2B5EF4-FFF2-40B4-BE49-F238E27FC236}">
                <a16:creationId xmlns:a16="http://schemas.microsoft.com/office/drawing/2014/main" xmlns="" id="{85227479-6A74-3845-92C0-DEA289F536D4}"/>
              </a:ext>
            </a:extLst>
          </p:cNvPr>
          <p:cNvSpPr/>
          <p:nvPr/>
        </p:nvSpPr>
        <p:spPr>
          <a:xfrm flipV="1">
            <a:off x="10890811" y="5398245"/>
            <a:ext cx="439164" cy="205741"/>
          </a:xfrm>
          <a:prstGeom prst="line">
            <a:avLst/>
          </a:prstGeom>
          <a:ln w="22225">
            <a:solidFill>
              <a:srgbClr val="522486"/>
            </a:solidFill>
            <a:prstDash val="lgDash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sp>
        <p:nvSpPr>
          <p:cNvPr id="141" name="Линия">
            <a:extLst>
              <a:ext uri="{FF2B5EF4-FFF2-40B4-BE49-F238E27FC236}">
                <a16:creationId xmlns:a16="http://schemas.microsoft.com/office/drawing/2014/main" xmlns="" id="{0B1CF254-3FE0-0745-A2FA-AD5CCF1D6E28}"/>
              </a:ext>
            </a:extLst>
          </p:cNvPr>
          <p:cNvSpPr/>
          <p:nvPr/>
        </p:nvSpPr>
        <p:spPr>
          <a:xfrm>
            <a:off x="11329975" y="5398245"/>
            <a:ext cx="400061" cy="213779"/>
          </a:xfrm>
          <a:prstGeom prst="line">
            <a:avLst/>
          </a:prstGeom>
          <a:ln w="22225">
            <a:solidFill>
              <a:srgbClr val="522486"/>
            </a:solidFill>
            <a:prstDash val="lgDash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sp>
        <p:nvSpPr>
          <p:cNvPr id="142" name="Продукт: Льготная тарификация">
            <a:extLst>
              <a:ext uri="{FF2B5EF4-FFF2-40B4-BE49-F238E27FC236}">
                <a16:creationId xmlns:a16="http://schemas.microsoft.com/office/drawing/2014/main" xmlns="" id="{59C36A43-9B29-DD43-BEB0-99B97510540A}"/>
              </a:ext>
            </a:extLst>
          </p:cNvPr>
          <p:cNvSpPr/>
          <p:nvPr/>
        </p:nvSpPr>
        <p:spPr>
          <a:xfrm>
            <a:off x="10578990" y="1826030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err="1">
                <a:latin typeface="Arial Narrow"/>
                <a:cs typeface="Arial Narrow"/>
                <a:sym typeface="Arial Narrow"/>
              </a:rPr>
              <a:t>Бандл</a:t>
            </a:r>
            <a:r>
              <a:rPr lang="ru-RU" kern="0" dirty="0">
                <a:latin typeface="Arial Narrow"/>
                <a:cs typeface="Arial Narrow"/>
                <a:sym typeface="Arial Narrow"/>
              </a:rPr>
              <a:t> «Премиум»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43" name="Продукт: Льготная тарификация">
            <a:extLst>
              <a:ext uri="{FF2B5EF4-FFF2-40B4-BE49-F238E27FC236}">
                <a16:creationId xmlns:a16="http://schemas.microsoft.com/office/drawing/2014/main" xmlns="" id="{C9F1873A-C5A2-1142-83EC-6FE84A0BD1A3}"/>
              </a:ext>
            </a:extLst>
          </p:cNvPr>
          <p:cNvSpPr/>
          <p:nvPr/>
        </p:nvSpPr>
        <p:spPr>
          <a:xfrm>
            <a:off x="10578990" y="2490264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lvl="0" hangingPunct="0">
              <a:defRPr/>
            </a:pPr>
            <a:r>
              <a:rPr lang="ru-RU" kern="0" dirty="0">
                <a:latin typeface="Arial Narrow"/>
                <a:cs typeface="Arial Narrow"/>
                <a:sym typeface="Arial Narrow"/>
              </a:rPr>
              <a:t>Акция: Вклад </a:t>
            </a:r>
            <a:r>
              <a:rPr lang="ru-RU" kern="0" dirty="0" err="1">
                <a:latin typeface="Arial Narrow"/>
                <a:cs typeface="Arial Narrow"/>
                <a:sym typeface="Arial Narrow"/>
              </a:rPr>
              <a:t>сохраняй@онлайн</a:t>
            </a:r>
            <a:r>
              <a:rPr lang="ru-RU" kern="0" dirty="0">
                <a:latin typeface="Arial Narrow"/>
                <a:cs typeface="Arial Narrow"/>
                <a:sym typeface="Arial Narrow"/>
              </a:rPr>
              <a:t> 9 мая 9% годовых</a:t>
            </a:r>
          </a:p>
        </p:txBody>
      </p:sp>
      <p:sp>
        <p:nvSpPr>
          <p:cNvPr id="150" name="Линия">
            <a:extLst>
              <a:ext uri="{FF2B5EF4-FFF2-40B4-BE49-F238E27FC236}">
                <a16:creationId xmlns:a16="http://schemas.microsoft.com/office/drawing/2014/main" xmlns="" id="{9E75FF27-598C-FF47-8D5F-B869E62ECCB6}"/>
              </a:ext>
            </a:extLst>
          </p:cNvPr>
          <p:cNvSpPr/>
          <p:nvPr/>
        </p:nvSpPr>
        <p:spPr>
          <a:xfrm flipV="1">
            <a:off x="4211715" y="4292599"/>
            <a:ext cx="0" cy="963517"/>
          </a:xfrm>
          <a:prstGeom prst="line">
            <a:avLst/>
          </a:prstGeom>
          <a:ln w="22225">
            <a:solidFill>
              <a:srgbClr val="522486"/>
            </a:solidFill>
            <a:prstDash val="lgDash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sp>
        <p:nvSpPr>
          <p:cNvPr id="151" name="Линия">
            <a:extLst>
              <a:ext uri="{FF2B5EF4-FFF2-40B4-BE49-F238E27FC236}">
                <a16:creationId xmlns:a16="http://schemas.microsoft.com/office/drawing/2014/main" xmlns="" id="{DF346E89-2B6A-684D-9863-576C353CBEAF}"/>
              </a:ext>
            </a:extLst>
          </p:cNvPr>
          <p:cNvSpPr/>
          <p:nvPr/>
        </p:nvSpPr>
        <p:spPr>
          <a:xfrm flipH="1" flipV="1">
            <a:off x="3939877" y="2656543"/>
            <a:ext cx="629647" cy="870163"/>
          </a:xfrm>
          <a:prstGeom prst="line">
            <a:avLst/>
          </a:prstGeom>
          <a:ln w="22225">
            <a:solidFill>
              <a:srgbClr val="522486"/>
            </a:solidFill>
            <a:prstDash val="lgDash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sp>
        <p:nvSpPr>
          <p:cNvPr id="152" name="Линия">
            <a:extLst>
              <a:ext uri="{FF2B5EF4-FFF2-40B4-BE49-F238E27FC236}">
                <a16:creationId xmlns:a16="http://schemas.microsoft.com/office/drawing/2014/main" xmlns="" id="{6FAF8CEF-275B-A54E-841F-74167C641C76}"/>
              </a:ext>
            </a:extLst>
          </p:cNvPr>
          <p:cNvSpPr/>
          <p:nvPr/>
        </p:nvSpPr>
        <p:spPr>
          <a:xfrm flipV="1">
            <a:off x="4761154" y="2762173"/>
            <a:ext cx="829210" cy="741578"/>
          </a:xfrm>
          <a:prstGeom prst="line">
            <a:avLst/>
          </a:prstGeom>
          <a:ln w="22225">
            <a:solidFill>
              <a:srgbClr val="522486"/>
            </a:solidFill>
            <a:prstDash val="lgDash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cxnSp>
        <p:nvCxnSpPr>
          <p:cNvPr id="64" name="Прямая соединительная линия 118">
            <a:extLst>
              <a:ext uri="{FF2B5EF4-FFF2-40B4-BE49-F238E27FC236}">
                <a16:creationId xmlns:a16="http://schemas.microsoft.com/office/drawing/2014/main" xmlns="" id="{B998A546-A01B-8144-8651-7FC8FF6C7971}"/>
              </a:ext>
            </a:extLst>
          </p:cNvPr>
          <p:cNvCxnSpPr>
            <a:cxnSpLocks/>
          </p:cNvCxnSpPr>
          <p:nvPr/>
        </p:nvCxnSpPr>
        <p:spPr>
          <a:xfrm flipV="1">
            <a:off x="9810752" y="1134803"/>
            <a:ext cx="0" cy="5508885"/>
          </a:xfrm>
          <a:prstGeom prst="line">
            <a:avLst/>
          </a:prstGeom>
          <a:noFill/>
          <a:ln w="6350" cap="rnd">
            <a:gradFill flip="none" rotWithShape="1">
              <a:gsLst>
                <a:gs pos="29000">
                  <a:srgbClr val="006192"/>
                </a:gs>
                <a:gs pos="100000">
                  <a:srgbClr val="001721">
                    <a:alpha val="0"/>
                  </a:srgbClr>
                </a:gs>
                <a:gs pos="70000">
                  <a:srgbClr val="7DC4DD"/>
                </a:gs>
                <a:gs pos="0">
                  <a:srgbClr val="001822">
                    <a:alpha val="0"/>
                  </a:srgbClr>
                </a:gs>
              </a:gsLst>
              <a:lin ang="5400000" scaled="1"/>
              <a:tileRect/>
            </a:gradFill>
            <a:head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5" name="Стоимость изменений">
            <a:extLst>
              <a:ext uri="{FF2B5EF4-FFF2-40B4-BE49-F238E27FC236}">
                <a16:creationId xmlns:a16="http://schemas.microsoft.com/office/drawing/2014/main" xmlns="" id="{90D329D8-C8B9-1345-AF9A-A27A95FA2D26}"/>
              </a:ext>
            </a:extLst>
          </p:cNvPr>
          <p:cNvSpPr txBox="1"/>
          <p:nvPr/>
        </p:nvSpPr>
        <p:spPr>
          <a:xfrm rot="16200000">
            <a:off x="1478450" y="3775359"/>
            <a:ext cx="2442333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000000"/>
                </a:solidFill>
              </a:defRPr>
            </a:lvl1pPr>
          </a:lstStyle>
          <a:p>
            <a:pPr hangingPunct="0"/>
            <a:r>
              <a:rPr b="1" kern="0" dirty="0" err="1">
                <a:latin typeface="Arial Narrow"/>
                <a:cs typeface="Arial Narrow"/>
                <a:sym typeface="Arial Narrow"/>
              </a:rPr>
              <a:t>Стоимость</a:t>
            </a:r>
            <a:r>
              <a:rPr b="1" kern="0" dirty="0">
                <a:latin typeface="Arial Narrow"/>
                <a:cs typeface="Arial Narrow"/>
                <a:sym typeface="Arial Narrow"/>
              </a:rPr>
              <a:t> </a:t>
            </a:r>
            <a:r>
              <a:rPr b="1" kern="0" dirty="0" err="1">
                <a:latin typeface="Arial Narrow"/>
                <a:cs typeface="Arial Narrow"/>
                <a:sym typeface="Arial Narrow"/>
              </a:rPr>
              <a:t>изменений</a:t>
            </a:r>
            <a:r>
              <a:rPr lang="en-US" b="1" kern="0" dirty="0">
                <a:latin typeface="Arial Narrow"/>
                <a:cs typeface="Arial Narrow"/>
                <a:sym typeface="Arial Narrow"/>
              </a:rPr>
              <a:t> </a:t>
            </a:r>
            <a:r>
              <a:rPr lang="ru-RU" b="1" kern="0" dirty="0">
                <a:latin typeface="Arial Narrow"/>
                <a:cs typeface="Arial Narrow"/>
                <a:sym typeface="Arial Narrow"/>
              </a:rPr>
              <a:t>и временные затраты</a:t>
            </a:r>
            <a:endParaRPr b="1" kern="0" dirty="0">
              <a:latin typeface="Arial Narrow"/>
              <a:cs typeface="Arial Narrow"/>
              <a:sym typeface="Arial Narrow"/>
            </a:endParaRPr>
          </a:p>
        </p:txBody>
      </p:sp>
      <p:sp>
        <p:nvSpPr>
          <p:cNvPr id="66" name="Треугольник 65">
            <a:extLst>
              <a:ext uri="{FF2B5EF4-FFF2-40B4-BE49-F238E27FC236}">
                <a16:creationId xmlns:a16="http://schemas.microsoft.com/office/drawing/2014/main" xmlns="" id="{68E85BEE-35E8-194F-BAC6-932BB4B726A9}"/>
              </a:ext>
            </a:extLst>
          </p:cNvPr>
          <p:cNvSpPr/>
          <p:nvPr/>
        </p:nvSpPr>
        <p:spPr>
          <a:xfrm>
            <a:off x="2802688" y="1392492"/>
            <a:ext cx="201709" cy="4800505"/>
          </a:xfrm>
          <a:prstGeom prst="triangl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D71EDD29-DC0C-4952-BEE5-F8A0D1CF13C6}"/>
              </a:ext>
            </a:extLst>
          </p:cNvPr>
          <p:cNvSpPr txBox="1"/>
          <p:nvPr/>
        </p:nvSpPr>
        <p:spPr>
          <a:xfrm>
            <a:off x="197335" y="6400800"/>
            <a:ext cx="11683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Malgun Gothic" panose="020B0503020000020004" pitchFamily="34" charset="-127"/>
                <a:ea typeface="Malgun Gothic" panose="020B0503020000020004" pitchFamily="34" charset="-127"/>
                <a:cs typeface="Malgun Gothic Semilight" panose="020B0502040204020203" pitchFamily="34" charset="-128"/>
              </a:rPr>
              <a:t>* </a:t>
            </a:r>
            <a:r>
              <a:rPr lang="ru-RU" sz="1200" dirty="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Технолог </a:t>
            </a:r>
            <a:r>
              <a:rPr lang="ru-RU" sz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– специальная роль для </a:t>
            </a:r>
            <a:r>
              <a:rPr lang="ru-RU" sz="1200" dirty="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создания и конфигурирования сервисов (услуг)</a:t>
            </a:r>
            <a:r>
              <a:rPr lang="ru-RU" sz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</a:t>
            </a:r>
            <a:r>
              <a:rPr lang="ru-RU" sz="1200" dirty="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в рамках продуктов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Malgun Gothic" panose="020B0503020000020004" pitchFamily="34" charset="-127"/>
              <a:ea typeface="Malgun Gothic" panose="020B0503020000020004" pitchFamily="34" charset="-127"/>
              <a:cs typeface="Malgun Gothic Semilight" panose="020B0502040204020203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440440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914" name="think-cell Slide" r:id="rId6" imgW="802" imgH="802" progId="TCLayout.ActiveDocument.1">
                  <p:embed/>
                </p:oleObj>
              </mc:Choice>
              <mc:Fallback>
                <p:oleObj name="think-cell Slide" r:id="rId6" imgW="802" imgH="80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xmlns="" id="{7371160C-E0F5-4DBC-9881-0D3F3BDC6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 Black" panose="020B0A04020102020204" pitchFamily="34" charset="0"/>
            </a:endParaRPr>
          </a:p>
        </p:txBody>
      </p:sp>
      <p:sp>
        <p:nvSpPr>
          <p:cNvPr id="24" name="Заголовок 3">
            <a:extLst>
              <a:ext uri="{FF2B5EF4-FFF2-40B4-BE49-F238E27FC236}">
                <a16:creationId xmlns:a16="http://schemas.microsoft.com/office/drawing/2014/main" xmlns="" id="{03D3426E-F2A6-4A97-8704-98FDD5691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7" y="219180"/>
            <a:ext cx="11302999" cy="41251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 smtClean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ак связаны продуктовый/сервисный каталог и платформа?</a:t>
            </a:r>
            <a:endParaRPr lang="ru-RU" sz="2400" b="1" dirty="0"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25" name="Rectangle 94">
            <a:extLst>
              <a:ext uri="{FF2B5EF4-FFF2-40B4-BE49-F238E27FC236}">
                <a16:creationId xmlns:a16="http://schemas.microsoft.com/office/drawing/2014/main" xmlns="" id="{43A09D4D-B200-4EEA-A5CE-0D27FF145BC1}"/>
              </a:ext>
            </a:extLst>
          </p:cNvPr>
          <p:cNvSpPr/>
          <p:nvPr/>
        </p:nvSpPr>
        <p:spPr>
          <a:xfrm>
            <a:off x="197337" y="631690"/>
            <a:ext cx="117973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lang="ru-RU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ервисы реализуются инженерами с использованием инструментов платформы </a:t>
            </a:r>
            <a:r>
              <a:rPr lang="ru-RU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и публикуются в виде </a:t>
            </a:r>
            <a:r>
              <a:rPr lang="en-US" dirty="0" smtClean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API</a:t>
            </a:r>
            <a:endParaRPr lang="ru-RU" dirty="0">
              <a:solidFill>
                <a:srgbClr val="522486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95" name="Marketing &amp; Sales">
            <a:extLst>
              <a:ext uri="{FF2B5EF4-FFF2-40B4-BE49-F238E27FC236}">
                <a16:creationId xmlns:a16="http://schemas.microsoft.com/office/drawing/2014/main" xmlns="" id="{B72F5F4B-341F-1041-B18A-AB651BF6B5C6}"/>
              </a:ext>
            </a:extLst>
          </p:cNvPr>
          <p:cNvSpPr/>
          <p:nvPr/>
        </p:nvSpPr>
        <p:spPr>
          <a:xfrm>
            <a:off x="455390" y="1579676"/>
            <a:ext cx="2145235" cy="1270001"/>
          </a:xfrm>
          <a:prstGeom prst="rightArrow">
            <a:avLst>
              <a:gd name="adj1" fmla="val 32000"/>
              <a:gd name="adj2" fmla="val 6400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/>
          <a:p>
            <a:pPr marL="0" marR="0" lvl="0" indent="0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Marketing &amp; Sales</a:t>
            </a:r>
          </a:p>
        </p:txBody>
      </p:sp>
      <p:sp>
        <p:nvSpPr>
          <p:cNvPr id="96" name="Product Management">
            <a:extLst>
              <a:ext uri="{FF2B5EF4-FFF2-40B4-BE49-F238E27FC236}">
                <a16:creationId xmlns:a16="http://schemas.microsoft.com/office/drawing/2014/main" xmlns="" id="{73D26B89-FBFB-C14E-BD2E-9FB3289424A9}"/>
              </a:ext>
            </a:extLst>
          </p:cNvPr>
          <p:cNvSpPr/>
          <p:nvPr/>
        </p:nvSpPr>
        <p:spPr>
          <a:xfrm>
            <a:off x="455390" y="3161112"/>
            <a:ext cx="2145235" cy="1270001"/>
          </a:xfrm>
          <a:prstGeom prst="rightArrow">
            <a:avLst>
              <a:gd name="adj1" fmla="val 32000"/>
              <a:gd name="adj2" fmla="val 64000"/>
            </a:avLst>
          </a:prstGeom>
          <a:noFill/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/>
          <a:p>
            <a:pPr marL="0" marR="0" lvl="0" indent="0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Product Management</a:t>
            </a:r>
          </a:p>
        </p:txBody>
      </p:sp>
      <p:sp>
        <p:nvSpPr>
          <p:cNvPr id="97" name="Engineering">
            <a:extLst>
              <a:ext uri="{FF2B5EF4-FFF2-40B4-BE49-F238E27FC236}">
                <a16:creationId xmlns:a16="http://schemas.microsoft.com/office/drawing/2014/main" xmlns="" id="{5A38F9BE-18BC-6041-B109-AA05E11DC9C5}"/>
              </a:ext>
            </a:extLst>
          </p:cNvPr>
          <p:cNvSpPr/>
          <p:nvPr/>
        </p:nvSpPr>
        <p:spPr>
          <a:xfrm>
            <a:off x="455390" y="4742548"/>
            <a:ext cx="2145235" cy="1270001"/>
          </a:xfrm>
          <a:prstGeom prst="rightArrow">
            <a:avLst>
              <a:gd name="adj1" fmla="val 32000"/>
              <a:gd name="adj2" fmla="val 64000"/>
            </a:avLst>
          </a:prstGeom>
          <a:solidFill>
            <a:schemeClr val="accent4">
              <a:lumMod val="20000"/>
              <a:lumOff val="80000"/>
            </a:schemeClr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/>
          <a:p>
            <a:pPr marL="0" marR="0" lvl="0" indent="0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Engineering </a:t>
            </a:r>
          </a:p>
        </p:txBody>
      </p:sp>
      <p:sp>
        <p:nvSpPr>
          <p:cNvPr id="98" name="Технические возможности платформы">
            <a:extLst>
              <a:ext uri="{FF2B5EF4-FFF2-40B4-BE49-F238E27FC236}">
                <a16:creationId xmlns:a16="http://schemas.microsoft.com/office/drawing/2014/main" xmlns="" id="{FC61FCF6-CCEA-D046-85DF-E898B3B07820}"/>
              </a:ext>
            </a:extLst>
          </p:cNvPr>
          <p:cNvSpPr/>
          <p:nvPr/>
        </p:nvSpPr>
        <p:spPr>
          <a:xfrm>
            <a:off x="3173092" y="4742548"/>
            <a:ext cx="6372268" cy="137160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rgbClr val="522486"/>
            </a:solidFill>
            <a:miter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10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Технические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 </a:t>
            </a:r>
            <a:r>
              <a:rPr kumimoji="0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возможности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 </a:t>
            </a:r>
            <a:r>
              <a:rPr kumimoji="0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платформы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/>
              <a:cs typeface="Arial Black"/>
              <a:sym typeface="Arial Black"/>
            </a:endParaRPr>
          </a:p>
        </p:txBody>
      </p:sp>
      <p:sp>
        <p:nvSpPr>
          <p:cNvPr id="99" name="Service Catalog">
            <a:extLst>
              <a:ext uri="{FF2B5EF4-FFF2-40B4-BE49-F238E27FC236}">
                <a16:creationId xmlns:a16="http://schemas.microsoft.com/office/drawing/2014/main" xmlns="" id="{FF47075A-1875-E345-AD07-2B30AC24FBD3}"/>
              </a:ext>
            </a:extLst>
          </p:cNvPr>
          <p:cNvSpPr/>
          <p:nvPr/>
        </p:nvSpPr>
        <p:spPr>
          <a:xfrm>
            <a:off x="3173092" y="3098604"/>
            <a:ext cx="6372268" cy="1395016"/>
          </a:xfrm>
          <a:prstGeom prst="rect">
            <a:avLst/>
          </a:prstGeom>
          <a:noFill/>
          <a:ln w="12700">
            <a:solidFill>
              <a:srgbClr val="522486"/>
            </a:solidFill>
            <a:miter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10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Service Catalog</a:t>
            </a:r>
          </a:p>
        </p:txBody>
      </p:sp>
      <p:sp>
        <p:nvSpPr>
          <p:cNvPr id="100" name="Product Catalog">
            <a:extLst>
              <a:ext uri="{FF2B5EF4-FFF2-40B4-BE49-F238E27FC236}">
                <a16:creationId xmlns:a16="http://schemas.microsoft.com/office/drawing/2014/main" xmlns="" id="{E643E727-706E-4E48-92C1-B97A38D354CC}"/>
              </a:ext>
            </a:extLst>
          </p:cNvPr>
          <p:cNvSpPr/>
          <p:nvPr/>
        </p:nvSpPr>
        <p:spPr>
          <a:xfrm>
            <a:off x="3173092" y="1517168"/>
            <a:ext cx="6372268" cy="1395016"/>
          </a:xfrm>
          <a:prstGeom prst="rect">
            <a:avLst/>
          </a:prstGeom>
          <a:solidFill>
            <a:srgbClr val="FFFFFF"/>
          </a:solidFill>
          <a:ln w="12700">
            <a:solidFill>
              <a:srgbClr val="522486"/>
            </a:solidFill>
            <a:miter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10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Product Catalog</a:t>
            </a:r>
          </a:p>
        </p:txBody>
      </p:sp>
      <p:sp>
        <p:nvSpPr>
          <p:cNvPr id="101" name="Бизнес-сервис: активация вклада">
            <a:extLst>
              <a:ext uri="{FF2B5EF4-FFF2-40B4-BE49-F238E27FC236}">
                <a16:creationId xmlns:a16="http://schemas.microsoft.com/office/drawing/2014/main" xmlns="" id="{26935B51-5FB1-DC41-B5F3-8F3FD73FBEE4}"/>
              </a:ext>
            </a:extLst>
          </p:cNvPr>
          <p:cNvSpPr/>
          <p:nvPr/>
        </p:nvSpPr>
        <p:spPr>
          <a:xfrm>
            <a:off x="3522903" y="3503751"/>
            <a:ext cx="2358482" cy="851994"/>
          </a:xfrm>
          <a:prstGeom prst="roundRect">
            <a:avLst>
              <a:gd name="adj" fmla="val 8575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Бизнес-сервис: активация вклада</a:t>
            </a:r>
          </a:p>
        </p:txBody>
      </p:sp>
      <p:sp>
        <p:nvSpPr>
          <p:cNvPr id="104" name="Бизнес-сервис: начисление %">
            <a:extLst>
              <a:ext uri="{FF2B5EF4-FFF2-40B4-BE49-F238E27FC236}">
                <a16:creationId xmlns:a16="http://schemas.microsoft.com/office/drawing/2014/main" xmlns="" id="{5918D5D4-AFFC-BD42-A59B-71C67348B1A7}"/>
              </a:ext>
            </a:extLst>
          </p:cNvPr>
          <p:cNvSpPr/>
          <p:nvPr/>
        </p:nvSpPr>
        <p:spPr>
          <a:xfrm>
            <a:off x="5993053" y="3503751"/>
            <a:ext cx="1516536" cy="851994"/>
          </a:xfrm>
          <a:prstGeom prst="roundRect">
            <a:avLst>
              <a:gd name="adj" fmla="val 8575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Бизнес-сервис: начисление %</a:t>
            </a:r>
          </a:p>
        </p:txBody>
      </p:sp>
      <p:sp>
        <p:nvSpPr>
          <p:cNvPr id="106" name="Бизнес-сервис: …">
            <a:extLst>
              <a:ext uri="{FF2B5EF4-FFF2-40B4-BE49-F238E27FC236}">
                <a16:creationId xmlns:a16="http://schemas.microsoft.com/office/drawing/2014/main" xmlns="" id="{3276E236-384C-1747-875B-9833500D28AC}"/>
              </a:ext>
            </a:extLst>
          </p:cNvPr>
          <p:cNvSpPr/>
          <p:nvPr/>
        </p:nvSpPr>
        <p:spPr>
          <a:xfrm>
            <a:off x="7679012" y="3503751"/>
            <a:ext cx="1516536" cy="851994"/>
          </a:xfrm>
          <a:prstGeom prst="roundRect">
            <a:avLst>
              <a:gd name="adj" fmla="val 8575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Бизнес-сервис: …</a:t>
            </a:r>
          </a:p>
        </p:txBody>
      </p:sp>
      <p:sp>
        <p:nvSpPr>
          <p:cNvPr id="107" name="Бандл: «Премиум»">
            <a:extLst>
              <a:ext uri="{FF2B5EF4-FFF2-40B4-BE49-F238E27FC236}">
                <a16:creationId xmlns:a16="http://schemas.microsoft.com/office/drawing/2014/main" xmlns="" id="{048DFB48-CFF1-F64B-AD45-BD51C2B44E93}"/>
              </a:ext>
            </a:extLst>
          </p:cNvPr>
          <p:cNvSpPr/>
          <p:nvPr/>
        </p:nvSpPr>
        <p:spPr>
          <a:xfrm>
            <a:off x="4741573" y="1892782"/>
            <a:ext cx="3540716" cy="905703"/>
          </a:xfrm>
          <a:prstGeom prst="roundRect">
            <a:avLst>
              <a:gd name="adj" fmla="val 8066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Бандл: «Премиум»</a:t>
            </a:r>
          </a:p>
        </p:txBody>
      </p:sp>
      <p:sp>
        <p:nvSpPr>
          <p:cNvPr id="108" name="Продукт: Вклад сохраняй@онлайн">
            <a:extLst>
              <a:ext uri="{FF2B5EF4-FFF2-40B4-BE49-F238E27FC236}">
                <a16:creationId xmlns:a16="http://schemas.microsoft.com/office/drawing/2014/main" xmlns="" id="{9408A192-9550-D14D-B460-9325735D4D27}"/>
              </a:ext>
            </a:extLst>
          </p:cNvPr>
          <p:cNvSpPr/>
          <p:nvPr/>
        </p:nvSpPr>
        <p:spPr>
          <a:xfrm>
            <a:off x="5142492" y="2222012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Продукт: Вклад сохраняй@онлайн</a:t>
            </a:r>
          </a:p>
        </p:txBody>
      </p:sp>
      <p:sp>
        <p:nvSpPr>
          <p:cNvPr id="109" name="Продукт: Льготная тарификация">
            <a:extLst>
              <a:ext uri="{FF2B5EF4-FFF2-40B4-BE49-F238E27FC236}">
                <a16:creationId xmlns:a16="http://schemas.microsoft.com/office/drawing/2014/main" xmlns="" id="{AB7126BD-ABC3-354B-BF0E-0CA25B430E40}"/>
              </a:ext>
            </a:extLst>
          </p:cNvPr>
          <p:cNvSpPr/>
          <p:nvPr/>
        </p:nvSpPr>
        <p:spPr>
          <a:xfrm>
            <a:off x="6488692" y="2222012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Продукт: Льготная тарификация</a:t>
            </a:r>
          </a:p>
        </p:txBody>
      </p:sp>
      <p:sp>
        <p:nvSpPr>
          <p:cNvPr id="110" name="Доступно: никому">
            <a:extLst>
              <a:ext uri="{FF2B5EF4-FFF2-40B4-BE49-F238E27FC236}">
                <a16:creationId xmlns:a16="http://schemas.microsoft.com/office/drawing/2014/main" xmlns="" id="{C6E3AC79-0ED1-ED46-8A1B-01C87C2FE7BB}"/>
              </a:ext>
            </a:extLst>
          </p:cNvPr>
          <p:cNvSpPr/>
          <p:nvPr/>
        </p:nvSpPr>
        <p:spPr>
          <a:xfrm>
            <a:off x="6865125" y="2142699"/>
            <a:ext cx="899444" cy="152401"/>
          </a:xfrm>
          <a:prstGeom prst="rect">
            <a:avLst/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 anchor="ctr"/>
          <a:lstStyle>
            <a:lvl1pPr algn="ctr">
              <a:lnSpc>
                <a:spcPct val="90000"/>
              </a:lnSpc>
              <a:defRPr sz="5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Доступно: никому</a:t>
            </a:r>
          </a:p>
        </p:txBody>
      </p:sp>
      <p:sp>
        <p:nvSpPr>
          <p:cNvPr id="111" name="Доступно: никому">
            <a:extLst>
              <a:ext uri="{FF2B5EF4-FFF2-40B4-BE49-F238E27FC236}">
                <a16:creationId xmlns:a16="http://schemas.microsoft.com/office/drawing/2014/main" xmlns="" id="{1323FFF7-1A42-F348-BDD2-61717ED3E600}"/>
              </a:ext>
            </a:extLst>
          </p:cNvPr>
          <p:cNvSpPr/>
          <p:nvPr/>
        </p:nvSpPr>
        <p:spPr>
          <a:xfrm>
            <a:off x="5499876" y="2142699"/>
            <a:ext cx="899444" cy="152401"/>
          </a:xfrm>
          <a:prstGeom prst="rect">
            <a:avLst/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 anchor="ctr"/>
          <a:lstStyle>
            <a:lvl1pPr algn="ctr">
              <a:lnSpc>
                <a:spcPct val="90000"/>
              </a:lnSpc>
              <a:defRPr sz="5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Доступно</a:t>
            </a:r>
            <a:r>
              <a:rPr kumimoji="0" sz="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: </a:t>
            </a:r>
            <a:r>
              <a:rPr kumimoji="0" sz="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никому</a:t>
            </a:r>
            <a:endParaRPr kumimoji="0" sz="5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12" name="Product Instance">
            <a:extLst>
              <a:ext uri="{FF2B5EF4-FFF2-40B4-BE49-F238E27FC236}">
                <a16:creationId xmlns:a16="http://schemas.microsoft.com/office/drawing/2014/main" xmlns="" id="{9A190358-3F17-3E41-A4EB-378CC6F6D40A}"/>
              </a:ext>
            </a:extLst>
          </p:cNvPr>
          <p:cNvSpPr/>
          <p:nvPr/>
        </p:nvSpPr>
        <p:spPr>
          <a:xfrm>
            <a:off x="10107462" y="3301804"/>
            <a:ext cx="1933165" cy="2778840"/>
          </a:xfrm>
          <a:prstGeom prst="rect">
            <a:avLst/>
          </a:prstGeom>
          <a:solidFill>
            <a:srgbClr val="FFFFFF"/>
          </a:solidFill>
          <a:ln w="12700">
            <a:solidFill>
              <a:srgbClr val="522486"/>
            </a:solidFill>
            <a:miter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10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Product Instance</a:t>
            </a:r>
          </a:p>
        </p:txBody>
      </p:sp>
      <p:sp>
        <p:nvSpPr>
          <p:cNvPr id="113" name="Мужчина">
            <a:extLst>
              <a:ext uri="{FF2B5EF4-FFF2-40B4-BE49-F238E27FC236}">
                <a16:creationId xmlns:a16="http://schemas.microsoft.com/office/drawing/2014/main" xmlns="" id="{BE168E01-A6EB-5845-BFAA-C9ABD43E42E7}"/>
              </a:ext>
            </a:extLst>
          </p:cNvPr>
          <p:cNvSpPr/>
          <p:nvPr/>
        </p:nvSpPr>
        <p:spPr>
          <a:xfrm>
            <a:off x="10275180" y="3821934"/>
            <a:ext cx="201979" cy="5450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7" h="21600" extrusionOk="0">
                <a:moveTo>
                  <a:pt x="10777" y="0"/>
                </a:moveTo>
                <a:cubicBezTo>
                  <a:pt x="9509" y="0"/>
                  <a:pt x="8239" y="180"/>
                  <a:pt x="7271" y="540"/>
                </a:cubicBezTo>
                <a:cubicBezTo>
                  <a:pt x="5335" y="1259"/>
                  <a:pt x="5335" y="2425"/>
                  <a:pt x="7271" y="3144"/>
                </a:cubicBezTo>
                <a:cubicBezTo>
                  <a:pt x="9206" y="3863"/>
                  <a:pt x="12348" y="3863"/>
                  <a:pt x="14284" y="3144"/>
                </a:cubicBezTo>
                <a:cubicBezTo>
                  <a:pt x="16220" y="2425"/>
                  <a:pt x="16220" y="1259"/>
                  <a:pt x="14284" y="540"/>
                </a:cubicBezTo>
                <a:cubicBezTo>
                  <a:pt x="13316" y="180"/>
                  <a:pt x="12046" y="0"/>
                  <a:pt x="10777" y="0"/>
                </a:cubicBezTo>
                <a:close/>
                <a:moveTo>
                  <a:pt x="4845" y="4060"/>
                </a:moveTo>
                <a:cubicBezTo>
                  <a:pt x="2970" y="4060"/>
                  <a:pt x="1445" y="4331"/>
                  <a:pt x="907" y="4563"/>
                </a:cubicBezTo>
                <a:cubicBezTo>
                  <a:pt x="-23" y="4963"/>
                  <a:pt x="-21" y="5438"/>
                  <a:pt x="8" y="5606"/>
                </a:cubicBezTo>
                <a:lnTo>
                  <a:pt x="8" y="12393"/>
                </a:lnTo>
                <a:cubicBezTo>
                  <a:pt x="8" y="12733"/>
                  <a:pt x="732" y="13004"/>
                  <a:pt x="1648" y="13004"/>
                </a:cubicBezTo>
                <a:cubicBezTo>
                  <a:pt x="2563" y="13004"/>
                  <a:pt x="3292" y="12728"/>
                  <a:pt x="3292" y="12393"/>
                </a:cubicBezTo>
                <a:lnTo>
                  <a:pt x="3292" y="6777"/>
                </a:lnTo>
                <a:lnTo>
                  <a:pt x="4791" y="6777"/>
                </a:lnTo>
                <a:lnTo>
                  <a:pt x="4791" y="12641"/>
                </a:lnTo>
                <a:lnTo>
                  <a:pt x="4804" y="12641"/>
                </a:lnTo>
                <a:lnTo>
                  <a:pt x="4804" y="20628"/>
                </a:lnTo>
                <a:cubicBezTo>
                  <a:pt x="4804" y="21163"/>
                  <a:pt x="5982" y="21600"/>
                  <a:pt x="7421" y="21600"/>
                </a:cubicBezTo>
                <a:cubicBezTo>
                  <a:pt x="8860" y="21600"/>
                  <a:pt x="10037" y="21163"/>
                  <a:pt x="10037" y="20628"/>
                </a:cubicBezTo>
                <a:lnTo>
                  <a:pt x="10037" y="12641"/>
                </a:lnTo>
                <a:lnTo>
                  <a:pt x="10777" y="12641"/>
                </a:lnTo>
                <a:lnTo>
                  <a:pt x="11504" y="12641"/>
                </a:lnTo>
                <a:lnTo>
                  <a:pt x="11504" y="20628"/>
                </a:lnTo>
                <a:cubicBezTo>
                  <a:pt x="11504" y="21163"/>
                  <a:pt x="12682" y="21600"/>
                  <a:pt x="14121" y="21600"/>
                </a:cubicBezTo>
                <a:cubicBezTo>
                  <a:pt x="15559" y="21600"/>
                  <a:pt x="16737" y="21163"/>
                  <a:pt x="16737" y="20628"/>
                </a:cubicBezTo>
                <a:lnTo>
                  <a:pt x="16737" y="12636"/>
                </a:lnTo>
                <a:lnTo>
                  <a:pt x="16750" y="12636"/>
                </a:lnTo>
                <a:lnTo>
                  <a:pt x="16750" y="6772"/>
                </a:lnTo>
                <a:lnTo>
                  <a:pt x="18249" y="6772"/>
                </a:lnTo>
                <a:lnTo>
                  <a:pt x="18249" y="12388"/>
                </a:lnTo>
                <a:cubicBezTo>
                  <a:pt x="18249" y="12728"/>
                  <a:pt x="18973" y="12997"/>
                  <a:pt x="19889" y="12997"/>
                </a:cubicBezTo>
                <a:cubicBezTo>
                  <a:pt x="20805" y="12997"/>
                  <a:pt x="21533" y="12723"/>
                  <a:pt x="21533" y="12388"/>
                </a:cubicBezTo>
                <a:lnTo>
                  <a:pt x="21533" y="5606"/>
                </a:lnTo>
                <a:cubicBezTo>
                  <a:pt x="21577" y="5438"/>
                  <a:pt x="21564" y="4957"/>
                  <a:pt x="20634" y="4563"/>
                </a:cubicBezTo>
                <a:cubicBezTo>
                  <a:pt x="20096" y="4336"/>
                  <a:pt x="18566" y="4060"/>
                  <a:pt x="16691" y="4060"/>
                </a:cubicBezTo>
                <a:lnTo>
                  <a:pt x="10777" y="4060"/>
                </a:lnTo>
                <a:lnTo>
                  <a:pt x="4845" y="4060"/>
                </a:ln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 kern="0">
              <a:solidFill>
                <a:srgbClr val="FFFFFF"/>
              </a:solidFill>
              <a:ea typeface="+mj-ea"/>
              <a:cs typeface="Calibri"/>
              <a:sym typeface="Calibri"/>
            </a:endParaRPr>
          </a:p>
        </p:txBody>
      </p:sp>
      <p:sp>
        <p:nvSpPr>
          <p:cNvPr id="114" name="Экземпляр: пакет «Премиум»">
            <a:extLst>
              <a:ext uri="{FF2B5EF4-FFF2-40B4-BE49-F238E27FC236}">
                <a16:creationId xmlns:a16="http://schemas.microsoft.com/office/drawing/2014/main" xmlns="" id="{E5FE20EE-C69A-C445-AD28-552BE681290E}"/>
              </a:ext>
            </a:extLst>
          </p:cNvPr>
          <p:cNvSpPr/>
          <p:nvPr/>
        </p:nvSpPr>
        <p:spPr>
          <a:xfrm>
            <a:off x="10818283" y="3834634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Экземпляр: пакет «Премиум»</a:t>
            </a:r>
          </a:p>
        </p:txBody>
      </p:sp>
      <p:sp>
        <p:nvSpPr>
          <p:cNvPr id="115" name="Линия">
            <a:extLst>
              <a:ext uri="{FF2B5EF4-FFF2-40B4-BE49-F238E27FC236}">
                <a16:creationId xmlns:a16="http://schemas.microsoft.com/office/drawing/2014/main" xmlns="" id="{44ACD58F-BC14-5F43-90B7-7FAA8786D2E0}"/>
              </a:ext>
            </a:extLst>
          </p:cNvPr>
          <p:cNvSpPr/>
          <p:nvPr/>
        </p:nvSpPr>
        <p:spPr>
          <a:xfrm>
            <a:off x="10540382" y="4094435"/>
            <a:ext cx="201979" cy="1"/>
          </a:xfrm>
          <a:prstGeom prst="line">
            <a:avLst/>
          </a:prstGeom>
          <a:ln w="25400">
            <a:solidFill>
              <a:srgbClr val="000000"/>
            </a:solidFill>
            <a:prstDash val="sysDot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sp>
        <p:nvSpPr>
          <p:cNvPr id="116" name="Доступно: сегмент: премиум">
            <a:extLst>
              <a:ext uri="{FF2B5EF4-FFF2-40B4-BE49-F238E27FC236}">
                <a16:creationId xmlns:a16="http://schemas.microsoft.com/office/drawing/2014/main" xmlns="" id="{1F4A7DF2-2506-1D46-8D97-D1BF598D0B0C}"/>
              </a:ext>
            </a:extLst>
          </p:cNvPr>
          <p:cNvSpPr/>
          <p:nvPr/>
        </p:nvSpPr>
        <p:spPr>
          <a:xfrm>
            <a:off x="7129043" y="1821114"/>
            <a:ext cx="1062477" cy="152401"/>
          </a:xfrm>
          <a:prstGeom prst="rect">
            <a:avLst/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 anchor="ctr"/>
          <a:lstStyle>
            <a:lvl1pPr algn="ctr">
              <a:lnSpc>
                <a:spcPct val="90000"/>
              </a:lnSpc>
              <a:defRPr sz="5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Доступно</a:t>
            </a:r>
            <a:r>
              <a:rPr kumimoji="0" sz="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: </a:t>
            </a:r>
            <a:r>
              <a:rPr kumimoji="0" sz="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сегмент</a:t>
            </a:r>
            <a:r>
              <a:rPr kumimoji="0" sz="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: </a:t>
            </a:r>
            <a:r>
              <a:rPr kumimoji="0" sz="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премиум</a:t>
            </a:r>
            <a:r>
              <a:rPr kumimoji="0" lang="ru-RU" sz="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, </a:t>
            </a:r>
            <a:r>
              <a:rPr kumimoji="0" lang="ru-RU" sz="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сбол</a:t>
            </a:r>
            <a:endParaRPr kumimoji="0" sz="5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17" name="BPM: активация вклада">
            <a:extLst>
              <a:ext uri="{FF2B5EF4-FFF2-40B4-BE49-F238E27FC236}">
                <a16:creationId xmlns:a16="http://schemas.microsoft.com/office/drawing/2014/main" xmlns="" id="{181B8FD7-8183-AF47-BA30-9B73F7D1906A}"/>
              </a:ext>
            </a:extLst>
          </p:cNvPr>
          <p:cNvSpPr/>
          <p:nvPr/>
        </p:nvSpPr>
        <p:spPr>
          <a:xfrm>
            <a:off x="3624503" y="5263670"/>
            <a:ext cx="1062478" cy="519602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BPM: активация вклада</a:t>
            </a:r>
          </a:p>
        </p:txBody>
      </p:sp>
      <p:sp>
        <p:nvSpPr>
          <p:cNvPr id="118" name="BPM: начисление %">
            <a:extLst>
              <a:ext uri="{FF2B5EF4-FFF2-40B4-BE49-F238E27FC236}">
                <a16:creationId xmlns:a16="http://schemas.microsoft.com/office/drawing/2014/main" xmlns="" id="{831A903F-376C-E340-910A-C04EB298E815}"/>
              </a:ext>
            </a:extLst>
          </p:cNvPr>
          <p:cNvSpPr/>
          <p:nvPr/>
        </p:nvSpPr>
        <p:spPr>
          <a:xfrm>
            <a:off x="4879885" y="5263670"/>
            <a:ext cx="1062478" cy="519602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BPM: начисление %</a:t>
            </a:r>
          </a:p>
        </p:txBody>
      </p:sp>
      <p:sp>
        <p:nvSpPr>
          <p:cNvPr id="119" name="…">
            <a:extLst>
              <a:ext uri="{FF2B5EF4-FFF2-40B4-BE49-F238E27FC236}">
                <a16:creationId xmlns:a16="http://schemas.microsoft.com/office/drawing/2014/main" xmlns="" id="{9FBE90C9-D20E-BF41-8826-7553295BAF9F}"/>
              </a:ext>
            </a:extLst>
          </p:cNvPr>
          <p:cNvSpPr/>
          <p:nvPr/>
        </p:nvSpPr>
        <p:spPr>
          <a:xfrm>
            <a:off x="6135267" y="5263670"/>
            <a:ext cx="1062477" cy="519602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…</a:t>
            </a:r>
          </a:p>
        </p:txBody>
      </p:sp>
      <p:sp>
        <p:nvSpPr>
          <p:cNvPr id="120" name="Акция: Вклад сохраняй@онлайн 9 мая 9% годовых">
            <a:extLst>
              <a:ext uri="{FF2B5EF4-FFF2-40B4-BE49-F238E27FC236}">
                <a16:creationId xmlns:a16="http://schemas.microsoft.com/office/drawing/2014/main" xmlns="" id="{6AAAE6D9-B948-FA46-914C-9B3E7A63C07F}"/>
              </a:ext>
            </a:extLst>
          </p:cNvPr>
          <p:cNvSpPr/>
          <p:nvPr/>
        </p:nvSpPr>
        <p:spPr>
          <a:xfrm>
            <a:off x="3340320" y="2136941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Акция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: </a:t>
            </a:r>
            <a:r>
              <a:rPr kumimoji="0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Вклад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 </a:t>
            </a:r>
            <a:r>
              <a:rPr kumimoji="0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сохраняй@онлайн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 9 </a:t>
            </a:r>
            <a:r>
              <a:rPr kumimoji="0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мая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 9% </a:t>
            </a:r>
            <a:r>
              <a:rPr kumimoji="0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годовых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21" name="Доступно: пенсионеры">
            <a:extLst>
              <a:ext uri="{FF2B5EF4-FFF2-40B4-BE49-F238E27FC236}">
                <a16:creationId xmlns:a16="http://schemas.microsoft.com/office/drawing/2014/main" xmlns="" id="{C1674F26-2BDF-114F-9954-96451BC4F271}"/>
              </a:ext>
            </a:extLst>
          </p:cNvPr>
          <p:cNvSpPr/>
          <p:nvPr/>
        </p:nvSpPr>
        <p:spPr>
          <a:xfrm>
            <a:off x="3421837" y="2034723"/>
            <a:ext cx="899444" cy="152401"/>
          </a:xfrm>
          <a:prstGeom prst="rect">
            <a:avLst/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 anchor="ctr"/>
          <a:lstStyle>
            <a:lvl1pPr algn="ctr">
              <a:lnSpc>
                <a:spcPct val="90000"/>
              </a:lnSpc>
              <a:defRPr sz="5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Доступно</a:t>
            </a:r>
            <a:r>
              <a:rPr kumimoji="0" sz="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: </a:t>
            </a:r>
            <a:r>
              <a:rPr kumimoji="0" sz="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пенсионеры</a:t>
            </a:r>
            <a:r>
              <a:rPr kumimoji="0" lang="ru-RU" sz="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, </a:t>
            </a:r>
            <a:r>
              <a:rPr kumimoji="0" lang="ru-RU" sz="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сбол</a:t>
            </a:r>
            <a:endParaRPr kumimoji="0" sz="5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22" name="КМД">
            <a:extLst>
              <a:ext uri="{FF2B5EF4-FFF2-40B4-BE49-F238E27FC236}">
                <a16:creationId xmlns:a16="http://schemas.microsoft.com/office/drawing/2014/main" xmlns="" id="{831B378F-1A96-FF4D-9AC8-96BFAEEF4931}"/>
              </a:ext>
            </a:extLst>
          </p:cNvPr>
          <p:cNvSpPr/>
          <p:nvPr/>
        </p:nvSpPr>
        <p:spPr>
          <a:xfrm>
            <a:off x="7821601" y="5263670"/>
            <a:ext cx="1062477" cy="519602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12700">
            <a:solidFill>
              <a:srgbClr val="522486"/>
            </a:solidFill>
            <a:miter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1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КМД</a:t>
            </a:r>
          </a:p>
        </p:txBody>
      </p:sp>
      <p:sp>
        <p:nvSpPr>
          <p:cNvPr id="123" name="Премиум клиент">
            <a:extLst>
              <a:ext uri="{FF2B5EF4-FFF2-40B4-BE49-F238E27FC236}">
                <a16:creationId xmlns:a16="http://schemas.microsoft.com/office/drawing/2014/main" xmlns="" id="{44421586-4B95-1746-93D5-BE43861DB617}"/>
              </a:ext>
            </a:extLst>
          </p:cNvPr>
          <p:cNvSpPr txBox="1"/>
          <p:nvPr/>
        </p:nvSpPr>
        <p:spPr>
          <a:xfrm>
            <a:off x="10142580" y="4326539"/>
            <a:ext cx="467180" cy="3200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800"/>
            </a:lvl1pPr>
          </a:lstStyle>
          <a:p>
            <a:pPr hangingPunct="0"/>
            <a:r>
              <a:rPr kern="0">
                <a:solidFill>
                  <a:srgbClr val="595959"/>
                </a:solidFill>
                <a:latin typeface="Arial Narrow"/>
                <a:cs typeface="Arial Narrow"/>
                <a:sym typeface="Arial Narrow"/>
              </a:rPr>
              <a:t>Премиум клиент</a:t>
            </a:r>
          </a:p>
        </p:txBody>
      </p:sp>
      <p:pic>
        <p:nvPicPr>
          <p:cNvPr id="124" name="terminal.png" descr="terminal.png">
            <a:extLst>
              <a:ext uri="{FF2B5EF4-FFF2-40B4-BE49-F238E27FC236}">
                <a16:creationId xmlns:a16="http://schemas.microsoft.com/office/drawing/2014/main" xmlns="" id="{68C10BD5-BEC7-4547-8197-08247A1F884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06120" y="5545169"/>
            <a:ext cx="201325" cy="201325"/>
          </a:xfrm>
          <a:prstGeom prst="rect">
            <a:avLst/>
          </a:prstGeom>
          <a:ln w="12700">
            <a:miter lim="400000"/>
          </a:ln>
        </p:spPr>
      </p:pic>
      <p:pic>
        <p:nvPicPr>
          <p:cNvPr id="125" name="terminal.png" descr="terminal.png">
            <a:extLst>
              <a:ext uri="{FF2B5EF4-FFF2-40B4-BE49-F238E27FC236}">
                <a16:creationId xmlns:a16="http://schemas.microsoft.com/office/drawing/2014/main" xmlns="" id="{D225795F-3CE9-6140-9AD1-D2C5124765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98159" y="5545169"/>
            <a:ext cx="201325" cy="201325"/>
          </a:xfrm>
          <a:prstGeom prst="rect">
            <a:avLst/>
          </a:prstGeom>
          <a:ln w="12700">
            <a:miter lim="400000"/>
          </a:ln>
        </p:spPr>
      </p:pic>
      <p:pic>
        <p:nvPicPr>
          <p:cNvPr id="126" name="terminal.png" descr="terminal.png">
            <a:extLst>
              <a:ext uri="{FF2B5EF4-FFF2-40B4-BE49-F238E27FC236}">
                <a16:creationId xmlns:a16="http://schemas.microsoft.com/office/drawing/2014/main" xmlns="" id="{85644ACE-12EB-CB45-A869-16903F70C6B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19268" y="5545169"/>
            <a:ext cx="201325" cy="201325"/>
          </a:xfrm>
          <a:prstGeom prst="rect">
            <a:avLst/>
          </a:prstGeom>
          <a:ln w="12700">
            <a:miter lim="400000"/>
          </a:ln>
        </p:spPr>
      </p:pic>
      <p:sp>
        <p:nvSpPr>
          <p:cNvPr id="131" name="Мужчина">
            <a:extLst>
              <a:ext uri="{FF2B5EF4-FFF2-40B4-BE49-F238E27FC236}">
                <a16:creationId xmlns:a16="http://schemas.microsoft.com/office/drawing/2014/main" xmlns="" id="{6A368F79-3438-2743-8D12-2D59BC951567}"/>
              </a:ext>
            </a:extLst>
          </p:cNvPr>
          <p:cNvSpPr/>
          <p:nvPr/>
        </p:nvSpPr>
        <p:spPr>
          <a:xfrm>
            <a:off x="10275179" y="4857903"/>
            <a:ext cx="201979" cy="5450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7" h="21600" extrusionOk="0">
                <a:moveTo>
                  <a:pt x="10777" y="0"/>
                </a:moveTo>
                <a:cubicBezTo>
                  <a:pt x="9509" y="0"/>
                  <a:pt x="8239" y="180"/>
                  <a:pt x="7271" y="540"/>
                </a:cubicBezTo>
                <a:cubicBezTo>
                  <a:pt x="5335" y="1259"/>
                  <a:pt x="5335" y="2425"/>
                  <a:pt x="7271" y="3144"/>
                </a:cubicBezTo>
                <a:cubicBezTo>
                  <a:pt x="9206" y="3863"/>
                  <a:pt x="12348" y="3863"/>
                  <a:pt x="14284" y="3144"/>
                </a:cubicBezTo>
                <a:cubicBezTo>
                  <a:pt x="16220" y="2425"/>
                  <a:pt x="16220" y="1259"/>
                  <a:pt x="14284" y="540"/>
                </a:cubicBezTo>
                <a:cubicBezTo>
                  <a:pt x="13316" y="180"/>
                  <a:pt x="12046" y="0"/>
                  <a:pt x="10777" y="0"/>
                </a:cubicBezTo>
                <a:close/>
                <a:moveTo>
                  <a:pt x="4845" y="4060"/>
                </a:moveTo>
                <a:cubicBezTo>
                  <a:pt x="2970" y="4060"/>
                  <a:pt x="1445" y="4331"/>
                  <a:pt x="907" y="4563"/>
                </a:cubicBezTo>
                <a:cubicBezTo>
                  <a:pt x="-23" y="4963"/>
                  <a:pt x="-21" y="5438"/>
                  <a:pt x="8" y="5606"/>
                </a:cubicBezTo>
                <a:lnTo>
                  <a:pt x="8" y="12393"/>
                </a:lnTo>
                <a:cubicBezTo>
                  <a:pt x="8" y="12733"/>
                  <a:pt x="732" y="13004"/>
                  <a:pt x="1648" y="13004"/>
                </a:cubicBezTo>
                <a:cubicBezTo>
                  <a:pt x="2563" y="13004"/>
                  <a:pt x="3292" y="12728"/>
                  <a:pt x="3292" y="12393"/>
                </a:cubicBezTo>
                <a:lnTo>
                  <a:pt x="3292" y="6777"/>
                </a:lnTo>
                <a:lnTo>
                  <a:pt x="4791" y="6777"/>
                </a:lnTo>
                <a:lnTo>
                  <a:pt x="4791" y="12641"/>
                </a:lnTo>
                <a:lnTo>
                  <a:pt x="4804" y="12641"/>
                </a:lnTo>
                <a:lnTo>
                  <a:pt x="4804" y="20628"/>
                </a:lnTo>
                <a:cubicBezTo>
                  <a:pt x="4804" y="21163"/>
                  <a:pt x="5982" y="21600"/>
                  <a:pt x="7421" y="21600"/>
                </a:cubicBezTo>
                <a:cubicBezTo>
                  <a:pt x="8860" y="21600"/>
                  <a:pt x="10037" y="21163"/>
                  <a:pt x="10037" y="20628"/>
                </a:cubicBezTo>
                <a:lnTo>
                  <a:pt x="10037" y="12641"/>
                </a:lnTo>
                <a:lnTo>
                  <a:pt x="10777" y="12641"/>
                </a:lnTo>
                <a:lnTo>
                  <a:pt x="11504" y="12641"/>
                </a:lnTo>
                <a:lnTo>
                  <a:pt x="11504" y="20628"/>
                </a:lnTo>
                <a:cubicBezTo>
                  <a:pt x="11504" y="21163"/>
                  <a:pt x="12682" y="21600"/>
                  <a:pt x="14121" y="21600"/>
                </a:cubicBezTo>
                <a:cubicBezTo>
                  <a:pt x="15559" y="21600"/>
                  <a:pt x="16737" y="21163"/>
                  <a:pt x="16737" y="20628"/>
                </a:cubicBezTo>
                <a:lnTo>
                  <a:pt x="16737" y="12636"/>
                </a:lnTo>
                <a:lnTo>
                  <a:pt x="16750" y="12636"/>
                </a:lnTo>
                <a:lnTo>
                  <a:pt x="16750" y="6772"/>
                </a:lnTo>
                <a:lnTo>
                  <a:pt x="18249" y="6772"/>
                </a:lnTo>
                <a:lnTo>
                  <a:pt x="18249" y="12388"/>
                </a:lnTo>
                <a:cubicBezTo>
                  <a:pt x="18249" y="12728"/>
                  <a:pt x="18973" y="12997"/>
                  <a:pt x="19889" y="12997"/>
                </a:cubicBezTo>
                <a:cubicBezTo>
                  <a:pt x="20805" y="12997"/>
                  <a:pt x="21533" y="12723"/>
                  <a:pt x="21533" y="12388"/>
                </a:cubicBezTo>
                <a:lnTo>
                  <a:pt x="21533" y="5606"/>
                </a:lnTo>
                <a:cubicBezTo>
                  <a:pt x="21577" y="5438"/>
                  <a:pt x="21564" y="4957"/>
                  <a:pt x="20634" y="4563"/>
                </a:cubicBezTo>
                <a:cubicBezTo>
                  <a:pt x="20096" y="4336"/>
                  <a:pt x="18566" y="4060"/>
                  <a:pt x="16691" y="4060"/>
                </a:cubicBezTo>
                <a:lnTo>
                  <a:pt x="10777" y="4060"/>
                </a:lnTo>
                <a:lnTo>
                  <a:pt x="4845" y="4060"/>
                </a:ln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 kern="0">
              <a:solidFill>
                <a:srgbClr val="FFFFFF"/>
              </a:solidFill>
              <a:ea typeface="+mj-ea"/>
              <a:cs typeface="Calibri"/>
              <a:sym typeface="Calibri"/>
            </a:endParaRPr>
          </a:p>
        </p:txBody>
      </p:sp>
      <p:sp>
        <p:nvSpPr>
          <p:cNvPr id="132" name="Ветеран">
            <a:extLst>
              <a:ext uri="{FF2B5EF4-FFF2-40B4-BE49-F238E27FC236}">
                <a16:creationId xmlns:a16="http://schemas.microsoft.com/office/drawing/2014/main" xmlns="" id="{3082D1E8-A202-2248-B8E2-DA1C5DA854D9}"/>
              </a:ext>
            </a:extLst>
          </p:cNvPr>
          <p:cNvSpPr txBox="1"/>
          <p:nvPr/>
        </p:nvSpPr>
        <p:spPr>
          <a:xfrm>
            <a:off x="10142579" y="5362508"/>
            <a:ext cx="467181" cy="2057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800"/>
            </a:lvl1pPr>
          </a:lstStyle>
          <a:p>
            <a:pPr hangingPunct="0"/>
            <a:r>
              <a:rPr kern="0">
                <a:solidFill>
                  <a:srgbClr val="595959"/>
                </a:solidFill>
                <a:latin typeface="Arial Narrow"/>
                <a:cs typeface="Arial Narrow"/>
                <a:sym typeface="Arial Narrow"/>
              </a:rPr>
              <a:t>Ветеран</a:t>
            </a:r>
          </a:p>
        </p:txBody>
      </p:sp>
      <p:sp>
        <p:nvSpPr>
          <p:cNvPr id="133" name="Экземпляр: Вклад 9 мая 9%">
            <a:extLst>
              <a:ext uri="{FF2B5EF4-FFF2-40B4-BE49-F238E27FC236}">
                <a16:creationId xmlns:a16="http://schemas.microsoft.com/office/drawing/2014/main" xmlns="" id="{99DF9362-1D1C-4D47-A3E9-052D0F33E73D}"/>
              </a:ext>
            </a:extLst>
          </p:cNvPr>
          <p:cNvSpPr/>
          <p:nvPr/>
        </p:nvSpPr>
        <p:spPr>
          <a:xfrm>
            <a:off x="10818283" y="4870603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Экземпляр: Вклад 9 мая 9%</a:t>
            </a:r>
          </a:p>
        </p:txBody>
      </p:sp>
      <p:sp>
        <p:nvSpPr>
          <p:cNvPr id="134" name="Линия">
            <a:extLst>
              <a:ext uri="{FF2B5EF4-FFF2-40B4-BE49-F238E27FC236}">
                <a16:creationId xmlns:a16="http://schemas.microsoft.com/office/drawing/2014/main" xmlns="" id="{E02B9816-01EE-014B-881F-E8644527A511}"/>
              </a:ext>
            </a:extLst>
          </p:cNvPr>
          <p:cNvSpPr/>
          <p:nvPr/>
        </p:nvSpPr>
        <p:spPr>
          <a:xfrm>
            <a:off x="10540382" y="5130404"/>
            <a:ext cx="201979" cy="1"/>
          </a:xfrm>
          <a:prstGeom prst="line">
            <a:avLst/>
          </a:prstGeom>
          <a:ln w="25400">
            <a:solidFill>
              <a:srgbClr val="000000"/>
            </a:solidFill>
            <a:prstDash val="sysDot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sp>
        <p:nvSpPr>
          <p:cNvPr id="136" name="Сбол">
            <a:extLst>
              <a:ext uri="{FF2B5EF4-FFF2-40B4-BE49-F238E27FC236}">
                <a16:creationId xmlns:a16="http://schemas.microsoft.com/office/drawing/2014/main" xmlns="" id="{D793ADD9-61CD-454C-8D1B-4F6128E311B5}"/>
              </a:ext>
            </a:extLst>
          </p:cNvPr>
          <p:cNvSpPr/>
          <p:nvPr/>
        </p:nvSpPr>
        <p:spPr>
          <a:xfrm>
            <a:off x="10110984" y="1517168"/>
            <a:ext cx="1933165" cy="1598684"/>
          </a:xfrm>
          <a:prstGeom prst="rect">
            <a:avLst/>
          </a:prstGeom>
          <a:solidFill>
            <a:srgbClr val="FFFFFF"/>
          </a:solidFill>
          <a:ln w="12700">
            <a:solidFill>
              <a:srgbClr val="522486"/>
            </a:solidFill>
            <a:miter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>
            <a:lvl1pPr algn="ctr">
              <a:defRPr sz="10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cs typeface="Arial Black"/>
                <a:sym typeface="Arial Black"/>
              </a:rPr>
              <a:t>СБОЛ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/>
              <a:cs typeface="Arial Black"/>
              <a:sym typeface="Arial Black"/>
            </a:endParaRPr>
          </a:p>
        </p:txBody>
      </p:sp>
      <p:sp>
        <p:nvSpPr>
          <p:cNvPr id="138" name="Экземпляр: Вклад 9 мая 9%">
            <a:extLst>
              <a:ext uri="{FF2B5EF4-FFF2-40B4-BE49-F238E27FC236}">
                <a16:creationId xmlns:a16="http://schemas.microsoft.com/office/drawing/2014/main" xmlns="" id="{F4C668C0-A59F-AF47-B620-7D88DFA93F88}"/>
              </a:ext>
            </a:extLst>
          </p:cNvPr>
          <p:cNvSpPr/>
          <p:nvPr/>
        </p:nvSpPr>
        <p:spPr>
          <a:xfrm>
            <a:off x="10613005" y="5609597"/>
            <a:ext cx="618722" cy="302585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EAEAEA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Активация вклада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39" name="Экземпляр: Вклад 9 мая 9%">
            <a:extLst>
              <a:ext uri="{FF2B5EF4-FFF2-40B4-BE49-F238E27FC236}">
                <a16:creationId xmlns:a16="http://schemas.microsoft.com/office/drawing/2014/main" xmlns="" id="{25FEE2D4-C80A-3A42-A37E-A4A64C49C4ED}"/>
              </a:ext>
            </a:extLst>
          </p:cNvPr>
          <p:cNvSpPr/>
          <p:nvPr/>
        </p:nvSpPr>
        <p:spPr>
          <a:xfrm>
            <a:off x="11375940" y="5603987"/>
            <a:ext cx="618722" cy="302585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Начисление 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%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40" name="Линия">
            <a:extLst>
              <a:ext uri="{FF2B5EF4-FFF2-40B4-BE49-F238E27FC236}">
                <a16:creationId xmlns:a16="http://schemas.microsoft.com/office/drawing/2014/main" xmlns="" id="{85227479-6A74-3845-92C0-DEA289F536D4}"/>
              </a:ext>
            </a:extLst>
          </p:cNvPr>
          <p:cNvSpPr/>
          <p:nvPr/>
        </p:nvSpPr>
        <p:spPr>
          <a:xfrm flipV="1">
            <a:off x="10890811" y="5398245"/>
            <a:ext cx="439164" cy="205741"/>
          </a:xfrm>
          <a:prstGeom prst="line">
            <a:avLst/>
          </a:prstGeom>
          <a:ln w="22225">
            <a:solidFill>
              <a:srgbClr val="522486"/>
            </a:solidFill>
            <a:prstDash val="lgDash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sp>
        <p:nvSpPr>
          <p:cNvPr id="141" name="Линия">
            <a:extLst>
              <a:ext uri="{FF2B5EF4-FFF2-40B4-BE49-F238E27FC236}">
                <a16:creationId xmlns:a16="http://schemas.microsoft.com/office/drawing/2014/main" xmlns="" id="{0B1CF254-3FE0-0745-A2FA-AD5CCF1D6E28}"/>
              </a:ext>
            </a:extLst>
          </p:cNvPr>
          <p:cNvSpPr/>
          <p:nvPr/>
        </p:nvSpPr>
        <p:spPr>
          <a:xfrm>
            <a:off x="11329975" y="5398245"/>
            <a:ext cx="400061" cy="213779"/>
          </a:xfrm>
          <a:prstGeom prst="line">
            <a:avLst/>
          </a:prstGeom>
          <a:ln w="22225">
            <a:solidFill>
              <a:srgbClr val="522486"/>
            </a:solidFill>
            <a:prstDash val="lgDash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sp>
        <p:nvSpPr>
          <p:cNvPr id="142" name="Продукт: Льготная тарификация">
            <a:extLst>
              <a:ext uri="{FF2B5EF4-FFF2-40B4-BE49-F238E27FC236}">
                <a16:creationId xmlns:a16="http://schemas.microsoft.com/office/drawing/2014/main" xmlns="" id="{59C36A43-9B29-DD43-BEB0-99B97510540A}"/>
              </a:ext>
            </a:extLst>
          </p:cNvPr>
          <p:cNvSpPr/>
          <p:nvPr/>
        </p:nvSpPr>
        <p:spPr>
          <a:xfrm>
            <a:off x="10578990" y="1826030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err="1">
                <a:latin typeface="Arial Narrow"/>
                <a:cs typeface="Arial Narrow"/>
                <a:sym typeface="Arial Narrow"/>
              </a:rPr>
              <a:t>Бандл</a:t>
            </a:r>
            <a:r>
              <a:rPr lang="ru-RU" kern="0" dirty="0">
                <a:latin typeface="Arial Narrow"/>
                <a:cs typeface="Arial Narrow"/>
                <a:sym typeface="Arial Narrow"/>
              </a:rPr>
              <a:t> «Премиум»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143" name="Продукт: Льготная тарификация">
            <a:extLst>
              <a:ext uri="{FF2B5EF4-FFF2-40B4-BE49-F238E27FC236}">
                <a16:creationId xmlns:a16="http://schemas.microsoft.com/office/drawing/2014/main" xmlns="" id="{C9F1873A-C5A2-1142-83EC-6FE84A0BD1A3}"/>
              </a:ext>
            </a:extLst>
          </p:cNvPr>
          <p:cNvSpPr/>
          <p:nvPr/>
        </p:nvSpPr>
        <p:spPr>
          <a:xfrm>
            <a:off x="10578990" y="2490264"/>
            <a:ext cx="1062478" cy="519603"/>
          </a:xfrm>
          <a:prstGeom prst="roundRect">
            <a:avLst>
              <a:gd name="adj" fmla="val 14060"/>
            </a:avLst>
          </a:prstGeom>
          <a:solidFill>
            <a:srgbClr val="FFFFFF"/>
          </a:solidFill>
          <a:ln w="25400">
            <a:solidFill>
              <a:srgbClr val="522486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>
            <a:lvl1pPr algn="ctr">
              <a:defRPr sz="900">
                <a:solidFill>
                  <a:srgbClr val="000000"/>
                </a:solidFill>
              </a:defRPr>
            </a:lvl1pPr>
          </a:lstStyle>
          <a:p>
            <a:pPr lvl="0" hangingPunct="0">
              <a:defRPr/>
            </a:pPr>
            <a:r>
              <a:rPr lang="ru-RU" kern="0" dirty="0">
                <a:latin typeface="Arial Narrow"/>
                <a:cs typeface="Arial Narrow"/>
                <a:sym typeface="Arial Narrow"/>
              </a:rPr>
              <a:t>Акция: Вклад </a:t>
            </a:r>
            <a:r>
              <a:rPr lang="ru-RU" kern="0" dirty="0" err="1">
                <a:latin typeface="Arial Narrow"/>
                <a:cs typeface="Arial Narrow"/>
                <a:sym typeface="Arial Narrow"/>
              </a:rPr>
              <a:t>сохраняй@онлайн</a:t>
            </a:r>
            <a:r>
              <a:rPr lang="ru-RU" kern="0" dirty="0">
                <a:latin typeface="Arial Narrow"/>
                <a:cs typeface="Arial Narrow"/>
                <a:sym typeface="Arial Narrow"/>
              </a:rPr>
              <a:t> 9 мая 9% годовых</a:t>
            </a:r>
          </a:p>
        </p:txBody>
      </p:sp>
      <p:sp>
        <p:nvSpPr>
          <p:cNvPr id="150" name="Линия">
            <a:extLst>
              <a:ext uri="{FF2B5EF4-FFF2-40B4-BE49-F238E27FC236}">
                <a16:creationId xmlns:a16="http://schemas.microsoft.com/office/drawing/2014/main" xmlns="" id="{9E75FF27-598C-FF47-8D5F-B869E62ECCB6}"/>
              </a:ext>
            </a:extLst>
          </p:cNvPr>
          <p:cNvSpPr/>
          <p:nvPr/>
        </p:nvSpPr>
        <p:spPr>
          <a:xfrm flipV="1">
            <a:off x="4211715" y="4292599"/>
            <a:ext cx="0" cy="963517"/>
          </a:xfrm>
          <a:prstGeom prst="line">
            <a:avLst/>
          </a:prstGeom>
          <a:ln w="22225">
            <a:solidFill>
              <a:srgbClr val="522486"/>
            </a:solidFill>
            <a:prstDash val="lgDash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sp>
        <p:nvSpPr>
          <p:cNvPr id="151" name="Линия">
            <a:extLst>
              <a:ext uri="{FF2B5EF4-FFF2-40B4-BE49-F238E27FC236}">
                <a16:creationId xmlns:a16="http://schemas.microsoft.com/office/drawing/2014/main" xmlns="" id="{DF346E89-2B6A-684D-9863-576C353CBEAF}"/>
              </a:ext>
            </a:extLst>
          </p:cNvPr>
          <p:cNvSpPr/>
          <p:nvPr/>
        </p:nvSpPr>
        <p:spPr>
          <a:xfrm flipH="1" flipV="1">
            <a:off x="3939877" y="2656543"/>
            <a:ext cx="629647" cy="870163"/>
          </a:xfrm>
          <a:prstGeom prst="line">
            <a:avLst/>
          </a:prstGeom>
          <a:ln w="22225">
            <a:solidFill>
              <a:srgbClr val="522486"/>
            </a:solidFill>
            <a:prstDash val="lgDash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sp>
        <p:nvSpPr>
          <p:cNvPr id="152" name="Линия">
            <a:extLst>
              <a:ext uri="{FF2B5EF4-FFF2-40B4-BE49-F238E27FC236}">
                <a16:creationId xmlns:a16="http://schemas.microsoft.com/office/drawing/2014/main" xmlns="" id="{6FAF8CEF-275B-A54E-841F-74167C641C76}"/>
              </a:ext>
            </a:extLst>
          </p:cNvPr>
          <p:cNvSpPr/>
          <p:nvPr/>
        </p:nvSpPr>
        <p:spPr>
          <a:xfrm flipV="1">
            <a:off x="4761154" y="2762173"/>
            <a:ext cx="829210" cy="741578"/>
          </a:xfrm>
          <a:prstGeom prst="line">
            <a:avLst/>
          </a:prstGeom>
          <a:ln w="22225">
            <a:solidFill>
              <a:srgbClr val="522486"/>
            </a:solidFill>
            <a:prstDash val="lgDash"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pPr hangingPunct="0"/>
            <a:endParaRPr kern="0">
              <a:solidFill>
                <a:srgbClr val="595959"/>
              </a:solidFill>
              <a:latin typeface="Arial Narrow"/>
              <a:cs typeface="Arial Narrow"/>
              <a:sym typeface="Arial Narrow"/>
            </a:endParaRPr>
          </a:p>
        </p:txBody>
      </p:sp>
      <p:cxnSp>
        <p:nvCxnSpPr>
          <p:cNvPr id="64" name="Прямая соединительная линия 118">
            <a:extLst>
              <a:ext uri="{FF2B5EF4-FFF2-40B4-BE49-F238E27FC236}">
                <a16:creationId xmlns:a16="http://schemas.microsoft.com/office/drawing/2014/main" xmlns="" id="{B998A546-A01B-8144-8651-7FC8FF6C7971}"/>
              </a:ext>
            </a:extLst>
          </p:cNvPr>
          <p:cNvCxnSpPr>
            <a:cxnSpLocks/>
          </p:cNvCxnSpPr>
          <p:nvPr/>
        </p:nvCxnSpPr>
        <p:spPr>
          <a:xfrm flipV="1">
            <a:off x="9810752" y="1134803"/>
            <a:ext cx="0" cy="5508885"/>
          </a:xfrm>
          <a:prstGeom prst="line">
            <a:avLst/>
          </a:prstGeom>
          <a:noFill/>
          <a:ln w="6350" cap="rnd">
            <a:gradFill flip="none" rotWithShape="1">
              <a:gsLst>
                <a:gs pos="29000">
                  <a:srgbClr val="006192"/>
                </a:gs>
                <a:gs pos="100000">
                  <a:srgbClr val="001721">
                    <a:alpha val="0"/>
                  </a:srgbClr>
                </a:gs>
                <a:gs pos="70000">
                  <a:srgbClr val="7DC4DD"/>
                </a:gs>
                <a:gs pos="0">
                  <a:srgbClr val="001822">
                    <a:alpha val="0"/>
                  </a:srgbClr>
                </a:gs>
              </a:gsLst>
              <a:lin ang="5400000" scaled="1"/>
              <a:tileRect/>
            </a:gradFill>
            <a:head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5" name="Стоимость изменений">
            <a:extLst>
              <a:ext uri="{FF2B5EF4-FFF2-40B4-BE49-F238E27FC236}">
                <a16:creationId xmlns:a16="http://schemas.microsoft.com/office/drawing/2014/main" xmlns="" id="{90D329D8-C8B9-1345-AF9A-A27A95FA2D26}"/>
              </a:ext>
            </a:extLst>
          </p:cNvPr>
          <p:cNvSpPr txBox="1"/>
          <p:nvPr/>
        </p:nvSpPr>
        <p:spPr>
          <a:xfrm rot="16200000">
            <a:off x="1478450" y="3775359"/>
            <a:ext cx="2442333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000000"/>
                </a:solidFill>
              </a:defRPr>
            </a:lvl1pPr>
          </a:lstStyle>
          <a:p>
            <a:pPr hangingPunct="0"/>
            <a:r>
              <a:rPr b="1" kern="0" dirty="0" err="1">
                <a:latin typeface="Arial Narrow"/>
                <a:cs typeface="Arial Narrow"/>
                <a:sym typeface="Arial Narrow"/>
              </a:rPr>
              <a:t>Стоимость</a:t>
            </a:r>
            <a:r>
              <a:rPr b="1" kern="0" dirty="0">
                <a:latin typeface="Arial Narrow"/>
                <a:cs typeface="Arial Narrow"/>
                <a:sym typeface="Arial Narrow"/>
              </a:rPr>
              <a:t> </a:t>
            </a:r>
            <a:r>
              <a:rPr b="1" kern="0" dirty="0" err="1">
                <a:latin typeface="Arial Narrow"/>
                <a:cs typeface="Arial Narrow"/>
                <a:sym typeface="Arial Narrow"/>
              </a:rPr>
              <a:t>изменений</a:t>
            </a:r>
            <a:r>
              <a:rPr lang="en-US" b="1" kern="0" dirty="0">
                <a:latin typeface="Arial Narrow"/>
                <a:cs typeface="Arial Narrow"/>
                <a:sym typeface="Arial Narrow"/>
              </a:rPr>
              <a:t> </a:t>
            </a:r>
            <a:r>
              <a:rPr lang="ru-RU" b="1" kern="0" dirty="0">
                <a:latin typeface="Arial Narrow"/>
                <a:cs typeface="Arial Narrow"/>
                <a:sym typeface="Arial Narrow"/>
              </a:rPr>
              <a:t>и временные затраты</a:t>
            </a:r>
            <a:endParaRPr b="1" kern="0" dirty="0">
              <a:latin typeface="Arial Narrow"/>
              <a:cs typeface="Arial Narrow"/>
              <a:sym typeface="Arial Narrow"/>
            </a:endParaRPr>
          </a:p>
        </p:txBody>
      </p:sp>
      <p:sp>
        <p:nvSpPr>
          <p:cNvPr id="66" name="Треугольник 65">
            <a:extLst>
              <a:ext uri="{FF2B5EF4-FFF2-40B4-BE49-F238E27FC236}">
                <a16:creationId xmlns:a16="http://schemas.microsoft.com/office/drawing/2014/main" xmlns="" id="{68E85BEE-35E8-194F-BAC6-932BB4B726A9}"/>
              </a:ext>
            </a:extLst>
          </p:cNvPr>
          <p:cNvSpPr/>
          <p:nvPr/>
        </p:nvSpPr>
        <p:spPr>
          <a:xfrm>
            <a:off x="2802688" y="1392492"/>
            <a:ext cx="201709" cy="4800505"/>
          </a:xfrm>
          <a:prstGeom prst="triangl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D71EDD29-DC0C-4952-BEE5-F8A0D1CF13C6}"/>
              </a:ext>
            </a:extLst>
          </p:cNvPr>
          <p:cNvSpPr txBox="1"/>
          <p:nvPr/>
        </p:nvSpPr>
        <p:spPr>
          <a:xfrm>
            <a:off x="186313" y="6298250"/>
            <a:ext cx="1168342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Malgun Gothic" panose="020B0503020000020004" pitchFamily="34" charset="-127"/>
                <a:ea typeface="Malgun Gothic" panose="020B0503020000020004" pitchFamily="34" charset="-127"/>
                <a:cs typeface="Malgun Gothic Semilight" panose="020B0502040204020203" pitchFamily="34" charset="-128"/>
              </a:rPr>
              <a:t>* </a:t>
            </a:r>
            <a:r>
              <a:rPr lang="en-US" sz="1100" noProof="0" dirty="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API </a:t>
            </a:r>
            <a:r>
              <a:rPr lang="ru-RU" sz="1100" dirty="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– </a:t>
            </a:r>
            <a:r>
              <a:rPr lang="ru-RU" sz="11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 (</a:t>
            </a:r>
            <a:r>
              <a:rPr lang="ru-RU" sz="11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программный интерфейс приложения, интерфейс </a:t>
            </a:r>
            <a:r>
              <a:rPr lang="ru-RU" sz="1100" b="1" dirty="0">
                <a:latin typeface="Malgun Gothic" panose="020B0503020000020004" pitchFamily="34" charset="-127"/>
                <a:ea typeface="Malgun Gothic" panose="020B0503020000020004" pitchFamily="34" charset="-127"/>
                <a:hlinkClick r:id="rId9" tooltip="Прикладное программное обеспечение"/>
              </a:rPr>
              <a:t>прикладного программирования</a:t>
            </a:r>
            <a:r>
              <a:rPr lang="ru-RU" sz="11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) (</a:t>
            </a:r>
            <a:r>
              <a:rPr lang="ru-RU" sz="1100" dirty="0">
                <a:latin typeface="Malgun Gothic" panose="020B0503020000020004" pitchFamily="34" charset="-127"/>
                <a:ea typeface="Malgun Gothic" panose="020B0503020000020004" pitchFamily="34" charset="-127"/>
                <a:hlinkClick r:id="rId10" tooltip="Английский язык"/>
              </a:rPr>
              <a:t>англ.</a:t>
            </a:r>
            <a:r>
              <a:rPr lang="ru-RU" sz="11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 </a:t>
            </a:r>
            <a:r>
              <a:rPr lang="ru-RU" sz="1100" b="1" i="1" dirty="0" err="1">
                <a:latin typeface="Malgun Gothic" panose="020B0503020000020004" pitchFamily="34" charset="-127"/>
                <a:ea typeface="Malgun Gothic" panose="020B0503020000020004" pitchFamily="34" charset="-127"/>
              </a:rPr>
              <a:t>a</a:t>
            </a:r>
            <a:r>
              <a:rPr lang="ru-RU" sz="1100" i="1" dirty="0" err="1">
                <a:latin typeface="Malgun Gothic" panose="020B0503020000020004" pitchFamily="34" charset="-127"/>
                <a:ea typeface="Malgun Gothic" panose="020B0503020000020004" pitchFamily="34" charset="-127"/>
              </a:rPr>
              <a:t>pplication</a:t>
            </a:r>
            <a:r>
              <a:rPr lang="ru-RU" sz="1100" i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 </a:t>
            </a:r>
            <a:r>
              <a:rPr lang="ru-RU" sz="1100" b="1" i="1" dirty="0" err="1">
                <a:latin typeface="Malgun Gothic" panose="020B0503020000020004" pitchFamily="34" charset="-127"/>
                <a:ea typeface="Malgun Gothic" panose="020B0503020000020004" pitchFamily="34" charset="-127"/>
              </a:rPr>
              <a:t>p</a:t>
            </a:r>
            <a:r>
              <a:rPr lang="ru-RU" sz="1100" i="1" dirty="0" err="1">
                <a:latin typeface="Malgun Gothic" panose="020B0503020000020004" pitchFamily="34" charset="-127"/>
                <a:ea typeface="Malgun Gothic" panose="020B0503020000020004" pitchFamily="34" charset="-127"/>
              </a:rPr>
              <a:t>rogramming</a:t>
            </a:r>
            <a:r>
              <a:rPr lang="ru-RU" sz="1100" i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 </a:t>
            </a:r>
            <a:r>
              <a:rPr lang="ru-RU" sz="1100" b="1" i="1" dirty="0" err="1">
                <a:latin typeface="Malgun Gothic" panose="020B0503020000020004" pitchFamily="34" charset="-127"/>
                <a:ea typeface="Malgun Gothic" panose="020B0503020000020004" pitchFamily="34" charset="-127"/>
              </a:rPr>
              <a:t>i</a:t>
            </a:r>
            <a:r>
              <a:rPr lang="ru-RU" sz="1100" i="1" dirty="0" err="1">
                <a:latin typeface="Malgun Gothic" panose="020B0503020000020004" pitchFamily="34" charset="-127"/>
                <a:ea typeface="Malgun Gothic" panose="020B0503020000020004" pitchFamily="34" charset="-127"/>
              </a:rPr>
              <a:t>nterface</a:t>
            </a:r>
            <a:r>
              <a:rPr lang="ru-RU" sz="11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, </a:t>
            </a:r>
            <a:r>
              <a:rPr lang="ru-RU" sz="1100" i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API</a:t>
            </a:r>
            <a:r>
              <a:rPr lang="ru-RU" sz="11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 </a:t>
            </a:r>
            <a:r>
              <a:rPr lang="ru-RU" sz="1100" dirty="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)</a:t>
            </a:r>
            <a:r>
              <a:rPr lang="ru-RU" sz="11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 — описание способов (набор </a:t>
            </a:r>
            <a:r>
              <a:rPr lang="ru-RU" sz="1100" dirty="0">
                <a:latin typeface="Malgun Gothic" panose="020B0503020000020004" pitchFamily="34" charset="-127"/>
                <a:ea typeface="Malgun Gothic" panose="020B0503020000020004" pitchFamily="34" charset="-127"/>
                <a:hlinkClick r:id="rId11" tooltip="Класс (программирование)"/>
              </a:rPr>
              <a:t>классов</a:t>
            </a:r>
            <a:r>
              <a:rPr lang="ru-RU" sz="11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, </a:t>
            </a:r>
            <a:r>
              <a:rPr lang="ru-RU" sz="1100" dirty="0">
                <a:latin typeface="Malgun Gothic" panose="020B0503020000020004" pitchFamily="34" charset="-127"/>
                <a:ea typeface="Malgun Gothic" panose="020B0503020000020004" pitchFamily="34" charset="-127"/>
                <a:hlinkClick r:id="rId12" tooltip="Процедура (программирование)"/>
              </a:rPr>
              <a:t>процедур</a:t>
            </a:r>
            <a:r>
              <a:rPr lang="ru-RU" sz="11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, </a:t>
            </a:r>
            <a:r>
              <a:rPr lang="ru-RU" sz="1100" dirty="0">
                <a:latin typeface="Malgun Gothic" panose="020B0503020000020004" pitchFamily="34" charset="-127"/>
                <a:ea typeface="Malgun Gothic" panose="020B0503020000020004" pitchFamily="34" charset="-127"/>
                <a:hlinkClick r:id="rId13" tooltip="Функция (программирование)"/>
              </a:rPr>
              <a:t>функций</a:t>
            </a:r>
            <a:r>
              <a:rPr lang="ru-RU" sz="11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, </a:t>
            </a:r>
            <a:r>
              <a:rPr lang="ru-RU" sz="1100" dirty="0">
                <a:latin typeface="Malgun Gothic" panose="020B0503020000020004" pitchFamily="34" charset="-127"/>
                <a:ea typeface="Malgun Gothic" panose="020B0503020000020004" pitchFamily="34" charset="-127"/>
                <a:hlinkClick r:id="rId14" tooltip="Структура (программирование)"/>
              </a:rPr>
              <a:t>структур</a:t>
            </a:r>
            <a:r>
              <a:rPr lang="ru-RU" sz="11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 или </a:t>
            </a:r>
            <a:r>
              <a:rPr lang="ru-RU" sz="1100" dirty="0">
                <a:latin typeface="Malgun Gothic" panose="020B0503020000020004" pitchFamily="34" charset="-127"/>
                <a:ea typeface="Malgun Gothic" panose="020B0503020000020004" pitchFamily="34" charset="-127"/>
                <a:hlinkClick r:id="rId15" tooltip="Константа (программирование)"/>
              </a:rPr>
              <a:t>констант</a:t>
            </a:r>
            <a:r>
              <a:rPr lang="ru-RU" sz="11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), которыми одна компьютерная программа может взаимодействовать с другой программой.</a:t>
            </a:r>
            <a:endParaRPr kumimoji="0" lang="ru-RU" sz="110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Malgun Gothic" panose="020B0503020000020004" pitchFamily="34" charset="-127"/>
              <a:ea typeface="Malgun Gothic" panose="020B0503020000020004" pitchFamily="34" charset="-127"/>
              <a:cs typeface="Malgun Gothic Semilight" panose="020B0502040204020203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7012947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231D5B"/>
            </a:gs>
            <a:gs pos="100000">
              <a:srgbClr val="522486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9735" name="think-cell Slide" r:id="rId6" imgW="802" imgH="802" progId="TCLayout.ActiveDocument.1">
                  <p:embed/>
                </p:oleObj>
              </mc:Choice>
              <mc:Fallback>
                <p:oleObj name="think-cell Slide" r:id="rId6" imgW="802" imgH="80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xmlns="" id="{7371160C-E0F5-4DBC-9881-0D3F3BDC6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 Black" panose="020B0A04020102020204" pitchFamily="34" charset="0"/>
            </a:endParaRPr>
          </a:p>
        </p:txBody>
      </p:sp>
      <p:pic>
        <p:nvPicPr>
          <p:cNvPr id="28" name="Picture 33" descr="https://get.wallhere.com/photo/2000x1200-px-city-lights-cityscape-colorful-digital-art-futuristic-futuristic-city-Romain-Trystam-1421861.jpg">
            <a:extLst>
              <a:ext uri="{FF2B5EF4-FFF2-40B4-BE49-F238E27FC236}">
                <a16:creationId xmlns:a16="http://schemas.microsoft.com/office/drawing/2014/main" xmlns="" id="{EBFA881A-A19E-4C1C-814F-64EB296B63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250"/>
          <a:stretch/>
        </p:blipFill>
        <p:spPr bwMode="auto">
          <a:xfrm>
            <a:off x="0" y="-1"/>
            <a:ext cx="12191998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6BA67423-5EB7-4A13-A345-5BFA2129F4C8}"/>
              </a:ext>
            </a:extLst>
          </p:cNvPr>
          <p:cNvSpPr txBox="1"/>
          <p:nvPr/>
        </p:nvSpPr>
        <p:spPr>
          <a:xfrm>
            <a:off x="2791047" y="2461020"/>
            <a:ext cx="6609907" cy="1258372"/>
          </a:xfrm>
          <a:prstGeom prst="roundRect">
            <a:avLst>
              <a:gd name="adj" fmla="val 8434"/>
            </a:avLst>
          </a:prstGeom>
          <a:solidFill>
            <a:srgbClr val="000000">
              <a:alpha val="50196"/>
            </a:srgbClr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3600" dirty="0">
                <a:solidFill>
                  <a:prstClr val="white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Sber Product Catalog: Product Vision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B0DE2ECD-4959-496A-88C1-16B3DAB46BD6}"/>
              </a:ext>
            </a:extLst>
          </p:cNvPr>
          <p:cNvSpPr txBox="1"/>
          <p:nvPr/>
        </p:nvSpPr>
        <p:spPr>
          <a:xfrm>
            <a:off x="9734736" y="6375591"/>
            <a:ext cx="22106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22486"/>
                </a:solidFill>
                <a:effectLst/>
                <a:uLnTx/>
                <a:uFillTx/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 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Malgun Gothic Semilight" panose="020B0502040204020203" pitchFamily="34" charset="-128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xmlns="" id="{C7205EF8-1C6B-4520-AB35-C3ABEBAF15C6}"/>
              </a:ext>
            </a:extLst>
          </p:cNvPr>
          <p:cNvGrpSpPr/>
          <p:nvPr/>
        </p:nvGrpSpPr>
        <p:grpSpPr>
          <a:xfrm>
            <a:off x="265606" y="179205"/>
            <a:ext cx="910272" cy="624186"/>
            <a:chOff x="2652323" y="132462"/>
            <a:chExt cx="752291" cy="515856"/>
          </a:xfrm>
        </p:grpSpPr>
        <p:sp>
          <p:nvSpPr>
            <p:cNvPr id="30" name="Правильный пятиугольник 6">
              <a:extLst>
                <a:ext uri="{FF2B5EF4-FFF2-40B4-BE49-F238E27FC236}">
                  <a16:creationId xmlns:a16="http://schemas.microsoft.com/office/drawing/2014/main" xmlns="" id="{52B1BF0F-0EB3-4DC4-BF40-9ADBA608D2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52323" y="132462"/>
              <a:ext cx="752291" cy="515856"/>
            </a:xfrm>
            <a:custGeom>
              <a:avLst/>
              <a:gdLst>
                <a:gd name="connsiteX0" fmla="*/ 4 w 3600400"/>
                <a:gd name="connsiteY0" fmla="*/ 934005 h 2445264"/>
                <a:gd name="connsiteX1" fmla="*/ 1800200 w 3600400"/>
                <a:gd name="connsiteY1" fmla="*/ 0 h 2445264"/>
                <a:gd name="connsiteX2" fmla="*/ 3600396 w 3600400"/>
                <a:gd name="connsiteY2" fmla="*/ 934005 h 2445264"/>
                <a:gd name="connsiteX3" fmla="*/ 2912782 w 3600400"/>
                <a:gd name="connsiteY3" fmla="*/ 2445258 h 2445264"/>
                <a:gd name="connsiteX4" fmla="*/ 687618 w 3600400"/>
                <a:gd name="connsiteY4" fmla="*/ 2445258 h 2445264"/>
                <a:gd name="connsiteX5" fmla="*/ 4 w 3600400"/>
                <a:gd name="connsiteY5" fmla="*/ 934005 h 2445264"/>
                <a:gd name="connsiteX0" fmla="*/ 0 w 3600392"/>
                <a:gd name="connsiteY0" fmla="*/ 934005 h 2485452"/>
                <a:gd name="connsiteX1" fmla="*/ 1800196 w 3600392"/>
                <a:gd name="connsiteY1" fmla="*/ 0 h 2485452"/>
                <a:gd name="connsiteX2" fmla="*/ 3600392 w 3600392"/>
                <a:gd name="connsiteY2" fmla="*/ 934005 h 2485452"/>
                <a:gd name="connsiteX3" fmla="*/ 2912778 w 3600392"/>
                <a:gd name="connsiteY3" fmla="*/ 2445258 h 2485452"/>
                <a:gd name="connsiteX4" fmla="*/ 185197 w 3600392"/>
                <a:gd name="connsiteY4" fmla="*/ 2485452 h 2485452"/>
                <a:gd name="connsiteX5" fmla="*/ 0 w 3600392"/>
                <a:gd name="connsiteY5" fmla="*/ 934005 h 2485452"/>
                <a:gd name="connsiteX0" fmla="*/ 0 w 3600392"/>
                <a:gd name="connsiteY0" fmla="*/ 934005 h 2485452"/>
                <a:gd name="connsiteX1" fmla="*/ 1800196 w 3600392"/>
                <a:gd name="connsiteY1" fmla="*/ 0 h 2485452"/>
                <a:gd name="connsiteX2" fmla="*/ 3600392 w 3600392"/>
                <a:gd name="connsiteY2" fmla="*/ 934005 h 2485452"/>
                <a:gd name="connsiteX3" fmla="*/ 2480699 w 3600392"/>
                <a:gd name="connsiteY3" fmla="*/ 2435209 h 2485452"/>
                <a:gd name="connsiteX4" fmla="*/ 185197 w 3600392"/>
                <a:gd name="connsiteY4" fmla="*/ 2485452 h 2485452"/>
                <a:gd name="connsiteX5" fmla="*/ 0 w 3600392"/>
                <a:gd name="connsiteY5" fmla="*/ 934005 h 2485452"/>
                <a:gd name="connsiteX0" fmla="*/ 0 w 3600392"/>
                <a:gd name="connsiteY0" fmla="*/ 934005 h 2485452"/>
                <a:gd name="connsiteX1" fmla="*/ 1800196 w 3600392"/>
                <a:gd name="connsiteY1" fmla="*/ 0 h 2485452"/>
                <a:gd name="connsiteX2" fmla="*/ 3600392 w 3600392"/>
                <a:gd name="connsiteY2" fmla="*/ 934005 h 2485452"/>
                <a:gd name="connsiteX3" fmla="*/ 2480699 w 3600392"/>
                <a:gd name="connsiteY3" fmla="*/ 2475403 h 2485452"/>
                <a:gd name="connsiteX4" fmla="*/ 185197 w 3600392"/>
                <a:gd name="connsiteY4" fmla="*/ 2485452 h 2485452"/>
                <a:gd name="connsiteX5" fmla="*/ 0 w 3600392"/>
                <a:gd name="connsiteY5" fmla="*/ 934005 h 2485452"/>
                <a:gd name="connsiteX0" fmla="*/ 0 w 3600392"/>
                <a:gd name="connsiteY0" fmla="*/ 934005 h 2475403"/>
                <a:gd name="connsiteX1" fmla="*/ 1800196 w 3600392"/>
                <a:gd name="connsiteY1" fmla="*/ 0 h 2475403"/>
                <a:gd name="connsiteX2" fmla="*/ 3600392 w 3600392"/>
                <a:gd name="connsiteY2" fmla="*/ 934005 h 2475403"/>
                <a:gd name="connsiteX3" fmla="*/ 2480699 w 3600392"/>
                <a:gd name="connsiteY3" fmla="*/ 2475403 h 2475403"/>
                <a:gd name="connsiteX4" fmla="*/ 185197 w 3600392"/>
                <a:gd name="connsiteY4" fmla="*/ 2460052 h 2475403"/>
                <a:gd name="connsiteX5" fmla="*/ 0 w 3600392"/>
                <a:gd name="connsiteY5" fmla="*/ 934005 h 2475403"/>
                <a:gd name="connsiteX0" fmla="*/ 0 w 3600392"/>
                <a:gd name="connsiteY0" fmla="*/ 934005 h 2462703"/>
                <a:gd name="connsiteX1" fmla="*/ 1800196 w 3600392"/>
                <a:gd name="connsiteY1" fmla="*/ 0 h 2462703"/>
                <a:gd name="connsiteX2" fmla="*/ 3600392 w 3600392"/>
                <a:gd name="connsiteY2" fmla="*/ 934005 h 2462703"/>
                <a:gd name="connsiteX3" fmla="*/ 2480699 w 3600392"/>
                <a:gd name="connsiteY3" fmla="*/ 2462703 h 2462703"/>
                <a:gd name="connsiteX4" fmla="*/ 185197 w 3600392"/>
                <a:gd name="connsiteY4" fmla="*/ 2460052 h 2462703"/>
                <a:gd name="connsiteX5" fmla="*/ 0 w 3600392"/>
                <a:gd name="connsiteY5" fmla="*/ 934005 h 2462703"/>
                <a:gd name="connsiteX0" fmla="*/ 0 w 3600392"/>
                <a:gd name="connsiteY0" fmla="*/ 934005 h 2462703"/>
                <a:gd name="connsiteX1" fmla="*/ 1800196 w 3600392"/>
                <a:gd name="connsiteY1" fmla="*/ 0 h 2462703"/>
                <a:gd name="connsiteX2" fmla="*/ 3600392 w 3600392"/>
                <a:gd name="connsiteY2" fmla="*/ 934005 h 2462703"/>
                <a:gd name="connsiteX3" fmla="*/ 2480699 w 3600392"/>
                <a:gd name="connsiteY3" fmla="*/ 2462703 h 2462703"/>
                <a:gd name="connsiteX4" fmla="*/ 207422 w 3600392"/>
                <a:gd name="connsiteY4" fmla="*/ 2460052 h 2462703"/>
                <a:gd name="connsiteX5" fmla="*/ 0 w 3600392"/>
                <a:gd name="connsiteY5" fmla="*/ 934005 h 2462703"/>
                <a:gd name="connsiteX0" fmla="*/ 0 w 3600392"/>
                <a:gd name="connsiteY0" fmla="*/ 934005 h 2462703"/>
                <a:gd name="connsiteX1" fmla="*/ 1800196 w 3600392"/>
                <a:gd name="connsiteY1" fmla="*/ 0 h 2462703"/>
                <a:gd name="connsiteX2" fmla="*/ 3600392 w 3600392"/>
                <a:gd name="connsiteY2" fmla="*/ 934005 h 2462703"/>
                <a:gd name="connsiteX3" fmla="*/ 2414024 w 3600392"/>
                <a:gd name="connsiteY3" fmla="*/ 2462703 h 2462703"/>
                <a:gd name="connsiteX4" fmla="*/ 207422 w 3600392"/>
                <a:gd name="connsiteY4" fmla="*/ 2460052 h 2462703"/>
                <a:gd name="connsiteX5" fmla="*/ 0 w 3600392"/>
                <a:gd name="connsiteY5" fmla="*/ 934005 h 2462703"/>
                <a:gd name="connsiteX0" fmla="*/ 0 w 3600392"/>
                <a:gd name="connsiteY0" fmla="*/ 919718 h 2448416"/>
                <a:gd name="connsiteX1" fmla="*/ 2124046 w 3600392"/>
                <a:gd name="connsiteY1" fmla="*/ 0 h 2448416"/>
                <a:gd name="connsiteX2" fmla="*/ 3600392 w 3600392"/>
                <a:gd name="connsiteY2" fmla="*/ 919718 h 2448416"/>
                <a:gd name="connsiteX3" fmla="*/ 2414024 w 3600392"/>
                <a:gd name="connsiteY3" fmla="*/ 2448416 h 2448416"/>
                <a:gd name="connsiteX4" fmla="*/ 207422 w 3600392"/>
                <a:gd name="connsiteY4" fmla="*/ 2445765 h 2448416"/>
                <a:gd name="connsiteX5" fmla="*/ 0 w 3600392"/>
                <a:gd name="connsiteY5" fmla="*/ 919718 h 2448416"/>
                <a:gd name="connsiteX0" fmla="*/ 0 w 3576579"/>
                <a:gd name="connsiteY0" fmla="*/ 929243 h 2448416"/>
                <a:gd name="connsiteX1" fmla="*/ 2100233 w 3576579"/>
                <a:gd name="connsiteY1" fmla="*/ 0 h 2448416"/>
                <a:gd name="connsiteX2" fmla="*/ 3576579 w 3576579"/>
                <a:gd name="connsiteY2" fmla="*/ 919718 h 2448416"/>
                <a:gd name="connsiteX3" fmla="*/ 2390211 w 3576579"/>
                <a:gd name="connsiteY3" fmla="*/ 2448416 h 2448416"/>
                <a:gd name="connsiteX4" fmla="*/ 183609 w 3576579"/>
                <a:gd name="connsiteY4" fmla="*/ 2445765 h 2448416"/>
                <a:gd name="connsiteX5" fmla="*/ 0 w 3576579"/>
                <a:gd name="connsiteY5" fmla="*/ 929243 h 2448416"/>
                <a:gd name="connsiteX0" fmla="*/ 0 w 3576579"/>
                <a:gd name="connsiteY0" fmla="*/ 929243 h 2448416"/>
                <a:gd name="connsiteX1" fmla="*/ 2100233 w 3576579"/>
                <a:gd name="connsiteY1" fmla="*/ 0 h 2448416"/>
                <a:gd name="connsiteX2" fmla="*/ 3576579 w 3576579"/>
                <a:gd name="connsiteY2" fmla="*/ 919718 h 2448416"/>
                <a:gd name="connsiteX3" fmla="*/ 3497470 w 3576579"/>
                <a:gd name="connsiteY3" fmla="*/ 998909 h 2448416"/>
                <a:gd name="connsiteX4" fmla="*/ 2390211 w 3576579"/>
                <a:gd name="connsiteY4" fmla="*/ 2448416 h 2448416"/>
                <a:gd name="connsiteX5" fmla="*/ 183609 w 3576579"/>
                <a:gd name="connsiteY5" fmla="*/ 2445765 h 2448416"/>
                <a:gd name="connsiteX6" fmla="*/ 0 w 3576579"/>
                <a:gd name="connsiteY6" fmla="*/ 929243 h 2448416"/>
                <a:gd name="connsiteX0" fmla="*/ 0 w 3576579"/>
                <a:gd name="connsiteY0" fmla="*/ 929243 h 2448416"/>
                <a:gd name="connsiteX1" fmla="*/ 2100233 w 3576579"/>
                <a:gd name="connsiteY1" fmla="*/ 0 h 2448416"/>
                <a:gd name="connsiteX2" fmla="*/ 2176369 w 3576579"/>
                <a:gd name="connsiteY2" fmla="*/ 33707 h 2448416"/>
                <a:gd name="connsiteX3" fmla="*/ 3576579 w 3576579"/>
                <a:gd name="connsiteY3" fmla="*/ 919718 h 2448416"/>
                <a:gd name="connsiteX4" fmla="*/ 3497470 w 3576579"/>
                <a:gd name="connsiteY4" fmla="*/ 998909 h 2448416"/>
                <a:gd name="connsiteX5" fmla="*/ 2390211 w 3576579"/>
                <a:gd name="connsiteY5" fmla="*/ 2448416 h 2448416"/>
                <a:gd name="connsiteX6" fmla="*/ 183609 w 3576579"/>
                <a:gd name="connsiteY6" fmla="*/ 2445765 h 2448416"/>
                <a:gd name="connsiteX7" fmla="*/ 0 w 3576579"/>
                <a:gd name="connsiteY7" fmla="*/ 929243 h 2448416"/>
                <a:gd name="connsiteX0" fmla="*/ 0 w 3576579"/>
                <a:gd name="connsiteY0" fmla="*/ 929243 h 2448416"/>
                <a:gd name="connsiteX1" fmla="*/ 2035962 w 3576579"/>
                <a:gd name="connsiteY1" fmla="*/ 27229 h 2448416"/>
                <a:gd name="connsiteX2" fmla="*/ 2100233 w 3576579"/>
                <a:gd name="connsiteY2" fmla="*/ 0 h 2448416"/>
                <a:gd name="connsiteX3" fmla="*/ 2176369 w 3576579"/>
                <a:gd name="connsiteY3" fmla="*/ 33707 h 2448416"/>
                <a:gd name="connsiteX4" fmla="*/ 3576579 w 3576579"/>
                <a:gd name="connsiteY4" fmla="*/ 919718 h 2448416"/>
                <a:gd name="connsiteX5" fmla="*/ 3497470 w 3576579"/>
                <a:gd name="connsiteY5" fmla="*/ 998909 h 2448416"/>
                <a:gd name="connsiteX6" fmla="*/ 2390211 w 3576579"/>
                <a:gd name="connsiteY6" fmla="*/ 2448416 h 2448416"/>
                <a:gd name="connsiteX7" fmla="*/ 183609 w 3576579"/>
                <a:gd name="connsiteY7" fmla="*/ 2445765 h 2448416"/>
                <a:gd name="connsiteX8" fmla="*/ 0 w 3576579"/>
                <a:gd name="connsiteY8" fmla="*/ 929243 h 2448416"/>
                <a:gd name="connsiteX0" fmla="*/ 0 w 3576579"/>
                <a:gd name="connsiteY0" fmla="*/ 929243 h 2448416"/>
                <a:gd name="connsiteX1" fmla="*/ 2035962 w 3576579"/>
                <a:gd name="connsiteY1" fmla="*/ 27229 h 2448416"/>
                <a:gd name="connsiteX2" fmla="*/ 2100233 w 3576579"/>
                <a:gd name="connsiteY2" fmla="*/ 0 h 2448416"/>
                <a:gd name="connsiteX3" fmla="*/ 2176369 w 3576579"/>
                <a:gd name="connsiteY3" fmla="*/ 33707 h 2448416"/>
                <a:gd name="connsiteX4" fmla="*/ 3576579 w 3576579"/>
                <a:gd name="connsiteY4" fmla="*/ 919718 h 2448416"/>
                <a:gd name="connsiteX5" fmla="*/ 3497470 w 3576579"/>
                <a:gd name="connsiteY5" fmla="*/ 998909 h 2448416"/>
                <a:gd name="connsiteX6" fmla="*/ 2390211 w 3576579"/>
                <a:gd name="connsiteY6" fmla="*/ 2448416 h 2448416"/>
                <a:gd name="connsiteX7" fmla="*/ 183609 w 3576579"/>
                <a:gd name="connsiteY7" fmla="*/ 2445765 h 2448416"/>
                <a:gd name="connsiteX8" fmla="*/ 6444 w 3576579"/>
                <a:gd name="connsiteY8" fmla="*/ 1005386 h 2448416"/>
                <a:gd name="connsiteX9" fmla="*/ 0 w 3576579"/>
                <a:gd name="connsiteY9" fmla="*/ 929243 h 2448416"/>
                <a:gd name="connsiteX0" fmla="*/ 0 w 3576579"/>
                <a:gd name="connsiteY0" fmla="*/ 929243 h 2448416"/>
                <a:gd name="connsiteX1" fmla="*/ 70265 w 3576579"/>
                <a:gd name="connsiteY1" fmla="*/ 888785 h 2448416"/>
                <a:gd name="connsiteX2" fmla="*/ 2035962 w 3576579"/>
                <a:gd name="connsiteY2" fmla="*/ 27229 h 2448416"/>
                <a:gd name="connsiteX3" fmla="*/ 2100233 w 3576579"/>
                <a:gd name="connsiteY3" fmla="*/ 0 h 2448416"/>
                <a:gd name="connsiteX4" fmla="*/ 2176369 w 3576579"/>
                <a:gd name="connsiteY4" fmla="*/ 33707 h 2448416"/>
                <a:gd name="connsiteX5" fmla="*/ 3576579 w 3576579"/>
                <a:gd name="connsiteY5" fmla="*/ 919718 h 2448416"/>
                <a:gd name="connsiteX6" fmla="*/ 3497470 w 3576579"/>
                <a:gd name="connsiteY6" fmla="*/ 998909 h 2448416"/>
                <a:gd name="connsiteX7" fmla="*/ 2390211 w 3576579"/>
                <a:gd name="connsiteY7" fmla="*/ 2448416 h 2448416"/>
                <a:gd name="connsiteX8" fmla="*/ 183609 w 3576579"/>
                <a:gd name="connsiteY8" fmla="*/ 2445765 h 2448416"/>
                <a:gd name="connsiteX9" fmla="*/ 6444 w 3576579"/>
                <a:gd name="connsiteY9" fmla="*/ 1005386 h 2448416"/>
                <a:gd name="connsiteX10" fmla="*/ 0 w 3576579"/>
                <a:gd name="connsiteY10" fmla="*/ 929243 h 2448416"/>
                <a:gd name="connsiteX0" fmla="*/ 0 w 3576579"/>
                <a:gd name="connsiteY0" fmla="*/ 929243 h 2448416"/>
                <a:gd name="connsiteX1" fmla="*/ 70265 w 3576579"/>
                <a:gd name="connsiteY1" fmla="*/ 888785 h 2448416"/>
                <a:gd name="connsiteX2" fmla="*/ 2035962 w 3576579"/>
                <a:gd name="connsiteY2" fmla="*/ 27229 h 2448416"/>
                <a:gd name="connsiteX3" fmla="*/ 2100233 w 3576579"/>
                <a:gd name="connsiteY3" fmla="*/ 0 h 2448416"/>
                <a:gd name="connsiteX4" fmla="*/ 2176369 w 3576579"/>
                <a:gd name="connsiteY4" fmla="*/ 33707 h 2448416"/>
                <a:gd name="connsiteX5" fmla="*/ 3576579 w 3576579"/>
                <a:gd name="connsiteY5" fmla="*/ 919718 h 2448416"/>
                <a:gd name="connsiteX6" fmla="*/ 3497470 w 3576579"/>
                <a:gd name="connsiteY6" fmla="*/ 998909 h 2448416"/>
                <a:gd name="connsiteX7" fmla="*/ 2390211 w 3576579"/>
                <a:gd name="connsiteY7" fmla="*/ 2448416 h 2448416"/>
                <a:gd name="connsiteX8" fmla="*/ 255347 w 3576579"/>
                <a:gd name="connsiteY8" fmla="*/ 2436994 h 2448416"/>
                <a:gd name="connsiteX9" fmla="*/ 183609 w 3576579"/>
                <a:gd name="connsiteY9" fmla="*/ 2445765 h 2448416"/>
                <a:gd name="connsiteX10" fmla="*/ 6444 w 3576579"/>
                <a:gd name="connsiteY10" fmla="*/ 1005386 h 2448416"/>
                <a:gd name="connsiteX11" fmla="*/ 0 w 3576579"/>
                <a:gd name="connsiteY11" fmla="*/ 929243 h 2448416"/>
                <a:gd name="connsiteX0" fmla="*/ 0 w 3576579"/>
                <a:gd name="connsiteY0" fmla="*/ 929243 h 2448416"/>
                <a:gd name="connsiteX1" fmla="*/ 70265 w 3576579"/>
                <a:gd name="connsiteY1" fmla="*/ 888785 h 2448416"/>
                <a:gd name="connsiteX2" fmla="*/ 2035962 w 3576579"/>
                <a:gd name="connsiteY2" fmla="*/ 27229 h 2448416"/>
                <a:gd name="connsiteX3" fmla="*/ 2100233 w 3576579"/>
                <a:gd name="connsiteY3" fmla="*/ 0 h 2448416"/>
                <a:gd name="connsiteX4" fmla="*/ 2176369 w 3576579"/>
                <a:gd name="connsiteY4" fmla="*/ 33707 h 2448416"/>
                <a:gd name="connsiteX5" fmla="*/ 3576579 w 3576579"/>
                <a:gd name="connsiteY5" fmla="*/ 919718 h 2448416"/>
                <a:gd name="connsiteX6" fmla="*/ 3497470 w 3576579"/>
                <a:gd name="connsiteY6" fmla="*/ 998909 h 2448416"/>
                <a:gd name="connsiteX7" fmla="*/ 2390211 w 3576579"/>
                <a:gd name="connsiteY7" fmla="*/ 2448416 h 2448416"/>
                <a:gd name="connsiteX8" fmla="*/ 255347 w 3576579"/>
                <a:gd name="connsiteY8" fmla="*/ 2436994 h 2448416"/>
                <a:gd name="connsiteX9" fmla="*/ 183609 w 3576579"/>
                <a:gd name="connsiteY9" fmla="*/ 2445765 h 2448416"/>
                <a:gd name="connsiteX10" fmla="*/ 159615 w 3576579"/>
                <a:gd name="connsiteY10" fmla="*/ 2346303 h 2448416"/>
                <a:gd name="connsiteX11" fmla="*/ 6444 w 3576579"/>
                <a:gd name="connsiteY11" fmla="*/ 1005386 h 2448416"/>
                <a:gd name="connsiteX12" fmla="*/ 0 w 3576579"/>
                <a:gd name="connsiteY12" fmla="*/ 929243 h 2448416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390211 w 3576579"/>
                <a:gd name="connsiteY7" fmla="*/ 2448416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83609 w 3576579"/>
                <a:gd name="connsiteY10" fmla="*/ 2445765 h 2449950"/>
                <a:gd name="connsiteX11" fmla="*/ 159615 w 3576579"/>
                <a:gd name="connsiteY11" fmla="*/ 2346303 h 2449950"/>
                <a:gd name="connsiteX12" fmla="*/ 6444 w 3576579"/>
                <a:gd name="connsiteY12" fmla="*/ 1005386 h 2449950"/>
                <a:gd name="connsiteX13" fmla="*/ 0 w 3576579"/>
                <a:gd name="connsiteY13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390211 w 3576579"/>
                <a:gd name="connsiteY8" fmla="*/ 2448416 h 2449950"/>
                <a:gd name="connsiteX9" fmla="*/ 2291247 w 3576579"/>
                <a:gd name="connsiteY9" fmla="*/ 2449950 h 2449950"/>
                <a:gd name="connsiteX10" fmla="*/ 255347 w 3576579"/>
                <a:gd name="connsiteY10" fmla="*/ 2436994 h 2449950"/>
                <a:gd name="connsiteX11" fmla="*/ 183609 w 3576579"/>
                <a:gd name="connsiteY11" fmla="*/ 2445765 h 2449950"/>
                <a:gd name="connsiteX12" fmla="*/ 159615 w 3576579"/>
                <a:gd name="connsiteY12" fmla="*/ 2346303 h 2449950"/>
                <a:gd name="connsiteX13" fmla="*/ 6444 w 3576579"/>
                <a:gd name="connsiteY13" fmla="*/ 1005386 h 2449950"/>
                <a:gd name="connsiteX14" fmla="*/ 0 w 3576579"/>
                <a:gd name="connsiteY14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83609 w 3576579"/>
                <a:gd name="connsiteY10" fmla="*/ 2445765 h 2449950"/>
                <a:gd name="connsiteX11" fmla="*/ 159615 w 3576579"/>
                <a:gd name="connsiteY11" fmla="*/ 2346303 h 2449950"/>
                <a:gd name="connsiteX12" fmla="*/ 6444 w 3576579"/>
                <a:gd name="connsiteY12" fmla="*/ 1005386 h 2449950"/>
                <a:gd name="connsiteX13" fmla="*/ 0 w 3576579"/>
                <a:gd name="connsiteY13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83609 w 3576579"/>
                <a:gd name="connsiteY10" fmla="*/ 2445765 h 2449950"/>
                <a:gd name="connsiteX11" fmla="*/ 159615 w 3576579"/>
                <a:gd name="connsiteY11" fmla="*/ 2346303 h 2449950"/>
                <a:gd name="connsiteX12" fmla="*/ 6444 w 3576579"/>
                <a:gd name="connsiteY12" fmla="*/ 1005386 h 2449950"/>
                <a:gd name="connsiteX13" fmla="*/ 0 w 3576579"/>
                <a:gd name="connsiteY13" fmla="*/ 929243 h 2449950"/>
                <a:gd name="connsiteX0" fmla="*/ 0 w 3576579"/>
                <a:gd name="connsiteY0" fmla="*/ 929243 h 2456697"/>
                <a:gd name="connsiteX1" fmla="*/ 70265 w 3576579"/>
                <a:gd name="connsiteY1" fmla="*/ 888785 h 2456697"/>
                <a:gd name="connsiteX2" fmla="*/ 2035962 w 3576579"/>
                <a:gd name="connsiteY2" fmla="*/ 27229 h 2456697"/>
                <a:gd name="connsiteX3" fmla="*/ 2100233 w 3576579"/>
                <a:gd name="connsiteY3" fmla="*/ 0 h 2456697"/>
                <a:gd name="connsiteX4" fmla="*/ 2176369 w 3576579"/>
                <a:gd name="connsiteY4" fmla="*/ 33707 h 2456697"/>
                <a:gd name="connsiteX5" fmla="*/ 3576579 w 3576579"/>
                <a:gd name="connsiteY5" fmla="*/ 919718 h 2456697"/>
                <a:gd name="connsiteX6" fmla="*/ 3497470 w 3576579"/>
                <a:gd name="connsiteY6" fmla="*/ 998909 h 2456697"/>
                <a:gd name="connsiteX7" fmla="*/ 2450801 w 3576579"/>
                <a:gd name="connsiteY7" fmla="*/ 2359259 h 2456697"/>
                <a:gd name="connsiteX8" fmla="*/ 2291247 w 3576579"/>
                <a:gd name="connsiteY8" fmla="*/ 2449950 h 2456697"/>
                <a:gd name="connsiteX9" fmla="*/ 255347 w 3576579"/>
                <a:gd name="connsiteY9" fmla="*/ 2436994 h 2456697"/>
                <a:gd name="connsiteX10" fmla="*/ 183609 w 3576579"/>
                <a:gd name="connsiteY10" fmla="*/ 2445765 h 2456697"/>
                <a:gd name="connsiteX11" fmla="*/ 159615 w 3576579"/>
                <a:gd name="connsiteY11" fmla="*/ 2346303 h 2456697"/>
                <a:gd name="connsiteX12" fmla="*/ 6444 w 3576579"/>
                <a:gd name="connsiteY12" fmla="*/ 1005386 h 2456697"/>
                <a:gd name="connsiteX13" fmla="*/ 0 w 3576579"/>
                <a:gd name="connsiteY13" fmla="*/ 929243 h 2456697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83609 w 3576579"/>
                <a:gd name="connsiteY10" fmla="*/ 2445765 h 2449950"/>
                <a:gd name="connsiteX11" fmla="*/ 159615 w 3576579"/>
                <a:gd name="connsiteY11" fmla="*/ 2346303 h 2449950"/>
                <a:gd name="connsiteX12" fmla="*/ 6444 w 3576579"/>
                <a:gd name="connsiteY12" fmla="*/ 1005386 h 2449950"/>
                <a:gd name="connsiteX13" fmla="*/ 0 w 3576579"/>
                <a:gd name="connsiteY13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59615 w 3576579"/>
                <a:gd name="connsiteY10" fmla="*/ 2346303 h 2449950"/>
                <a:gd name="connsiteX11" fmla="*/ 6444 w 3576579"/>
                <a:gd name="connsiteY11" fmla="*/ 1005386 h 2449950"/>
                <a:gd name="connsiteX12" fmla="*/ 0 w 3576579"/>
                <a:gd name="connsiteY12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59615 w 3576579"/>
                <a:gd name="connsiteY10" fmla="*/ 2346303 h 2449950"/>
                <a:gd name="connsiteX11" fmla="*/ 6444 w 3576579"/>
                <a:gd name="connsiteY11" fmla="*/ 1005386 h 2449950"/>
                <a:gd name="connsiteX12" fmla="*/ 0 w 3576579"/>
                <a:gd name="connsiteY12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59615 w 3576579"/>
                <a:gd name="connsiteY10" fmla="*/ 2346303 h 2449950"/>
                <a:gd name="connsiteX11" fmla="*/ 6444 w 3576579"/>
                <a:gd name="connsiteY11" fmla="*/ 1005386 h 2449950"/>
                <a:gd name="connsiteX12" fmla="*/ 0 w 3576579"/>
                <a:gd name="connsiteY12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255347 w 3576579"/>
                <a:gd name="connsiteY9" fmla="*/ 2436994 h 2449950"/>
                <a:gd name="connsiteX10" fmla="*/ 159615 w 3576579"/>
                <a:gd name="connsiteY10" fmla="*/ 2346303 h 2449950"/>
                <a:gd name="connsiteX11" fmla="*/ 6444 w 3576579"/>
                <a:gd name="connsiteY11" fmla="*/ 1005386 h 2449950"/>
                <a:gd name="connsiteX12" fmla="*/ 0 w 3576579"/>
                <a:gd name="connsiteY12" fmla="*/ 929243 h 2449950"/>
                <a:gd name="connsiteX0" fmla="*/ 0 w 3576579"/>
                <a:gd name="connsiteY0" fmla="*/ 929243 h 2449950"/>
                <a:gd name="connsiteX1" fmla="*/ 70265 w 3576579"/>
                <a:gd name="connsiteY1" fmla="*/ 888785 h 2449950"/>
                <a:gd name="connsiteX2" fmla="*/ 2035962 w 3576579"/>
                <a:gd name="connsiteY2" fmla="*/ 27229 h 2449950"/>
                <a:gd name="connsiteX3" fmla="*/ 2100233 w 3576579"/>
                <a:gd name="connsiteY3" fmla="*/ 0 h 2449950"/>
                <a:gd name="connsiteX4" fmla="*/ 2176369 w 3576579"/>
                <a:gd name="connsiteY4" fmla="*/ 33707 h 2449950"/>
                <a:gd name="connsiteX5" fmla="*/ 3576579 w 3576579"/>
                <a:gd name="connsiteY5" fmla="*/ 919718 h 2449950"/>
                <a:gd name="connsiteX6" fmla="*/ 3497470 w 3576579"/>
                <a:gd name="connsiteY6" fmla="*/ 998909 h 2449950"/>
                <a:gd name="connsiteX7" fmla="*/ 2450801 w 3576579"/>
                <a:gd name="connsiteY7" fmla="*/ 2359259 h 2449950"/>
                <a:gd name="connsiteX8" fmla="*/ 2291247 w 3576579"/>
                <a:gd name="connsiteY8" fmla="*/ 2449950 h 2449950"/>
                <a:gd name="connsiteX9" fmla="*/ 300022 w 3576579"/>
                <a:gd name="connsiteY9" fmla="*/ 2436994 h 2449950"/>
                <a:gd name="connsiteX10" fmla="*/ 159615 w 3576579"/>
                <a:gd name="connsiteY10" fmla="*/ 2346303 h 2449950"/>
                <a:gd name="connsiteX11" fmla="*/ 6444 w 3576579"/>
                <a:gd name="connsiteY11" fmla="*/ 1005386 h 2449950"/>
                <a:gd name="connsiteX12" fmla="*/ 0 w 3576579"/>
                <a:gd name="connsiteY12" fmla="*/ 929243 h 2449950"/>
                <a:gd name="connsiteX0" fmla="*/ 0 w 3576579"/>
                <a:gd name="connsiteY0" fmla="*/ 929243 h 2443473"/>
                <a:gd name="connsiteX1" fmla="*/ 70265 w 3576579"/>
                <a:gd name="connsiteY1" fmla="*/ 888785 h 2443473"/>
                <a:gd name="connsiteX2" fmla="*/ 2035962 w 3576579"/>
                <a:gd name="connsiteY2" fmla="*/ 27229 h 2443473"/>
                <a:gd name="connsiteX3" fmla="*/ 2100233 w 3576579"/>
                <a:gd name="connsiteY3" fmla="*/ 0 h 2443473"/>
                <a:gd name="connsiteX4" fmla="*/ 2176369 w 3576579"/>
                <a:gd name="connsiteY4" fmla="*/ 33707 h 2443473"/>
                <a:gd name="connsiteX5" fmla="*/ 3576579 w 3576579"/>
                <a:gd name="connsiteY5" fmla="*/ 919718 h 2443473"/>
                <a:gd name="connsiteX6" fmla="*/ 3497470 w 3576579"/>
                <a:gd name="connsiteY6" fmla="*/ 998909 h 2443473"/>
                <a:gd name="connsiteX7" fmla="*/ 2450801 w 3576579"/>
                <a:gd name="connsiteY7" fmla="*/ 2359259 h 2443473"/>
                <a:gd name="connsiteX8" fmla="*/ 2252955 w 3576579"/>
                <a:gd name="connsiteY8" fmla="*/ 2443473 h 2443473"/>
                <a:gd name="connsiteX9" fmla="*/ 300022 w 3576579"/>
                <a:gd name="connsiteY9" fmla="*/ 2436994 h 2443473"/>
                <a:gd name="connsiteX10" fmla="*/ 159615 w 3576579"/>
                <a:gd name="connsiteY10" fmla="*/ 2346303 h 2443473"/>
                <a:gd name="connsiteX11" fmla="*/ 6444 w 3576579"/>
                <a:gd name="connsiteY11" fmla="*/ 1005386 h 2443473"/>
                <a:gd name="connsiteX12" fmla="*/ 0 w 3576579"/>
                <a:gd name="connsiteY12" fmla="*/ 929243 h 2443473"/>
                <a:gd name="connsiteX0" fmla="*/ 0 w 3576579"/>
                <a:gd name="connsiteY0" fmla="*/ 929243 h 2443473"/>
                <a:gd name="connsiteX1" fmla="*/ 70265 w 3576579"/>
                <a:gd name="connsiteY1" fmla="*/ 888785 h 2443473"/>
                <a:gd name="connsiteX2" fmla="*/ 2035962 w 3576579"/>
                <a:gd name="connsiteY2" fmla="*/ 27229 h 2443473"/>
                <a:gd name="connsiteX3" fmla="*/ 2100233 w 3576579"/>
                <a:gd name="connsiteY3" fmla="*/ 0 h 2443473"/>
                <a:gd name="connsiteX4" fmla="*/ 2176369 w 3576579"/>
                <a:gd name="connsiteY4" fmla="*/ 33707 h 2443473"/>
                <a:gd name="connsiteX5" fmla="*/ 3484706 w 3576579"/>
                <a:gd name="connsiteY5" fmla="*/ 836963 h 2443473"/>
                <a:gd name="connsiteX6" fmla="*/ 3576579 w 3576579"/>
                <a:gd name="connsiteY6" fmla="*/ 919718 h 2443473"/>
                <a:gd name="connsiteX7" fmla="*/ 3497470 w 3576579"/>
                <a:gd name="connsiteY7" fmla="*/ 998909 h 2443473"/>
                <a:gd name="connsiteX8" fmla="*/ 2450801 w 3576579"/>
                <a:gd name="connsiteY8" fmla="*/ 2359259 h 2443473"/>
                <a:gd name="connsiteX9" fmla="*/ 2252955 w 3576579"/>
                <a:gd name="connsiteY9" fmla="*/ 2443473 h 2443473"/>
                <a:gd name="connsiteX10" fmla="*/ 300022 w 3576579"/>
                <a:gd name="connsiteY10" fmla="*/ 2436994 h 2443473"/>
                <a:gd name="connsiteX11" fmla="*/ 159615 w 3576579"/>
                <a:gd name="connsiteY11" fmla="*/ 2346303 h 2443473"/>
                <a:gd name="connsiteX12" fmla="*/ 6444 w 3576579"/>
                <a:gd name="connsiteY12" fmla="*/ 1005386 h 2443473"/>
                <a:gd name="connsiteX13" fmla="*/ 0 w 3576579"/>
                <a:gd name="connsiteY13" fmla="*/ 929243 h 2443473"/>
                <a:gd name="connsiteX0" fmla="*/ 0 w 3497470"/>
                <a:gd name="connsiteY0" fmla="*/ 929243 h 2443473"/>
                <a:gd name="connsiteX1" fmla="*/ 70265 w 3497470"/>
                <a:gd name="connsiteY1" fmla="*/ 888785 h 2443473"/>
                <a:gd name="connsiteX2" fmla="*/ 2035962 w 3497470"/>
                <a:gd name="connsiteY2" fmla="*/ 27229 h 2443473"/>
                <a:gd name="connsiteX3" fmla="*/ 2100233 w 3497470"/>
                <a:gd name="connsiteY3" fmla="*/ 0 h 2443473"/>
                <a:gd name="connsiteX4" fmla="*/ 2176369 w 3497470"/>
                <a:gd name="connsiteY4" fmla="*/ 33707 h 2443473"/>
                <a:gd name="connsiteX5" fmla="*/ 3484706 w 3497470"/>
                <a:gd name="connsiteY5" fmla="*/ 836963 h 2443473"/>
                <a:gd name="connsiteX6" fmla="*/ 3497470 w 3497470"/>
                <a:gd name="connsiteY6" fmla="*/ 998909 h 2443473"/>
                <a:gd name="connsiteX7" fmla="*/ 2450801 w 3497470"/>
                <a:gd name="connsiteY7" fmla="*/ 2359259 h 2443473"/>
                <a:gd name="connsiteX8" fmla="*/ 2252955 w 3497470"/>
                <a:gd name="connsiteY8" fmla="*/ 2443473 h 2443473"/>
                <a:gd name="connsiteX9" fmla="*/ 300022 w 3497470"/>
                <a:gd name="connsiteY9" fmla="*/ 2436994 h 2443473"/>
                <a:gd name="connsiteX10" fmla="*/ 159615 w 3497470"/>
                <a:gd name="connsiteY10" fmla="*/ 2346303 h 2443473"/>
                <a:gd name="connsiteX11" fmla="*/ 6444 w 3497470"/>
                <a:gd name="connsiteY11" fmla="*/ 1005386 h 2443473"/>
                <a:gd name="connsiteX12" fmla="*/ 0 w 3497470"/>
                <a:gd name="connsiteY12" fmla="*/ 929243 h 2443473"/>
                <a:gd name="connsiteX0" fmla="*/ 0 w 3520362"/>
                <a:gd name="connsiteY0" fmla="*/ 929243 h 2443473"/>
                <a:gd name="connsiteX1" fmla="*/ 70265 w 3520362"/>
                <a:gd name="connsiteY1" fmla="*/ 888785 h 2443473"/>
                <a:gd name="connsiteX2" fmla="*/ 2035962 w 3520362"/>
                <a:gd name="connsiteY2" fmla="*/ 27229 h 2443473"/>
                <a:gd name="connsiteX3" fmla="*/ 2100233 w 3520362"/>
                <a:gd name="connsiteY3" fmla="*/ 0 h 2443473"/>
                <a:gd name="connsiteX4" fmla="*/ 2176369 w 3520362"/>
                <a:gd name="connsiteY4" fmla="*/ 33707 h 2443473"/>
                <a:gd name="connsiteX5" fmla="*/ 3484706 w 3520362"/>
                <a:gd name="connsiteY5" fmla="*/ 836963 h 2443473"/>
                <a:gd name="connsiteX6" fmla="*/ 3497470 w 3520362"/>
                <a:gd name="connsiteY6" fmla="*/ 998909 h 2443473"/>
                <a:gd name="connsiteX7" fmla="*/ 2450801 w 3520362"/>
                <a:gd name="connsiteY7" fmla="*/ 2359259 h 2443473"/>
                <a:gd name="connsiteX8" fmla="*/ 2252955 w 3520362"/>
                <a:gd name="connsiteY8" fmla="*/ 2443473 h 2443473"/>
                <a:gd name="connsiteX9" fmla="*/ 300022 w 3520362"/>
                <a:gd name="connsiteY9" fmla="*/ 2436994 h 2443473"/>
                <a:gd name="connsiteX10" fmla="*/ 159615 w 3520362"/>
                <a:gd name="connsiteY10" fmla="*/ 2346303 h 2443473"/>
                <a:gd name="connsiteX11" fmla="*/ 6444 w 3520362"/>
                <a:gd name="connsiteY11" fmla="*/ 1005386 h 2443473"/>
                <a:gd name="connsiteX12" fmla="*/ 0 w 3520362"/>
                <a:gd name="connsiteY12" fmla="*/ 929243 h 2443473"/>
                <a:gd name="connsiteX0" fmla="*/ 0 w 3531962"/>
                <a:gd name="connsiteY0" fmla="*/ 929243 h 2443473"/>
                <a:gd name="connsiteX1" fmla="*/ 70265 w 3531962"/>
                <a:gd name="connsiteY1" fmla="*/ 888785 h 2443473"/>
                <a:gd name="connsiteX2" fmla="*/ 2035962 w 3531962"/>
                <a:gd name="connsiteY2" fmla="*/ 27229 h 2443473"/>
                <a:gd name="connsiteX3" fmla="*/ 2100233 w 3531962"/>
                <a:gd name="connsiteY3" fmla="*/ 0 h 2443473"/>
                <a:gd name="connsiteX4" fmla="*/ 2176369 w 3531962"/>
                <a:gd name="connsiteY4" fmla="*/ 33707 h 2443473"/>
                <a:gd name="connsiteX5" fmla="*/ 3484706 w 3531962"/>
                <a:gd name="connsiteY5" fmla="*/ 836963 h 2443473"/>
                <a:gd name="connsiteX6" fmla="*/ 3497470 w 3531962"/>
                <a:gd name="connsiteY6" fmla="*/ 998909 h 2443473"/>
                <a:gd name="connsiteX7" fmla="*/ 2450801 w 3531962"/>
                <a:gd name="connsiteY7" fmla="*/ 2359259 h 2443473"/>
                <a:gd name="connsiteX8" fmla="*/ 2252955 w 3531962"/>
                <a:gd name="connsiteY8" fmla="*/ 2443473 h 2443473"/>
                <a:gd name="connsiteX9" fmla="*/ 300022 w 3531962"/>
                <a:gd name="connsiteY9" fmla="*/ 2436994 h 2443473"/>
                <a:gd name="connsiteX10" fmla="*/ 159615 w 3531962"/>
                <a:gd name="connsiteY10" fmla="*/ 2346303 h 2443473"/>
                <a:gd name="connsiteX11" fmla="*/ 6444 w 3531962"/>
                <a:gd name="connsiteY11" fmla="*/ 1005386 h 2443473"/>
                <a:gd name="connsiteX12" fmla="*/ 0 w 3531962"/>
                <a:gd name="connsiteY12" fmla="*/ 929243 h 2443473"/>
                <a:gd name="connsiteX0" fmla="*/ 0 w 3529781"/>
                <a:gd name="connsiteY0" fmla="*/ 929243 h 2443473"/>
                <a:gd name="connsiteX1" fmla="*/ 70265 w 3529781"/>
                <a:gd name="connsiteY1" fmla="*/ 888785 h 2443473"/>
                <a:gd name="connsiteX2" fmla="*/ 2035962 w 3529781"/>
                <a:gd name="connsiteY2" fmla="*/ 27229 h 2443473"/>
                <a:gd name="connsiteX3" fmla="*/ 2100233 w 3529781"/>
                <a:gd name="connsiteY3" fmla="*/ 0 h 2443473"/>
                <a:gd name="connsiteX4" fmla="*/ 2176369 w 3529781"/>
                <a:gd name="connsiteY4" fmla="*/ 33707 h 2443473"/>
                <a:gd name="connsiteX5" fmla="*/ 3484706 w 3529781"/>
                <a:gd name="connsiteY5" fmla="*/ 836963 h 2443473"/>
                <a:gd name="connsiteX6" fmla="*/ 3497470 w 3529781"/>
                <a:gd name="connsiteY6" fmla="*/ 998909 h 2443473"/>
                <a:gd name="connsiteX7" fmla="*/ 2450801 w 3529781"/>
                <a:gd name="connsiteY7" fmla="*/ 2359259 h 2443473"/>
                <a:gd name="connsiteX8" fmla="*/ 2252955 w 3529781"/>
                <a:gd name="connsiteY8" fmla="*/ 2443473 h 2443473"/>
                <a:gd name="connsiteX9" fmla="*/ 300022 w 3529781"/>
                <a:gd name="connsiteY9" fmla="*/ 2436994 h 2443473"/>
                <a:gd name="connsiteX10" fmla="*/ 159615 w 3529781"/>
                <a:gd name="connsiteY10" fmla="*/ 2346303 h 2443473"/>
                <a:gd name="connsiteX11" fmla="*/ 6444 w 3529781"/>
                <a:gd name="connsiteY11" fmla="*/ 1005386 h 2443473"/>
                <a:gd name="connsiteX12" fmla="*/ 0 w 3529781"/>
                <a:gd name="connsiteY12" fmla="*/ 929243 h 2443473"/>
                <a:gd name="connsiteX0" fmla="*/ 0 w 3529781"/>
                <a:gd name="connsiteY0" fmla="*/ 929243 h 2443473"/>
                <a:gd name="connsiteX1" fmla="*/ 70265 w 3529781"/>
                <a:gd name="connsiteY1" fmla="*/ 888785 h 2443473"/>
                <a:gd name="connsiteX2" fmla="*/ 2035962 w 3529781"/>
                <a:gd name="connsiteY2" fmla="*/ 27229 h 2443473"/>
                <a:gd name="connsiteX3" fmla="*/ 2100233 w 3529781"/>
                <a:gd name="connsiteY3" fmla="*/ 0 h 2443473"/>
                <a:gd name="connsiteX4" fmla="*/ 2176369 w 3529781"/>
                <a:gd name="connsiteY4" fmla="*/ 33707 h 2443473"/>
                <a:gd name="connsiteX5" fmla="*/ 3484706 w 3529781"/>
                <a:gd name="connsiteY5" fmla="*/ 836963 h 2443473"/>
                <a:gd name="connsiteX6" fmla="*/ 3497470 w 3529781"/>
                <a:gd name="connsiteY6" fmla="*/ 998909 h 2443473"/>
                <a:gd name="connsiteX7" fmla="*/ 2450801 w 3529781"/>
                <a:gd name="connsiteY7" fmla="*/ 2359259 h 2443473"/>
                <a:gd name="connsiteX8" fmla="*/ 2252955 w 3529781"/>
                <a:gd name="connsiteY8" fmla="*/ 2443473 h 2443473"/>
                <a:gd name="connsiteX9" fmla="*/ 300022 w 3529781"/>
                <a:gd name="connsiteY9" fmla="*/ 2436994 h 2443473"/>
                <a:gd name="connsiteX10" fmla="*/ 159615 w 3529781"/>
                <a:gd name="connsiteY10" fmla="*/ 2346303 h 2443473"/>
                <a:gd name="connsiteX11" fmla="*/ 6444 w 3529781"/>
                <a:gd name="connsiteY11" fmla="*/ 1005386 h 2443473"/>
                <a:gd name="connsiteX12" fmla="*/ 0 w 3529781"/>
                <a:gd name="connsiteY12" fmla="*/ 929243 h 2443473"/>
                <a:gd name="connsiteX0" fmla="*/ 0 w 3529781"/>
                <a:gd name="connsiteY0" fmla="*/ 902014 h 2416244"/>
                <a:gd name="connsiteX1" fmla="*/ 70265 w 3529781"/>
                <a:gd name="connsiteY1" fmla="*/ 861556 h 2416244"/>
                <a:gd name="connsiteX2" fmla="*/ 2035962 w 3529781"/>
                <a:gd name="connsiteY2" fmla="*/ 0 h 2416244"/>
                <a:gd name="connsiteX3" fmla="*/ 2176369 w 3529781"/>
                <a:gd name="connsiteY3" fmla="*/ 6478 h 2416244"/>
                <a:gd name="connsiteX4" fmla="*/ 3484706 w 3529781"/>
                <a:gd name="connsiteY4" fmla="*/ 809734 h 2416244"/>
                <a:gd name="connsiteX5" fmla="*/ 3497470 w 3529781"/>
                <a:gd name="connsiteY5" fmla="*/ 971680 h 2416244"/>
                <a:gd name="connsiteX6" fmla="*/ 2450801 w 3529781"/>
                <a:gd name="connsiteY6" fmla="*/ 2332030 h 2416244"/>
                <a:gd name="connsiteX7" fmla="*/ 2252955 w 3529781"/>
                <a:gd name="connsiteY7" fmla="*/ 2416244 h 2416244"/>
                <a:gd name="connsiteX8" fmla="*/ 300022 w 3529781"/>
                <a:gd name="connsiteY8" fmla="*/ 2409765 h 2416244"/>
                <a:gd name="connsiteX9" fmla="*/ 159615 w 3529781"/>
                <a:gd name="connsiteY9" fmla="*/ 2319074 h 2416244"/>
                <a:gd name="connsiteX10" fmla="*/ 6444 w 3529781"/>
                <a:gd name="connsiteY10" fmla="*/ 978157 h 2416244"/>
                <a:gd name="connsiteX11" fmla="*/ 0 w 3529781"/>
                <a:gd name="connsiteY11" fmla="*/ 902014 h 2416244"/>
                <a:gd name="connsiteX0" fmla="*/ 0 w 3529781"/>
                <a:gd name="connsiteY0" fmla="*/ 912202 h 2426432"/>
                <a:gd name="connsiteX1" fmla="*/ 70265 w 3529781"/>
                <a:gd name="connsiteY1" fmla="*/ 871744 h 2426432"/>
                <a:gd name="connsiteX2" fmla="*/ 2035962 w 3529781"/>
                <a:gd name="connsiteY2" fmla="*/ 10188 h 2426432"/>
                <a:gd name="connsiteX3" fmla="*/ 2176369 w 3529781"/>
                <a:gd name="connsiteY3" fmla="*/ 16666 h 2426432"/>
                <a:gd name="connsiteX4" fmla="*/ 3484706 w 3529781"/>
                <a:gd name="connsiteY4" fmla="*/ 819922 h 2426432"/>
                <a:gd name="connsiteX5" fmla="*/ 3497470 w 3529781"/>
                <a:gd name="connsiteY5" fmla="*/ 981868 h 2426432"/>
                <a:gd name="connsiteX6" fmla="*/ 2450801 w 3529781"/>
                <a:gd name="connsiteY6" fmla="*/ 2342218 h 2426432"/>
                <a:gd name="connsiteX7" fmla="*/ 2252955 w 3529781"/>
                <a:gd name="connsiteY7" fmla="*/ 2426432 h 2426432"/>
                <a:gd name="connsiteX8" fmla="*/ 300022 w 3529781"/>
                <a:gd name="connsiteY8" fmla="*/ 2419953 h 2426432"/>
                <a:gd name="connsiteX9" fmla="*/ 159615 w 3529781"/>
                <a:gd name="connsiteY9" fmla="*/ 2329262 h 2426432"/>
                <a:gd name="connsiteX10" fmla="*/ 6444 w 3529781"/>
                <a:gd name="connsiteY10" fmla="*/ 988345 h 2426432"/>
                <a:gd name="connsiteX11" fmla="*/ 0 w 3529781"/>
                <a:gd name="connsiteY11" fmla="*/ 912202 h 2426432"/>
                <a:gd name="connsiteX0" fmla="*/ 0 w 3529781"/>
                <a:gd name="connsiteY0" fmla="*/ 920646 h 2434876"/>
                <a:gd name="connsiteX1" fmla="*/ 70265 w 3529781"/>
                <a:gd name="connsiteY1" fmla="*/ 880188 h 2434876"/>
                <a:gd name="connsiteX2" fmla="*/ 2035962 w 3529781"/>
                <a:gd name="connsiteY2" fmla="*/ 18632 h 2434876"/>
                <a:gd name="connsiteX3" fmla="*/ 2176369 w 3529781"/>
                <a:gd name="connsiteY3" fmla="*/ 25110 h 2434876"/>
                <a:gd name="connsiteX4" fmla="*/ 3484706 w 3529781"/>
                <a:gd name="connsiteY4" fmla="*/ 828366 h 2434876"/>
                <a:gd name="connsiteX5" fmla="*/ 3497470 w 3529781"/>
                <a:gd name="connsiteY5" fmla="*/ 990312 h 2434876"/>
                <a:gd name="connsiteX6" fmla="*/ 2450801 w 3529781"/>
                <a:gd name="connsiteY6" fmla="*/ 2350662 h 2434876"/>
                <a:gd name="connsiteX7" fmla="*/ 2252955 w 3529781"/>
                <a:gd name="connsiteY7" fmla="*/ 2434876 h 2434876"/>
                <a:gd name="connsiteX8" fmla="*/ 300022 w 3529781"/>
                <a:gd name="connsiteY8" fmla="*/ 2428397 h 2434876"/>
                <a:gd name="connsiteX9" fmla="*/ 159615 w 3529781"/>
                <a:gd name="connsiteY9" fmla="*/ 2337706 h 2434876"/>
                <a:gd name="connsiteX10" fmla="*/ 6444 w 3529781"/>
                <a:gd name="connsiteY10" fmla="*/ 996789 h 2434876"/>
                <a:gd name="connsiteX11" fmla="*/ 0 w 3529781"/>
                <a:gd name="connsiteY11" fmla="*/ 920646 h 2434876"/>
                <a:gd name="connsiteX0" fmla="*/ 0 w 3529781"/>
                <a:gd name="connsiteY0" fmla="*/ 912903 h 2427133"/>
                <a:gd name="connsiteX1" fmla="*/ 70265 w 3529781"/>
                <a:gd name="connsiteY1" fmla="*/ 872445 h 2427133"/>
                <a:gd name="connsiteX2" fmla="*/ 2010433 w 3529781"/>
                <a:gd name="connsiteY2" fmla="*/ 30323 h 2427133"/>
                <a:gd name="connsiteX3" fmla="*/ 2176369 w 3529781"/>
                <a:gd name="connsiteY3" fmla="*/ 17367 h 2427133"/>
                <a:gd name="connsiteX4" fmla="*/ 3484706 w 3529781"/>
                <a:gd name="connsiteY4" fmla="*/ 820623 h 2427133"/>
                <a:gd name="connsiteX5" fmla="*/ 3497470 w 3529781"/>
                <a:gd name="connsiteY5" fmla="*/ 982569 h 2427133"/>
                <a:gd name="connsiteX6" fmla="*/ 2450801 w 3529781"/>
                <a:gd name="connsiteY6" fmla="*/ 2342919 h 2427133"/>
                <a:gd name="connsiteX7" fmla="*/ 2252955 w 3529781"/>
                <a:gd name="connsiteY7" fmla="*/ 2427133 h 2427133"/>
                <a:gd name="connsiteX8" fmla="*/ 300022 w 3529781"/>
                <a:gd name="connsiteY8" fmla="*/ 2420654 h 2427133"/>
                <a:gd name="connsiteX9" fmla="*/ 159615 w 3529781"/>
                <a:gd name="connsiteY9" fmla="*/ 2329963 h 2427133"/>
                <a:gd name="connsiteX10" fmla="*/ 6444 w 3529781"/>
                <a:gd name="connsiteY10" fmla="*/ 989046 h 2427133"/>
                <a:gd name="connsiteX11" fmla="*/ 0 w 3529781"/>
                <a:gd name="connsiteY11" fmla="*/ 912903 h 2427133"/>
                <a:gd name="connsiteX0" fmla="*/ 0 w 3523337"/>
                <a:gd name="connsiteY0" fmla="*/ 989046 h 2427133"/>
                <a:gd name="connsiteX1" fmla="*/ 63821 w 3523337"/>
                <a:gd name="connsiteY1" fmla="*/ 872445 h 2427133"/>
                <a:gd name="connsiteX2" fmla="*/ 2003989 w 3523337"/>
                <a:gd name="connsiteY2" fmla="*/ 30323 h 2427133"/>
                <a:gd name="connsiteX3" fmla="*/ 2169925 w 3523337"/>
                <a:gd name="connsiteY3" fmla="*/ 17367 h 2427133"/>
                <a:gd name="connsiteX4" fmla="*/ 3478262 w 3523337"/>
                <a:gd name="connsiteY4" fmla="*/ 820623 h 2427133"/>
                <a:gd name="connsiteX5" fmla="*/ 3491026 w 3523337"/>
                <a:gd name="connsiteY5" fmla="*/ 982569 h 2427133"/>
                <a:gd name="connsiteX6" fmla="*/ 2444357 w 3523337"/>
                <a:gd name="connsiteY6" fmla="*/ 2342919 h 2427133"/>
                <a:gd name="connsiteX7" fmla="*/ 2246511 w 3523337"/>
                <a:gd name="connsiteY7" fmla="*/ 2427133 h 2427133"/>
                <a:gd name="connsiteX8" fmla="*/ 293578 w 3523337"/>
                <a:gd name="connsiteY8" fmla="*/ 2420654 h 2427133"/>
                <a:gd name="connsiteX9" fmla="*/ 153171 w 3523337"/>
                <a:gd name="connsiteY9" fmla="*/ 2329963 h 2427133"/>
                <a:gd name="connsiteX10" fmla="*/ 0 w 3523337"/>
                <a:gd name="connsiteY10" fmla="*/ 989046 h 2427133"/>
                <a:gd name="connsiteX0" fmla="*/ 0 w 3523337"/>
                <a:gd name="connsiteY0" fmla="*/ 989046 h 2427133"/>
                <a:gd name="connsiteX1" fmla="*/ 63821 w 3523337"/>
                <a:gd name="connsiteY1" fmla="*/ 872445 h 2427133"/>
                <a:gd name="connsiteX2" fmla="*/ 2003989 w 3523337"/>
                <a:gd name="connsiteY2" fmla="*/ 30323 h 2427133"/>
                <a:gd name="connsiteX3" fmla="*/ 2169925 w 3523337"/>
                <a:gd name="connsiteY3" fmla="*/ 17367 h 2427133"/>
                <a:gd name="connsiteX4" fmla="*/ 3478262 w 3523337"/>
                <a:gd name="connsiteY4" fmla="*/ 820623 h 2427133"/>
                <a:gd name="connsiteX5" fmla="*/ 3491026 w 3523337"/>
                <a:gd name="connsiteY5" fmla="*/ 982569 h 2427133"/>
                <a:gd name="connsiteX6" fmla="*/ 2444357 w 3523337"/>
                <a:gd name="connsiteY6" fmla="*/ 2342919 h 2427133"/>
                <a:gd name="connsiteX7" fmla="*/ 2246511 w 3523337"/>
                <a:gd name="connsiteY7" fmla="*/ 2427133 h 2427133"/>
                <a:gd name="connsiteX8" fmla="*/ 293578 w 3523337"/>
                <a:gd name="connsiteY8" fmla="*/ 2420654 h 2427133"/>
                <a:gd name="connsiteX9" fmla="*/ 153171 w 3523337"/>
                <a:gd name="connsiteY9" fmla="*/ 2329963 h 2427133"/>
                <a:gd name="connsiteX10" fmla="*/ 0 w 3523337"/>
                <a:gd name="connsiteY10" fmla="*/ 989046 h 2427133"/>
                <a:gd name="connsiteX0" fmla="*/ 8599 w 3531936"/>
                <a:gd name="connsiteY0" fmla="*/ 989046 h 2427133"/>
                <a:gd name="connsiteX1" fmla="*/ 72420 w 3531936"/>
                <a:gd name="connsiteY1" fmla="*/ 872445 h 2427133"/>
                <a:gd name="connsiteX2" fmla="*/ 2012588 w 3531936"/>
                <a:gd name="connsiteY2" fmla="*/ 30323 h 2427133"/>
                <a:gd name="connsiteX3" fmla="*/ 2178524 w 3531936"/>
                <a:gd name="connsiteY3" fmla="*/ 17367 h 2427133"/>
                <a:gd name="connsiteX4" fmla="*/ 3486861 w 3531936"/>
                <a:gd name="connsiteY4" fmla="*/ 820623 h 2427133"/>
                <a:gd name="connsiteX5" fmla="*/ 3499625 w 3531936"/>
                <a:gd name="connsiteY5" fmla="*/ 982569 h 2427133"/>
                <a:gd name="connsiteX6" fmla="*/ 2452956 w 3531936"/>
                <a:gd name="connsiteY6" fmla="*/ 2342919 h 2427133"/>
                <a:gd name="connsiteX7" fmla="*/ 2255110 w 3531936"/>
                <a:gd name="connsiteY7" fmla="*/ 2427133 h 2427133"/>
                <a:gd name="connsiteX8" fmla="*/ 302177 w 3531936"/>
                <a:gd name="connsiteY8" fmla="*/ 2420654 h 2427133"/>
                <a:gd name="connsiteX9" fmla="*/ 161770 w 3531936"/>
                <a:gd name="connsiteY9" fmla="*/ 2329963 h 2427133"/>
                <a:gd name="connsiteX10" fmla="*/ 8599 w 3531936"/>
                <a:gd name="connsiteY10" fmla="*/ 989046 h 2427133"/>
                <a:gd name="connsiteX0" fmla="*/ 0 w 3523337"/>
                <a:gd name="connsiteY0" fmla="*/ 989046 h 2427133"/>
                <a:gd name="connsiteX1" fmla="*/ 63821 w 3523337"/>
                <a:gd name="connsiteY1" fmla="*/ 872445 h 2427133"/>
                <a:gd name="connsiteX2" fmla="*/ 2003989 w 3523337"/>
                <a:gd name="connsiteY2" fmla="*/ 30323 h 2427133"/>
                <a:gd name="connsiteX3" fmla="*/ 2169925 w 3523337"/>
                <a:gd name="connsiteY3" fmla="*/ 17367 h 2427133"/>
                <a:gd name="connsiteX4" fmla="*/ 3478262 w 3523337"/>
                <a:gd name="connsiteY4" fmla="*/ 820623 h 2427133"/>
                <a:gd name="connsiteX5" fmla="*/ 3491026 w 3523337"/>
                <a:gd name="connsiteY5" fmla="*/ 982569 h 2427133"/>
                <a:gd name="connsiteX6" fmla="*/ 2444357 w 3523337"/>
                <a:gd name="connsiteY6" fmla="*/ 2342919 h 2427133"/>
                <a:gd name="connsiteX7" fmla="*/ 2246511 w 3523337"/>
                <a:gd name="connsiteY7" fmla="*/ 2427133 h 2427133"/>
                <a:gd name="connsiteX8" fmla="*/ 293578 w 3523337"/>
                <a:gd name="connsiteY8" fmla="*/ 2420654 h 2427133"/>
                <a:gd name="connsiteX9" fmla="*/ 153171 w 3523337"/>
                <a:gd name="connsiteY9" fmla="*/ 2329963 h 2427133"/>
                <a:gd name="connsiteX10" fmla="*/ 0 w 3523337"/>
                <a:gd name="connsiteY10" fmla="*/ 989046 h 2427133"/>
                <a:gd name="connsiteX0" fmla="*/ 0 w 3523337"/>
                <a:gd name="connsiteY0" fmla="*/ 1027913 h 2427133"/>
                <a:gd name="connsiteX1" fmla="*/ 63821 w 3523337"/>
                <a:gd name="connsiteY1" fmla="*/ 872445 h 2427133"/>
                <a:gd name="connsiteX2" fmla="*/ 2003989 w 3523337"/>
                <a:gd name="connsiteY2" fmla="*/ 30323 h 2427133"/>
                <a:gd name="connsiteX3" fmla="*/ 2169925 w 3523337"/>
                <a:gd name="connsiteY3" fmla="*/ 17367 h 2427133"/>
                <a:gd name="connsiteX4" fmla="*/ 3478262 w 3523337"/>
                <a:gd name="connsiteY4" fmla="*/ 820623 h 2427133"/>
                <a:gd name="connsiteX5" fmla="*/ 3491026 w 3523337"/>
                <a:gd name="connsiteY5" fmla="*/ 982569 h 2427133"/>
                <a:gd name="connsiteX6" fmla="*/ 2444357 w 3523337"/>
                <a:gd name="connsiteY6" fmla="*/ 2342919 h 2427133"/>
                <a:gd name="connsiteX7" fmla="*/ 2246511 w 3523337"/>
                <a:gd name="connsiteY7" fmla="*/ 2427133 h 2427133"/>
                <a:gd name="connsiteX8" fmla="*/ 293578 w 3523337"/>
                <a:gd name="connsiteY8" fmla="*/ 2420654 h 2427133"/>
                <a:gd name="connsiteX9" fmla="*/ 153171 w 3523337"/>
                <a:gd name="connsiteY9" fmla="*/ 2329963 h 2427133"/>
                <a:gd name="connsiteX10" fmla="*/ 0 w 3523337"/>
                <a:gd name="connsiteY10" fmla="*/ 1027913 h 2427133"/>
                <a:gd name="connsiteX0" fmla="*/ 5782 w 3529119"/>
                <a:gd name="connsiteY0" fmla="*/ 1027913 h 2427133"/>
                <a:gd name="connsiteX1" fmla="*/ 69603 w 3529119"/>
                <a:gd name="connsiteY1" fmla="*/ 872445 h 2427133"/>
                <a:gd name="connsiteX2" fmla="*/ 2009771 w 3529119"/>
                <a:gd name="connsiteY2" fmla="*/ 30323 h 2427133"/>
                <a:gd name="connsiteX3" fmla="*/ 2175707 w 3529119"/>
                <a:gd name="connsiteY3" fmla="*/ 17367 h 2427133"/>
                <a:gd name="connsiteX4" fmla="*/ 3484044 w 3529119"/>
                <a:gd name="connsiteY4" fmla="*/ 820623 h 2427133"/>
                <a:gd name="connsiteX5" fmla="*/ 3496808 w 3529119"/>
                <a:gd name="connsiteY5" fmla="*/ 982569 h 2427133"/>
                <a:gd name="connsiteX6" fmla="*/ 2450139 w 3529119"/>
                <a:gd name="connsiteY6" fmla="*/ 2342919 h 2427133"/>
                <a:gd name="connsiteX7" fmla="*/ 2252293 w 3529119"/>
                <a:gd name="connsiteY7" fmla="*/ 2427133 h 2427133"/>
                <a:gd name="connsiteX8" fmla="*/ 299360 w 3529119"/>
                <a:gd name="connsiteY8" fmla="*/ 2420654 h 2427133"/>
                <a:gd name="connsiteX9" fmla="*/ 158953 w 3529119"/>
                <a:gd name="connsiteY9" fmla="*/ 2329963 h 2427133"/>
                <a:gd name="connsiteX10" fmla="*/ 5782 w 3529119"/>
                <a:gd name="connsiteY10" fmla="*/ 1027913 h 2427133"/>
                <a:gd name="connsiteX0" fmla="*/ 2978 w 3526315"/>
                <a:gd name="connsiteY0" fmla="*/ 1027913 h 2427133"/>
                <a:gd name="connsiteX1" fmla="*/ 66799 w 3526315"/>
                <a:gd name="connsiteY1" fmla="*/ 872445 h 2427133"/>
                <a:gd name="connsiteX2" fmla="*/ 2006967 w 3526315"/>
                <a:gd name="connsiteY2" fmla="*/ 30323 h 2427133"/>
                <a:gd name="connsiteX3" fmla="*/ 2172903 w 3526315"/>
                <a:gd name="connsiteY3" fmla="*/ 17367 h 2427133"/>
                <a:gd name="connsiteX4" fmla="*/ 3481240 w 3526315"/>
                <a:gd name="connsiteY4" fmla="*/ 820623 h 2427133"/>
                <a:gd name="connsiteX5" fmla="*/ 3494004 w 3526315"/>
                <a:gd name="connsiteY5" fmla="*/ 982569 h 2427133"/>
                <a:gd name="connsiteX6" fmla="*/ 2447335 w 3526315"/>
                <a:gd name="connsiteY6" fmla="*/ 2342919 h 2427133"/>
                <a:gd name="connsiteX7" fmla="*/ 2249489 w 3526315"/>
                <a:gd name="connsiteY7" fmla="*/ 2427133 h 2427133"/>
                <a:gd name="connsiteX8" fmla="*/ 296556 w 3526315"/>
                <a:gd name="connsiteY8" fmla="*/ 2420654 h 2427133"/>
                <a:gd name="connsiteX9" fmla="*/ 156149 w 3526315"/>
                <a:gd name="connsiteY9" fmla="*/ 2329963 h 2427133"/>
                <a:gd name="connsiteX10" fmla="*/ 2978 w 3526315"/>
                <a:gd name="connsiteY10" fmla="*/ 1027913 h 242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26315" h="2427133">
                  <a:moveTo>
                    <a:pt x="2978" y="1027913"/>
                  </a:moveTo>
                  <a:cubicBezTo>
                    <a:pt x="-1276" y="969613"/>
                    <a:pt x="-11914" y="917789"/>
                    <a:pt x="66799" y="872445"/>
                  </a:cubicBezTo>
                  <a:lnTo>
                    <a:pt x="2006967" y="30323"/>
                  </a:lnTo>
                  <a:cubicBezTo>
                    <a:pt x="2053769" y="6569"/>
                    <a:pt x="2100572" y="-17182"/>
                    <a:pt x="2172903" y="17367"/>
                  </a:cubicBezTo>
                  <a:lnTo>
                    <a:pt x="3481240" y="820623"/>
                  </a:lnTo>
                  <a:cubicBezTo>
                    <a:pt x="3555699" y="881083"/>
                    <a:pt x="3521660" y="948021"/>
                    <a:pt x="3494004" y="982569"/>
                  </a:cubicBezTo>
                  <a:lnTo>
                    <a:pt x="2447335" y="2342919"/>
                  </a:lnTo>
                  <a:cubicBezTo>
                    <a:pt x="2381386" y="2424973"/>
                    <a:pt x="2340967" y="2422814"/>
                    <a:pt x="2249489" y="2427133"/>
                  </a:cubicBezTo>
                  <a:lnTo>
                    <a:pt x="296556" y="2420654"/>
                  </a:lnTo>
                  <a:cubicBezTo>
                    <a:pt x="188060" y="2416335"/>
                    <a:pt x="168913" y="2373149"/>
                    <a:pt x="156149" y="2329963"/>
                  </a:cubicBezTo>
                  <a:lnTo>
                    <a:pt x="2978" y="1027913"/>
                  </a:lnTo>
                  <a:close/>
                </a:path>
              </a:pathLst>
            </a:custGeom>
            <a:noFill/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13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32E3BD8E-E241-46FF-86CD-674E9553150A}"/>
                </a:ext>
              </a:extLst>
            </p:cNvPr>
            <p:cNvSpPr txBox="1"/>
            <p:nvPr/>
          </p:nvSpPr>
          <p:spPr>
            <a:xfrm>
              <a:off x="2661707" y="304279"/>
              <a:ext cx="614969" cy="25436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Блок 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9096193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6593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9500" name="think-cell Slide" r:id="rId6" imgW="802" imgH="802" progId="TCLayout.ActiveDocument.1">
                  <p:embed/>
                </p:oleObj>
              </mc:Choice>
              <mc:Fallback>
                <p:oleObj name="think-cell Slide" r:id="rId6" imgW="802" imgH="80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xmlns="" id="{7371160C-E0F5-4DBC-9881-0D3F3BDC6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ru-RU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 Black" panose="020B0A04020102020204" pitchFamily="34" charset="0"/>
            </a:endParaRPr>
          </a:p>
        </p:txBody>
      </p:sp>
      <p:sp>
        <p:nvSpPr>
          <p:cNvPr id="24" name="Заголовок 3">
            <a:extLst>
              <a:ext uri="{FF2B5EF4-FFF2-40B4-BE49-F238E27FC236}">
                <a16:creationId xmlns:a16="http://schemas.microsoft.com/office/drawing/2014/main" xmlns="" id="{03D3426E-F2A6-4A97-8704-98FDD5691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7" y="219180"/>
            <a:ext cx="11302999" cy="41251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 smtClean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отребности</a:t>
            </a:r>
            <a:endParaRPr lang="ru-RU" sz="2400" b="1" dirty="0"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25" name="Rectangle 94">
            <a:extLst>
              <a:ext uri="{FF2B5EF4-FFF2-40B4-BE49-F238E27FC236}">
                <a16:creationId xmlns:a16="http://schemas.microsoft.com/office/drawing/2014/main" xmlns="" id="{43A09D4D-B200-4EEA-A5CE-0D27FF145BC1}"/>
              </a:ext>
            </a:extLst>
          </p:cNvPr>
          <p:cNvSpPr/>
          <p:nvPr/>
        </p:nvSpPr>
        <p:spPr>
          <a:xfrm>
            <a:off x="197337" y="631690"/>
            <a:ext cx="117973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lang="ru-RU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Когда вы зарабатываете на цифровых продуктах, то вы хотите: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D295B8AD-7089-4D4C-98AC-D90FBE5086F6}"/>
              </a:ext>
            </a:extLst>
          </p:cNvPr>
          <p:cNvSpPr txBox="1"/>
          <p:nvPr/>
        </p:nvSpPr>
        <p:spPr>
          <a:xfrm>
            <a:off x="324336" y="4799134"/>
            <a:ext cx="265408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ривлечение новых клиентов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редотвращение оттока существующих клиентов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5C3CF3EE-8C8F-46CD-8572-1EF6305DD3C8}"/>
              </a:ext>
            </a:extLst>
          </p:cNvPr>
          <p:cNvSpPr txBox="1"/>
          <p:nvPr/>
        </p:nvSpPr>
        <p:spPr>
          <a:xfrm>
            <a:off x="324336" y="3511144"/>
            <a:ext cx="265408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sz="14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Быстро реагировать на изменения рынка и действия конкурентов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47293A05-5966-4251-91A5-123EB1A74834}"/>
              </a:ext>
            </a:extLst>
          </p:cNvPr>
          <p:cNvSpPr txBox="1"/>
          <p:nvPr/>
        </p:nvSpPr>
        <p:spPr>
          <a:xfrm>
            <a:off x="3287416" y="4799134"/>
            <a:ext cx="265408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Запуск новых продуктов и сервисов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овышение LTV существующих продуктов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AA128B0B-B13F-4E86-96D0-1818D79AA3A3}"/>
              </a:ext>
            </a:extLst>
          </p:cNvPr>
          <p:cNvSpPr txBox="1"/>
          <p:nvPr/>
        </p:nvSpPr>
        <p:spPr>
          <a:xfrm>
            <a:off x="3287416" y="3511144"/>
            <a:ext cx="265408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sz="14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Получать новые источники (каналы) дохода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89564FB-77AF-44F5-AC22-53ED4D26E07D}"/>
              </a:ext>
            </a:extLst>
          </p:cNvPr>
          <p:cNvSpPr txBox="1"/>
          <p:nvPr/>
        </p:nvSpPr>
        <p:spPr>
          <a:xfrm>
            <a:off x="9403460" y="4838119"/>
            <a:ext cx="26540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Все продукты, цены и акции в одной системе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B572327F-FD63-4D30-A32B-E42107C3F6A2}"/>
              </a:ext>
            </a:extLst>
          </p:cNvPr>
          <p:cNvSpPr txBox="1"/>
          <p:nvPr/>
        </p:nvSpPr>
        <p:spPr>
          <a:xfrm>
            <a:off x="9403460" y="3550129"/>
            <a:ext cx="265408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sz="14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Управлять продуктами </a:t>
            </a:r>
            <a:r>
              <a:rPr lang="en-US" sz="14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</a:t>
            </a:r>
            <a:r>
              <a:rPr lang="ru-RU" sz="14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и их параметрами из единого мест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F244EFBA-3030-4D98-9158-C7286C12B4D2}"/>
              </a:ext>
            </a:extLst>
          </p:cNvPr>
          <p:cNvSpPr txBox="1"/>
          <p:nvPr/>
        </p:nvSpPr>
        <p:spPr>
          <a:xfrm>
            <a:off x="6285882" y="4838119"/>
            <a:ext cx="26540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Автоматизация ручных процессов </a:t>
            </a: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endParaRPr lang="ru-RU" sz="1200" dirty="0">
              <a:solidFill>
                <a:srgbClr val="000000"/>
              </a:solidFill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171450" lvl="0" indent="-171450">
              <a:buClr>
                <a:srgbClr val="522486"/>
              </a:buClr>
              <a:buFont typeface="Malgun Gothic Semilight" panose="020B0502040204020203" pitchFamily="34" charset="-128"/>
              <a:buChar char="▶"/>
              <a:defRPr/>
            </a:pPr>
            <a:r>
              <a: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Легкая интеграция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FAAD95F2-7DA1-4702-9C04-44CA0AA48DC0}"/>
              </a:ext>
            </a:extLst>
          </p:cNvPr>
          <p:cNvSpPr txBox="1"/>
          <p:nvPr/>
        </p:nvSpPr>
        <p:spPr>
          <a:xfrm>
            <a:off x="6285882" y="3550129"/>
            <a:ext cx="265408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sz="14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Снизить расходы на запуск и изменение продуктов</a:t>
            </a:r>
          </a:p>
        </p:txBody>
      </p:sp>
      <p:cxnSp>
        <p:nvCxnSpPr>
          <p:cNvPr id="19" name="Прямая соединительная линия 118">
            <a:extLst>
              <a:ext uri="{FF2B5EF4-FFF2-40B4-BE49-F238E27FC236}">
                <a16:creationId xmlns:a16="http://schemas.microsoft.com/office/drawing/2014/main" xmlns="" id="{147EFD73-13FB-4153-9BE4-695E33B46337}"/>
              </a:ext>
            </a:extLst>
          </p:cNvPr>
          <p:cNvCxnSpPr>
            <a:cxnSpLocks/>
          </p:cNvCxnSpPr>
          <p:nvPr/>
        </p:nvCxnSpPr>
        <p:spPr>
          <a:xfrm flipV="1">
            <a:off x="6095999" y="1815177"/>
            <a:ext cx="0" cy="4079845"/>
          </a:xfrm>
          <a:prstGeom prst="line">
            <a:avLst/>
          </a:prstGeom>
          <a:noFill/>
          <a:ln w="6350" cap="rnd">
            <a:gradFill flip="none" rotWithShape="1">
              <a:gsLst>
                <a:gs pos="29000">
                  <a:srgbClr val="006192"/>
                </a:gs>
                <a:gs pos="100000">
                  <a:srgbClr val="001721">
                    <a:alpha val="0"/>
                  </a:srgbClr>
                </a:gs>
                <a:gs pos="70000">
                  <a:srgbClr val="7DC4DD"/>
                </a:gs>
                <a:gs pos="0">
                  <a:srgbClr val="001822">
                    <a:alpha val="0"/>
                  </a:srgbClr>
                </a:gs>
              </a:gsLst>
              <a:lin ang="5400000" scaled="1"/>
              <a:tileRect/>
            </a:gradFill>
            <a:head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Прямая соединительная линия 118">
            <a:extLst>
              <a:ext uri="{FF2B5EF4-FFF2-40B4-BE49-F238E27FC236}">
                <a16:creationId xmlns:a16="http://schemas.microsoft.com/office/drawing/2014/main" xmlns="" id="{87A900EE-9B42-4BF7-91A9-2A733FBD0033}"/>
              </a:ext>
            </a:extLst>
          </p:cNvPr>
          <p:cNvCxnSpPr>
            <a:cxnSpLocks/>
          </p:cNvCxnSpPr>
          <p:nvPr/>
        </p:nvCxnSpPr>
        <p:spPr>
          <a:xfrm flipV="1">
            <a:off x="3132919" y="1815177"/>
            <a:ext cx="0" cy="4079845"/>
          </a:xfrm>
          <a:prstGeom prst="line">
            <a:avLst/>
          </a:prstGeom>
          <a:noFill/>
          <a:ln w="6350" cap="rnd">
            <a:gradFill flip="none" rotWithShape="1">
              <a:gsLst>
                <a:gs pos="29000">
                  <a:srgbClr val="006192"/>
                </a:gs>
                <a:gs pos="100000">
                  <a:srgbClr val="001721">
                    <a:alpha val="0"/>
                  </a:srgbClr>
                </a:gs>
                <a:gs pos="70000">
                  <a:srgbClr val="7DC4DD"/>
                </a:gs>
                <a:gs pos="0">
                  <a:srgbClr val="001822">
                    <a:alpha val="0"/>
                  </a:srgbClr>
                </a:gs>
              </a:gsLst>
              <a:lin ang="5400000" scaled="1"/>
              <a:tileRect/>
            </a:gradFill>
            <a:head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Прямая соединительная линия 118">
            <a:extLst>
              <a:ext uri="{FF2B5EF4-FFF2-40B4-BE49-F238E27FC236}">
                <a16:creationId xmlns:a16="http://schemas.microsoft.com/office/drawing/2014/main" xmlns="" id="{9E5FF64B-97E5-4C19-84EC-ECDEFA5FD2BA}"/>
              </a:ext>
            </a:extLst>
          </p:cNvPr>
          <p:cNvCxnSpPr>
            <a:cxnSpLocks/>
          </p:cNvCxnSpPr>
          <p:nvPr/>
        </p:nvCxnSpPr>
        <p:spPr>
          <a:xfrm flipV="1">
            <a:off x="9059079" y="1815177"/>
            <a:ext cx="0" cy="4079845"/>
          </a:xfrm>
          <a:prstGeom prst="line">
            <a:avLst/>
          </a:prstGeom>
          <a:noFill/>
          <a:ln w="6350" cap="rnd">
            <a:gradFill flip="none" rotWithShape="1">
              <a:gsLst>
                <a:gs pos="29000">
                  <a:srgbClr val="006192"/>
                </a:gs>
                <a:gs pos="100000">
                  <a:srgbClr val="001721">
                    <a:alpha val="0"/>
                  </a:srgbClr>
                </a:gs>
                <a:gs pos="70000">
                  <a:srgbClr val="7DC4DD"/>
                </a:gs>
                <a:gs pos="0">
                  <a:srgbClr val="001822">
                    <a:alpha val="0"/>
                  </a:srgbClr>
                </a:gs>
              </a:gsLst>
              <a:lin ang="5400000" scaled="1"/>
              <a:tileRect/>
            </a:gradFill>
            <a:head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EACFB775-441E-445E-8BA3-2B5CCEA3633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6065" y="2111203"/>
            <a:ext cx="850629" cy="850629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87F766C9-DAAB-4D11-9A16-58A507987E7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7527" y="2149894"/>
            <a:ext cx="773554" cy="773554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9527100E-42B4-4A40-B2B3-65C35A32C7BE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5049" y="2149894"/>
            <a:ext cx="850909" cy="850909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xmlns="" id="{0FFA6957-80AA-423A-BC7C-1B6212785F7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7472" y="2149894"/>
            <a:ext cx="850909" cy="850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7463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6382" name="think-cell Slide" r:id="rId6" imgW="802" imgH="802" progId="TCLayout.ActiveDocument.1">
                  <p:embed/>
                </p:oleObj>
              </mc:Choice>
              <mc:Fallback>
                <p:oleObj name="think-cell Slide" r:id="rId6" imgW="802" imgH="80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xmlns="" id="{7371160C-E0F5-4DBC-9881-0D3F3BDC6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 Black" panose="020B0A04020102020204" pitchFamily="34" charset="0"/>
            </a:endParaRPr>
          </a:p>
        </p:txBody>
      </p:sp>
      <p:sp>
        <p:nvSpPr>
          <p:cNvPr id="24" name="Заголовок 3">
            <a:extLst>
              <a:ext uri="{FF2B5EF4-FFF2-40B4-BE49-F238E27FC236}">
                <a16:creationId xmlns:a16="http://schemas.microsoft.com/office/drawing/2014/main" xmlns="" id="{03D3426E-F2A6-4A97-8704-98FDD5691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37" y="219180"/>
            <a:ext cx="11302999" cy="41251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sz="2400" b="1" dirty="0" smtClean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Что представляет собой </a:t>
            </a:r>
            <a:r>
              <a:rPr lang="en-US" sz="2400" b="1" dirty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SBER PRODUCT CATALOG? </a:t>
            </a:r>
            <a:endParaRPr lang="ru-RU" sz="2400" b="1" dirty="0"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25" name="Rectangle 94">
            <a:extLst>
              <a:ext uri="{FF2B5EF4-FFF2-40B4-BE49-F238E27FC236}">
                <a16:creationId xmlns:a16="http://schemas.microsoft.com/office/drawing/2014/main" xmlns="" id="{43A09D4D-B200-4EEA-A5CE-0D27FF145BC1}"/>
              </a:ext>
            </a:extLst>
          </p:cNvPr>
          <p:cNvSpPr/>
          <p:nvPr/>
        </p:nvSpPr>
        <p:spPr>
          <a:xfrm>
            <a:off x="197337" y="631690"/>
            <a:ext cx="117973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3072130" algn="l"/>
              </a:tabLst>
              <a:defRPr/>
            </a:pPr>
            <a:r>
              <a:rPr lang="ru-RU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Облачное решение для управления элементами 4P в одном месте</a:t>
            </a:r>
            <a:r>
              <a:rPr lang="en-US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22486"/>
              </a:solidFill>
              <a:effectLst/>
              <a:uLnTx/>
              <a:uFillTx/>
              <a:latin typeface="Arial Black" panose="020B0A040201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xmlns="" id="{33B174D7-0C31-4ED6-B8AB-1F2402DE30F2}"/>
              </a:ext>
            </a:extLst>
          </p:cNvPr>
          <p:cNvGrpSpPr/>
          <p:nvPr/>
        </p:nvGrpSpPr>
        <p:grpSpPr>
          <a:xfrm>
            <a:off x="324336" y="3943894"/>
            <a:ext cx="11543326" cy="2302966"/>
            <a:chOff x="324336" y="3943894"/>
            <a:chExt cx="11543326" cy="2302966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xmlns="" id="{3BB140FC-4AEB-4F13-9285-23AFCDB2FBBE}"/>
                </a:ext>
              </a:extLst>
            </p:cNvPr>
            <p:cNvSpPr txBox="1"/>
            <p:nvPr/>
          </p:nvSpPr>
          <p:spPr>
            <a:xfrm>
              <a:off x="324336" y="4799134"/>
              <a:ext cx="265408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Характеристики продукта</a:t>
              </a:r>
              <a:r>
                <a:rPr lang="en-US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 </a:t>
              </a: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Состав продукта</a:t>
              </a:r>
              <a:r>
                <a:rPr lang="en-US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 </a:t>
              </a: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Продукты партнеров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xmlns="" id="{36CAE998-AF4D-46F7-BE04-8F784D451519}"/>
                </a:ext>
              </a:extLst>
            </p:cNvPr>
            <p:cNvSpPr txBox="1"/>
            <p:nvPr/>
          </p:nvSpPr>
          <p:spPr>
            <a:xfrm>
              <a:off x="324336" y="4119585"/>
              <a:ext cx="26540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en-US" sz="1400" dirty="0">
                  <a:solidFill>
                    <a:srgbClr val="522486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Product 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xmlns="" id="{7835B5FB-B195-45C6-BA5C-DD451F0C7BCA}"/>
                </a:ext>
              </a:extLst>
            </p:cNvPr>
            <p:cNvSpPr txBox="1"/>
            <p:nvPr/>
          </p:nvSpPr>
          <p:spPr>
            <a:xfrm>
              <a:off x="3287416" y="4799134"/>
              <a:ext cx="2654086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Гибкое ценообразование и тарификация</a:t>
              </a:r>
              <a:r>
                <a:rPr lang="en-US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 </a:t>
              </a: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Цены в Р, $, %, натуральном выражении</a:t>
              </a:r>
              <a:r>
                <a:rPr lang="en-US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 </a:t>
              </a: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Региональные цены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1DC935A7-CB1D-43CE-B5EF-F8008DE79CF4}"/>
                </a:ext>
              </a:extLst>
            </p:cNvPr>
            <p:cNvSpPr txBox="1"/>
            <p:nvPr/>
          </p:nvSpPr>
          <p:spPr>
            <a:xfrm>
              <a:off x="3287416" y="4119585"/>
              <a:ext cx="26540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en-US" sz="1400" dirty="0">
                  <a:solidFill>
                    <a:srgbClr val="522486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Price </a:t>
              </a:r>
              <a:endParaRPr lang="ru-RU" sz="14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xmlns="" id="{C851AD07-0167-4AC2-B933-3430C9312771}"/>
                </a:ext>
              </a:extLst>
            </p:cNvPr>
            <p:cNvSpPr txBox="1"/>
            <p:nvPr/>
          </p:nvSpPr>
          <p:spPr>
            <a:xfrm>
              <a:off x="6250496" y="4799134"/>
              <a:ext cx="2654086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 err="1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Таргетинг</a:t>
              </a: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 на целевую аудиторию</a:t>
              </a:r>
            </a:p>
            <a:p>
              <a:pPr marL="17145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en-US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Up / Down / Cross – Sales</a:t>
              </a: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en-US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en-US" sz="1200" dirty="0" err="1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Акции</a:t>
              </a: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, </a:t>
              </a:r>
              <a:r>
                <a:rPr lang="en-US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Bundles 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DE25B175-66F7-41FC-9373-9B9BDB486027}"/>
                </a:ext>
              </a:extLst>
            </p:cNvPr>
            <p:cNvSpPr txBox="1"/>
            <p:nvPr/>
          </p:nvSpPr>
          <p:spPr>
            <a:xfrm>
              <a:off x="6250496" y="4119585"/>
              <a:ext cx="26540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en-US" sz="1400" dirty="0">
                  <a:solidFill>
                    <a:srgbClr val="522486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Promotion </a:t>
              </a:r>
              <a:endParaRPr lang="ru-RU" sz="14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67D18EF4-849B-4F53-A760-40B6DF138743}"/>
                </a:ext>
              </a:extLst>
            </p:cNvPr>
            <p:cNvSpPr txBox="1"/>
            <p:nvPr/>
          </p:nvSpPr>
          <p:spPr>
            <a:xfrm>
              <a:off x="9213576" y="4799134"/>
              <a:ext cx="265408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Доступ в каналах, </a:t>
              </a:r>
              <a:r>
                <a:rPr lang="ru-RU" sz="1200" dirty="0" err="1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омниканальность</a:t>
              </a:r>
              <a:r>
                <a:rPr lang="en-US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 </a:t>
              </a: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171450" lvl="0" indent="-171450">
                <a:buClr>
                  <a:srgbClr val="522486"/>
                </a:buClr>
                <a:buFont typeface="Malgun Gothic Semilight" panose="020B0502040204020203" pitchFamily="34" charset="-128"/>
                <a:buChar char="▶"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Параметры в каналах</a:t>
              </a:r>
              <a:r>
                <a:rPr lang="en-US" sz="1200" dirty="0">
                  <a:solidFill>
                    <a:srgbClr val="000000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 </a:t>
              </a:r>
              <a:endParaRPr lang="ru-RU" sz="1200" dirty="0">
                <a:solidFill>
                  <a:srgbClr val="000000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xmlns="" id="{F50420F1-AB4E-4284-B59A-521215BF7C78}"/>
                </a:ext>
              </a:extLst>
            </p:cNvPr>
            <p:cNvSpPr txBox="1"/>
            <p:nvPr/>
          </p:nvSpPr>
          <p:spPr>
            <a:xfrm>
              <a:off x="9213576" y="4119585"/>
              <a:ext cx="26540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en-US" sz="1400" dirty="0">
                  <a:solidFill>
                    <a:srgbClr val="522486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Place </a:t>
              </a:r>
              <a:endParaRPr lang="ru-RU" sz="1400" dirty="0">
                <a:solidFill>
                  <a:srgbClr val="522486"/>
                </a:solidFill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</p:txBody>
        </p:sp>
        <p:cxnSp>
          <p:nvCxnSpPr>
            <p:cNvPr id="18" name="Прямая соединительная линия 118">
              <a:extLst>
                <a:ext uri="{FF2B5EF4-FFF2-40B4-BE49-F238E27FC236}">
                  <a16:creationId xmlns:a16="http://schemas.microsoft.com/office/drawing/2014/main" xmlns="" id="{BB30329F-3B44-4A1D-9C4F-DB4DF55C02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95999" y="3943894"/>
              <a:ext cx="0" cy="2302966"/>
            </a:xfrm>
            <a:prstGeom prst="line">
              <a:avLst/>
            </a:prstGeom>
            <a:noFill/>
            <a:ln w="6350" cap="rnd">
              <a:gradFill flip="none" rotWithShape="1">
                <a:gsLst>
                  <a:gs pos="29000">
                    <a:srgbClr val="006192"/>
                  </a:gs>
                  <a:gs pos="100000">
                    <a:srgbClr val="001721">
                      <a:alpha val="0"/>
                    </a:srgbClr>
                  </a:gs>
                  <a:gs pos="70000">
                    <a:srgbClr val="7DC4DD"/>
                  </a:gs>
                  <a:gs pos="0">
                    <a:srgbClr val="001822">
                      <a:alpha val="0"/>
                    </a:srgbClr>
                  </a:gs>
                </a:gsLst>
                <a:lin ang="5400000" scaled="1"/>
                <a:tileRect/>
              </a:gradFill>
              <a:head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" name="Прямая соединительная линия 118">
              <a:extLst>
                <a:ext uri="{FF2B5EF4-FFF2-40B4-BE49-F238E27FC236}">
                  <a16:creationId xmlns:a16="http://schemas.microsoft.com/office/drawing/2014/main" xmlns="" id="{66909FDC-A653-4A74-8F74-5DF447F1FE9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32919" y="3943894"/>
              <a:ext cx="0" cy="2302966"/>
            </a:xfrm>
            <a:prstGeom prst="line">
              <a:avLst/>
            </a:prstGeom>
            <a:noFill/>
            <a:ln w="6350" cap="rnd">
              <a:gradFill flip="none" rotWithShape="1">
                <a:gsLst>
                  <a:gs pos="29000">
                    <a:srgbClr val="006192"/>
                  </a:gs>
                  <a:gs pos="100000">
                    <a:srgbClr val="001721">
                      <a:alpha val="0"/>
                    </a:srgbClr>
                  </a:gs>
                  <a:gs pos="70000">
                    <a:srgbClr val="7DC4DD"/>
                  </a:gs>
                  <a:gs pos="0">
                    <a:srgbClr val="001822">
                      <a:alpha val="0"/>
                    </a:srgbClr>
                  </a:gs>
                </a:gsLst>
                <a:lin ang="5400000" scaled="1"/>
                <a:tileRect/>
              </a:gradFill>
              <a:head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Прямая соединительная линия 118">
              <a:extLst>
                <a:ext uri="{FF2B5EF4-FFF2-40B4-BE49-F238E27FC236}">
                  <a16:creationId xmlns:a16="http://schemas.microsoft.com/office/drawing/2014/main" xmlns="" id="{76E22816-580F-4FB7-9DD9-FCB6790428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059079" y="3943894"/>
              <a:ext cx="0" cy="2302966"/>
            </a:xfrm>
            <a:prstGeom prst="line">
              <a:avLst/>
            </a:prstGeom>
            <a:noFill/>
            <a:ln w="6350" cap="rnd">
              <a:gradFill flip="none" rotWithShape="1">
                <a:gsLst>
                  <a:gs pos="29000">
                    <a:srgbClr val="006192"/>
                  </a:gs>
                  <a:gs pos="100000">
                    <a:srgbClr val="001721">
                      <a:alpha val="0"/>
                    </a:srgbClr>
                  </a:gs>
                  <a:gs pos="70000">
                    <a:srgbClr val="7DC4DD"/>
                  </a:gs>
                  <a:gs pos="0">
                    <a:srgbClr val="001822">
                      <a:alpha val="0"/>
                    </a:srgbClr>
                  </a:gs>
                </a:gsLst>
                <a:lin ang="5400000" scaled="1"/>
                <a:tileRect/>
              </a:gradFill>
              <a:head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A2405BC1-8DC6-48F8-9C23-10BE7AF1044F}"/>
              </a:ext>
            </a:extLst>
          </p:cNvPr>
          <p:cNvGrpSpPr/>
          <p:nvPr/>
        </p:nvGrpSpPr>
        <p:grpSpPr>
          <a:xfrm>
            <a:off x="985436" y="1626072"/>
            <a:ext cx="10221127" cy="1692771"/>
            <a:chOff x="694442" y="1722893"/>
            <a:chExt cx="10221127" cy="1692771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5899B067-6437-41FF-88EF-4898DCEA876A}"/>
                </a:ext>
              </a:extLst>
            </p:cNvPr>
            <p:cNvSpPr txBox="1"/>
            <p:nvPr/>
          </p:nvSpPr>
          <p:spPr>
            <a:xfrm>
              <a:off x="1341006" y="1722893"/>
              <a:ext cx="8928000" cy="16927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en-US" sz="2000" dirty="0">
                  <a:solidFill>
                    <a:srgbClr val="522486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Sber Product Catalog</a:t>
              </a:r>
              <a:r>
                <a:rPr lang="en-US" sz="2000" dirty="0"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 – </a:t>
              </a:r>
              <a:r>
                <a:rPr lang="ru-RU" sz="2000" dirty="0"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это облачное решение, которое позволяет бизнесу: </a:t>
              </a:r>
            </a:p>
            <a:p>
              <a:pPr lvl="0" algn="just">
                <a:defRPr/>
              </a:pPr>
              <a:endParaRPr lang="ru-RU" sz="1600" dirty="0">
                <a:latin typeface="Arial Black" panose="020B0A040201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endParaRPr>
            </a:p>
            <a:p>
              <a:pPr marL="342900" lvl="0" indent="-342900" algn="just">
                <a:buFont typeface="Arial" panose="020B0604020202020204" pitchFamily="34" charset="0"/>
                <a:buChar char="•"/>
                <a:defRPr/>
              </a:pPr>
              <a:r>
                <a:rPr lang="ru-RU" sz="1600" dirty="0"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вести свои продукты в едином месте </a:t>
              </a:r>
            </a:p>
            <a:p>
              <a:pPr marL="342900" lvl="0" indent="-342900" algn="just">
                <a:buFont typeface="Arial" panose="020B0604020202020204" pitchFamily="34" charset="0"/>
                <a:buChar char="•"/>
                <a:defRPr/>
              </a:pPr>
              <a:r>
                <a:rPr lang="ru-RU" sz="1600" dirty="0"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гибко управлять всеми элементами </a:t>
              </a:r>
              <a:r>
                <a:rPr lang="ru-RU" sz="1600" dirty="0">
                  <a:solidFill>
                    <a:srgbClr val="522486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4P (Product, </a:t>
              </a:r>
              <a:r>
                <a:rPr lang="ru-RU" sz="1600" dirty="0" err="1">
                  <a:solidFill>
                    <a:srgbClr val="522486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Price</a:t>
              </a:r>
              <a:r>
                <a:rPr lang="ru-RU" sz="1600" dirty="0">
                  <a:solidFill>
                    <a:srgbClr val="522486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, </a:t>
              </a:r>
              <a:r>
                <a:rPr lang="ru-RU" sz="1600" dirty="0" err="1">
                  <a:solidFill>
                    <a:srgbClr val="522486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Promotion</a:t>
              </a:r>
              <a:r>
                <a:rPr lang="ru-RU" sz="1600" dirty="0">
                  <a:solidFill>
                    <a:srgbClr val="522486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, </a:t>
              </a:r>
              <a:r>
                <a:rPr lang="ru-RU" sz="1600" dirty="0" err="1">
                  <a:solidFill>
                    <a:srgbClr val="522486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Place</a:t>
              </a:r>
              <a:r>
                <a:rPr lang="ru-RU" sz="1600" dirty="0">
                  <a:solidFill>
                    <a:srgbClr val="522486"/>
                  </a:solidFill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)</a:t>
              </a:r>
              <a:r>
                <a:rPr lang="ru-RU" sz="1600" dirty="0"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 </a:t>
              </a:r>
            </a:p>
            <a:p>
              <a:pPr marL="342900" lvl="0" indent="-342900" algn="just">
                <a:buFont typeface="Arial" panose="020B0604020202020204" pitchFamily="34" charset="0"/>
                <a:buChar char="•"/>
                <a:defRPr/>
              </a:pPr>
              <a:r>
                <a:rPr lang="ru-RU" sz="1600" dirty="0">
                  <a:latin typeface="Arial Black" panose="020B0A04020102020204" pitchFamily="34" charset="0"/>
                  <a:ea typeface="Malgun Gothic Semilight" panose="020B0502040204020203" pitchFamily="34" charset="-128"/>
                  <a:cs typeface="Malgun Gothic Semilight" panose="020B0502040204020203" pitchFamily="34" charset="-128"/>
                </a:rPr>
                <a:t>мгновенно выводить изменения на рынок </a:t>
              </a:r>
            </a:p>
          </p:txBody>
        </p:sp>
        <p:sp>
          <p:nvSpPr>
            <p:cNvPr id="22" name="Левая фигурная скобка 21">
              <a:extLst>
                <a:ext uri="{FF2B5EF4-FFF2-40B4-BE49-F238E27FC236}">
                  <a16:creationId xmlns:a16="http://schemas.microsoft.com/office/drawing/2014/main" xmlns="" id="{72E3EDDE-E094-47C6-A0C5-FCBA4BE117C5}"/>
                </a:ext>
              </a:extLst>
            </p:cNvPr>
            <p:cNvSpPr/>
            <p:nvPr/>
          </p:nvSpPr>
          <p:spPr>
            <a:xfrm>
              <a:off x="694442" y="1742416"/>
              <a:ext cx="286440" cy="1616567"/>
            </a:xfrm>
            <a:prstGeom prst="leftBrace">
              <a:avLst>
                <a:gd name="adj1" fmla="val 116605"/>
                <a:gd name="adj2" fmla="val 50000"/>
              </a:avLst>
            </a:prstGeom>
            <a:ln>
              <a:solidFill>
                <a:srgbClr val="52248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Левая фигурная скобка 22">
              <a:extLst>
                <a:ext uri="{FF2B5EF4-FFF2-40B4-BE49-F238E27FC236}">
                  <a16:creationId xmlns:a16="http://schemas.microsoft.com/office/drawing/2014/main" xmlns="" id="{2CAC0CD6-FDBD-41BC-BB5E-F62B00A8FF31}"/>
                </a:ext>
              </a:extLst>
            </p:cNvPr>
            <p:cNvSpPr/>
            <p:nvPr/>
          </p:nvSpPr>
          <p:spPr>
            <a:xfrm rot="10800000">
              <a:off x="10629129" y="1742416"/>
              <a:ext cx="286440" cy="1616567"/>
            </a:xfrm>
            <a:prstGeom prst="leftBrace">
              <a:avLst>
                <a:gd name="adj1" fmla="val 116605"/>
                <a:gd name="adj2" fmla="val 50000"/>
              </a:avLst>
            </a:prstGeom>
            <a:ln>
              <a:solidFill>
                <a:srgbClr val="52248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683443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0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0&quot;&gt;&lt;elem m_fUsage=&quot;3.24098741599666606561E+00&quot;&gt;&lt;m_msothmcolidx val=&quot;0&quot;/&gt;&lt;m_rgb r=&quot;00&quot; g=&quot;CF&quot; b=&quot;77&quot;/&gt;&lt;m_nBrightness tagver0=&quot;26206&quot; tagname0=&quot;m_nBrightnessUNRECOGNIZED&quot; val=&quot;0&quot;/&gt;&lt;/elem&gt;&lt;elem m_fUsage=&quot;3.07418474786288742351E+00&quot;&gt;&lt;m_msothmcolidx val=&quot;0&quot;/&gt;&lt;m_rgb r=&quot;30&quot; g=&quot;B1&quot; b=&quot;EF&quot;/&gt;&lt;m_nBrightness tagver0=&quot;26206&quot; tagname0=&quot;m_nBrightnessUNRECOGNIZED&quot; val=&quot;0&quot;/&gt;&lt;/elem&gt;&lt;elem m_fUsage=&quot;1.19925509469056956746E+00&quot;&gt;&lt;m_msothmcolidx val=&quot;0&quot;/&gt;&lt;m_rgb r=&quot;00&quot; g=&quot;D0&quot; b=&quot;FF&quot;/&gt;&lt;m_nBrightness tagver0=&quot;26206&quot; tagname0=&quot;m_nBrightnessUNRECOGNIZED&quot; val=&quot;0&quot;/&gt;&lt;/elem&gt;&lt;elem m_fUsage=&quot;1.00000000000000000000E+00&quot;&gt;&lt;m_msothmcolidx val=&quot;0&quot;/&gt;&lt;m_rgb r=&quot;00&quot; g=&quot;B0&quot; b=&quot;F0&quot;/&gt;&lt;m_nBrightness tagver0=&quot;26206&quot; tagname0=&quot;m_nBrightnessUNRECOGNIZED&quot; val=&quot;0&quot;/&gt;&lt;/elem&gt;&lt;elem m_fUsage=&quot;2.28767924549610118801E-01&quot;&gt;&lt;m_msothmcolidx val=&quot;0&quot;/&gt;&lt;m_rgb r=&quot;EC&quot; g=&quot;47&quot; b=&quot;51&quot;/&gt;&lt;m_nBrightness tagver0=&quot;26206&quot; tagname0=&quot;m_nBrightnessUNRECOGNIZED&quot; val=&quot;0&quot;/&gt;&lt;/elem&gt;&lt;elem m_fUsage=&quot;2.05891132094649098594E-01&quot;&gt;&lt;m_msothmcolidx val=&quot;0&quot;/&gt;&lt;m_rgb r=&quot;FF&quot; g=&quot;96&quot; b=&quot;00&quot;/&gt;&lt;m_nBrightness tagver0=&quot;26206&quot; tagname0=&quot;m_nBrightnessUNRECOGNIZED&quot; val=&quot;0&quot;/&gt;&lt;/elem&gt;&lt;elem m_fUsage=&quot;1.85302018885184188735E-01&quot;&gt;&lt;m_msothmcolidx val=&quot;0&quot;/&gt;&lt;m_rgb r=&quot;C1&quot; g=&quot;C2&quot; b=&quot;D5&quot;/&gt;&lt;m_nBrightness tagver0=&quot;26206&quot; tagname0=&quot;m_nBrightnessUNRECOGNIZED&quot; val=&quot;0&quot;/&gt;&lt;/elem&gt;&lt;elem m_fUsage=&quot;1.50094635296999207030E-01&quot;&gt;&lt;m_msothmcolidx val=&quot;0&quot;/&gt;&lt;m_rgb r=&quot;76&quot; g=&quot;ED&quot; b=&quot;99&quot;/&gt;&lt;m_nBrightness tagver0=&quot;26206&quot; tagname0=&quot;m_nBrightnessUNRECOGNIZED&quot; val=&quot;0&quot;/&gt;&lt;/elem&gt;&lt;elem m_fUsage=&quot;1.35085171767299283552E-01&quot;&gt;&lt;m_msothmcolidx val=&quot;0&quot;/&gt;&lt;m_rgb r=&quot;39&quot; g=&quot;7F&quot; b=&quot;FF&quot;/&gt;&lt;m_nBrightness tagver0=&quot;26206&quot; tagname0=&quot;m_nBrightnessUNRECOGNIZED&quot; val=&quot;0&quot;/&gt;&lt;/elem&gt;&lt;elem m_fUsage=&quot;1.09418989131512434110E-01&quot;&gt;&lt;m_msothmcolidx val=&quot;0&quot;/&gt;&lt;m_rgb r=&quot;76&quot; g=&quot;83&quot; b=&quot;D4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POWER_USER_PPT_AGENDA_PRESENTATION_COLOR_TAG" val="#EAEAEA"/>
  <p:tag name="POWER_USER_PPT_AGENDA_PRESENTATION_DIVIDERS_CHECKED_TAG" val="0"/>
  <p:tag name="POWER_USER_PPT_AGENDA_PRESENTATION_TABLE_OF_CONTENT_CHECKED_TAG" val="1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FQJH8TgWbDN6fu0G8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qIc6N0TqujSispz2PaQ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qIc6N0TqujSispz2Pa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qIc6N0TqujSispz2PaQ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qIc6N0TqujSispz2Pa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qIc6N0TqujSispz2PaQ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qIc6N0TqujSispz2Pa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qIc6N0TqujSispz2PaQ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qIc6N0TqujSispz2Pa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Ku3jgQTDKyzygJRUOy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qIc6N0TqujSispz2Pa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qIc6N0TqujSispz2Pa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qIc6N0TqujSispz2PaQ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W7_mx3QsuWIRTCt9.Pc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Mubjj4Q..q3yLAaUOh9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FQJH8TgWbDN6fu0G8U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qIc6N0TqujSispz2PaQ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Ku3jgQTDKyzygJRUOyW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heme/theme1.xml><?xml version="1.0" encoding="utf-8"?>
<a:theme xmlns:a="http://schemas.openxmlformats.org/drawingml/2006/main" name="14_Firm Format - template_Blue">
  <a:themeElements>
    <a:clrScheme name="Cber">
      <a:dk1>
        <a:srgbClr val="595959"/>
      </a:dk1>
      <a:lt1>
        <a:srgbClr val="FFFFFF"/>
      </a:lt1>
      <a:dk2>
        <a:srgbClr val="595959"/>
      </a:dk2>
      <a:lt2>
        <a:srgbClr val="FFFFFF"/>
      </a:lt2>
      <a:accent1>
        <a:srgbClr val="EAEAEA"/>
      </a:accent1>
      <a:accent2>
        <a:srgbClr val="71C780"/>
      </a:accent2>
      <a:accent3>
        <a:srgbClr val="FAD07A"/>
      </a:accent3>
      <a:accent4>
        <a:srgbClr val="44A79E"/>
      </a:accent4>
      <a:accent5>
        <a:srgbClr val="F27F00"/>
      </a:accent5>
      <a:accent6>
        <a:srgbClr val="808080"/>
      </a:accent6>
      <a:hlink>
        <a:srgbClr val="FAD07A"/>
      </a:hlink>
      <a:folHlink>
        <a:srgbClr val="44A79E"/>
      </a:folHlink>
    </a:clrScheme>
    <a:fontScheme name="Custom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бербанкШирокий.potx" id="{C2DAAF7C-9F6F-4294-9D7C-17914F10A7DE}" vid="{60AA6819-97F0-49C7-8BD0-78CC4F0C5BFA}"/>
    </a:ext>
  </a:extLst>
</a:theme>
</file>

<file path=ppt/theme/theme10.xml><?xml version="1.0" encoding="utf-8"?>
<a:theme xmlns:a="http://schemas.openxmlformats.org/drawingml/2006/main" name="20_Firm Format - template_Blue">
  <a:themeElements>
    <a:clrScheme name="Cber">
      <a:dk1>
        <a:srgbClr val="595959"/>
      </a:dk1>
      <a:lt1>
        <a:srgbClr val="FFFFFF"/>
      </a:lt1>
      <a:dk2>
        <a:srgbClr val="595959"/>
      </a:dk2>
      <a:lt2>
        <a:srgbClr val="FFFFFF"/>
      </a:lt2>
      <a:accent1>
        <a:srgbClr val="EAEAEA"/>
      </a:accent1>
      <a:accent2>
        <a:srgbClr val="71C780"/>
      </a:accent2>
      <a:accent3>
        <a:srgbClr val="FAD07A"/>
      </a:accent3>
      <a:accent4>
        <a:srgbClr val="44A79E"/>
      </a:accent4>
      <a:accent5>
        <a:srgbClr val="F27F00"/>
      </a:accent5>
      <a:accent6>
        <a:srgbClr val="808080"/>
      </a:accent6>
      <a:hlink>
        <a:srgbClr val="FAD07A"/>
      </a:hlink>
      <a:folHlink>
        <a:srgbClr val="44A79E"/>
      </a:folHlink>
    </a:clrScheme>
    <a:fontScheme name="Custom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бербанкШирокий.potx" id="{C2DAAF7C-9F6F-4294-9D7C-17914F10A7DE}" vid="{60AA6819-97F0-49C7-8BD0-78CC4F0C5BFA}"/>
    </a:ext>
  </a:extLst>
</a:theme>
</file>

<file path=ppt/theme/theme11.xml><?xml version="1.0" encoding="utf-8"?>
<a:theme xmlns:a="http://schemas.openxmlformats.org/drawingml/2006/main" name="21_Firm Format - template_Blue">
  <a:themeElements>
    <a:clrScheme name="Cber">
      <a:dk1>
        <a:srgbClr val="595959"/>
      </a:dk1>
      <a:lt1>
        <a:srgbClr val="FFFFFF"/>
      </a:lt1>
      <a:dk2>
        <a:srgbClr val="595959"/>
      </a:dk2>
      <a:lt2>
        <a:srgbClr val="FFFFFF"/>
      </a:lt2>
      <a:accent1>
        <a:srgbClr val="EAEAEA"/>
      </a:accent1>
      <a:accent2>
        <a:srgbClr val="71C780"/>
      </a:accent2>
      <a:accent3>
        <a:srgbClr val="FAD07A"/>
      </a:accent3>
      <a:accent4>
        <a:srgbClr val="44A79E"/>
      </a:accent4>
      <a:accent5>
        <a:srgbClr val="F27F00"/>
      </a:accent5>
      <a:accent6>
        <a:srgbClr val="808080"/>
      </a:accent6>
      <a:hlink>
        <a:srgbClr val="FAD07A"/>
      </a:hlink>
      <a:folHlink>
        <a:srgbClr val="44A79E"/>
      </a:folHlink>
    </a:clrScheme>
    <a:fontScheme name="Custom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бербанкШирокий.potx" id="{C2DAAF7C-9F6F-4294-9D7C-17914F10A7DE}" vid="{60AA6819-97F0-49C7-8BD0-78CC4F0C5BFA}"/>
    </a:ext>
  </a:extLst>
</a:theme>
</file>

<file path=ppt/theme/theme12.xml><?xml version="1.0" encoding="utf-8"?>
<a:theme xmlns:a="http://schemas.openxmlformats.org/drawingml/2006/main" name="22_Firm Format - template_Blue">
  <a:themeElements>
    <a:clrScheme name="Cber">
      <a:dk1>
        <a:srgbClr val="595959"/>
      </a:dk1>
      <a:lt1>
        <a:srgbClr val="FFFFFF"/>
      </a:lt1>
      <a:dk2>
        <a:srgbClr val="595959"/>
      </a:dk2>
      <a:lt2>
        <a:srgbClr val="FFFFFF"/>
      </a:lt2>
      <a:accent1>
        <a:srgbClr val="EAEAEA"/>
      </a:accent1>
      <a:accent2>
        <a:srgbClr val="71C780"/>
      </a:accent2>
      <a:accent3>
        <a:srgbClr val="FAD07A"/>
      </a:accent3>
      <a:accent4>
        <a:srgbClr val="44A79E"/>
      </a:accent4>
      <a:accent5>
        <a:srgbClr val="F27F00"/>
      </a:accent5>
      <a:accent6>
        <a:srgbClr val="808080"/>
      </a:accent6>
      <a:hlink>
        <a:srgbClr val="FAD07A"/>
      </a:hlink>
      <a:folHlink>
        <a:srgbClr val="44A79E"/>
      </a:folHlink>
    </a:clrScheme>
    <a:fontScheme name="Custom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бербанкШирокий.potx" id="{C2DAAF7C-9F6F-4294-9D7C-17914F10A7DE}" vid="{60AA6819-97F0-49C7-8BD0-78CC4F0C5BFA}"/>
    </a:ext>
  </a:extLst>
</a:theme>
</file>

<file path=ppt/theme/theme13.xml><?xml version="1.0" encoding="utf-8"?>
<a:theme xmlns:a="http://schemas.openxmlformats.org/drawingml/2006/main" name="23_Firm Format - template_Blue">
  <a:themeElements>
    <a:clrScheme name="Cber">
      <a:dk1>
        <a:srgbClr val="595959"/>
      </a:dk1>
      <a:lt1>
        <a:srgbClr val="FFFFFF"/>
      </a:lt1>
      <a:dk2>
        <a:srgbClr val="595959"/>
      </a:dk2>
      <a:lt2>
        <a:srgbClr val="FFFFFF"/>
      </a:lt2>
      <a:accent1>
        <a:srgbClr val="EAEAEA"/>
      </a:accent1>
      <a:accent2>
        <a:srgbClr val="71C780"/>
      </a:accent2>
      <a:accent3>
        <a:srgbClr val="FAD07A"/>
      </a:accent3>
      <a:accent4>
        <a:srgbClr val="44A79E"/>
      </a:accent4>
      <a:accent5>
        <a:srgbClr val="F27F00"/>
      </a:accent5>
      <a:accent6>
        <a:srgbClr val="808080"/>
      </a:accent6>
      <a:hlink>
        <a:srgbClr val="FAD07A"/>
      </a:hlink>
      <a:folHlink>
        <a:srgbClr val="44A79E"/>
      </a:folHlink>
    </a:clrScheme>
    <a:fontScheme name="Custom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бербанкШирокий.potx" id="{C2DAAF7C-9F6F-4294-9D7C-17914F10A7DE}" vid="{60AA6819-97F0-49C7-8BD0-78CC4F0C5BFA}"/>
    </a:ext>
  </a:extLst>
</a:theme>
</file>

<file path=ppt/theme/theme14.xml><?xml version="1.0" encoding="utf-8"?>
<a:theme xmlns:a="http://schemas.openxmlformats.org/drawingml/2006/main" name="24_Firm Format - template_Blue">
  <a:themeElements>
    <a:clrScheme name="Cber">
      <a:dk1>
        <a:srgbClr val="595959"/>
      </a:dk1>
      <a:lt1>
        <a:srgbClr val="FFFFFF"/>
      </a:lt1>
      <a:dk2>
        <a:srgbClr val="595959"/>
      </a:dk2>
      <a:lt2>
        <a:srgbClr val="FFFFFF"/>
      </a:lt2>
      <a:accent1>
        <a:srgbClr val="EAEAEA"/>
      </a:accent1>
      <a:accent2>
        <a:srgbClr val="71C780"/>
      </a:accent2>
      <a:accent3>
        <a:srgbClr val="FAD07A"/>
      </a:accent3>
      <a:accent4>
        <a:srgbClr val="44A79E"/>
      </a:accent4>
      <a:accent5>
        <a:srgbClr val="F27F00"/>
      </a:accent5>
      <a:accent6>
        <a:srgbClr val="808080"/>
      </a:accent6>
      <a:hlink>
        <a:srgbClr val="FAD07A"/>
      </a:hlink>
      <a:folHlink>
        <a:srgbClr val="44A79E"/>
      </a:folHlink>
    </a:clrScheme>
    <a:fontScheme name="Custom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бербанкШирокий.potx" id="{C2DAAF7C-9F6F-4294-9D7C-17914F10A7DE}" vid="{60AA6819-97F0-49C7-8BD0-78CC4F0C5BFA}"/>
    </a:ext>
  </a:extLst>
</a:theme>
</file>

<file path=ppt/theme/theme15.xml><?xml version="1.0" encoding="utf-8"?>
<a:theme xmlns:a="http://schemas.openxmlformats.org/drawingml/2006/main" name="25_Firm Format - template_Blue">
  <a:themeElements>
    <a:clrScheme name="Cber">
      <a:dk1>
        <a:srgbClr val="595959"/>
      </a:dk1>
      <a:lt1>
        <a:srgbClr val="FFFFFF"/>
      </a:lt1>
      <a:dk2>
        <a:srgbClr val="595959"/>
      </a:dk2>
      <a:lt2>
        <a:srgbClr val="FFFFFF"/>
      </a:lt2>
      <a:accent1>
        <a:srgbClr val="EAEAEA"/>
      </a:accent1>
      <a:accent2>
        <a:srgbClr val="71C780"/>
      </a:accent2>
      <a:accent3>
        <a:srgbClr val="FAD07A"/>
      </a:accent3>
      <a:accent4>
        <a:srgbClr val="44A79E"/>
      </a:accent4>
      <a:accent5>
        <a:srgbClr val="F27F00"/>
      </a:accent5>
      <a:accent6>
        <a:srgbClr val="808080"/>
      </a:accent6>
      <a:hlink>
        <a:srgbClr val="FAD07A"/>
      </a:hlink>
      <a:folHlink>
        <a:srgbClr val="44A79E"/>
      </a:folHlink>
    </a:clrScheme>
    <a:fontScheme name="Custom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бербанкШирокий.potx" id="{C2DAAF7C-9F6F-4294-9D7C-17914F10A7DE}" vid="{60AA6819-97F0-49C7-8BD0-78CC4F0C5BFA}"/>
    </a:ext>
  </a:extLst>
</a:theme>
</file>

<file path=ppt/theme/theme16.xml><?xml version="1.0" encoding="utf-8"?>
<a:theme xmlns:a="http://schemas.openxmlformats.org/drawingml/2006/main" name="26_Firm Format - template_Blue">
  <a:themeElements>
    <a:clrScheme name="Cber">
      <a:dk1>
        <a:srgbClr val="595959"/>
      </a:dk1>
      <a:lt1>
        <a:srgbClr val="FFFFFF"/>
      </a:lt1>
      <a:dk2>
        <a:srgbClr val="595959"/>
      </a:dk2>
      <a:lt2>
        <a:srgbClr val="FFFFFF"/>
      </a:lt2>
      <a:accent1>
        <a:srgbClr val="EAEAEA"/>
      </a:accent1>
      <a:accent2>
        <a:srgbClr val="71C780"/>
      </a:accent2>
      <a:accent3>
        <a:srgbClr val="FAD07A"/>
      </a:accent3>
      <a:accent4>
        <a:srgbClr val="44A79E"/>
      </a:accent4>
      <a:accent5>
        <a:srgbClr val="F27F00"/>
      </a:accent5>
      <a:accent6>
        <a:srgbClr val="808080"/>
      </a:accent6>
      <a:hlink>
        <a:srgbClr val="FAD07A"/>
      </a:hlink>
      <a:folHlink>
        <a:srgbClr val="44A79E"/>
      </a:folHlink>
    </a:clrScheme>
    <a:fontScheme name="Custom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бербанкШирокий.potx" id="{C2DAAF7C-9F6F-4294-9D7C-17914F10A7DE}" vid="{60AA6819-97F0-49C7-8BD0-78CC4F0C5BFA}"/>
    </a:ext>
  </a:extLst>
</a:theme>
</file>

<file path=ppt/theme/theme17.xml><?xml version="1.0" encoding="utf-8"?>
<a:theme xmlns:a="http://schemas.openxmlformats.org/drawingml/2006/main" name="10_Firm Format - Russian">
  <a:themeElements>
    <a:clrScheme name="Пользовательские 11">
      <a:dk1>
        <a:srgbClr val="000000"/>
      </a:dk1>
      <a:lt1>
        <a:srgbClr val="FFFFFF"/>
      </a:lt1>
      <a:dk2>
        <a:srgbClr val="F59C15"/>
      </a:dk2>
      <a:lt2>
        <a:srgbClr val="8CE2F2"/>
      </a:lt2>
      <a:accent1>
        <a:srgbClr val="E0E0E0"/>
      </a:accent1>
      <a:accent2>
        <a:srgbClr val="76BB1E"/>
      </a:accent2>
      <a:accent3>
        <a:srgbClr val="FDC742"/>
      </a:accent3>
      <a:accent4>
        <a:srgbClr val="44A79E"/>
      </a:accent4>
      <a:accent5>
        <a:srgbClr val="FF644B"/>
      </a:accent5>
      <a:accent6>
        <a:srgbClr val="565E6F"/>
      </a:accent6>
      <a:hlink>
        <a:srgbClr val="F3C389"/>
      </a:hlink>
      <a:folHlink>
        <a:srgbClr val="44A79E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solidFill>
            <a:schemeClr val="bg1">
              <a:lumMod val="75000"/>
            </a:schemeClr>
          </a:solidFill>
        </a:ln>
        <a:effectLst/>
      </a:spPr>
      <a:bodyPr lIns="91430" tIns="45715" rIns="91430" bIns="45715" rtlCol="0" anchor="ctr"/>
      <a:lstStyle>
        <a:defPPr algn="ctr">
          <a:defRPr sz="1400" dirty="0" err="1" smtClean="0">
            <a:solidFill>
              <a:schemeClr val="tx1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3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5_Firm Format - template_Blue">
  <a:themeElements>
    <a:clrScheme name="Cber">
      <a:dk1>
        <a:srgbClr val="595959"/>
      </a:dk1>
      <a:lt1>
        <a:srgbClr val="FFFFFF"/>
      </a:lt1>
      <a:dk2>
        <a:srgbClr val="595959"/>
      </a:dk2>
      <a:lt2>
        <a:srgbClr val="FFFFFF"/>
      </a:lt2>
      <a:accent1>
        <a:srgbClr val="EAEAEA"/>
      </a:accent1>
      <a:accent2>
        <a:srgbClr val="71C780"/>
      </a:accent2>
      <a:accent3>
        <a:srgbClr val="FAD07A"/>
      </a:accent3>
      <a:accent4>
        <a:srgbClr val="44A79E"/>
      </a:accent4>
      <a:accent5>
        <a:srgbClr val="F27F00"/>
      </a:accent5>
      <a:accent6>
        <a:srgbClr val="808080"/>
      </a:accent6>
      <a:hlink>
        <a:srgbClr val="FAD07A"/>
      </a:hlink>
      <a:folHlink>
        <a:srgbClr val="44A79E"/>
      </a:folHlink>
    </a:clrScheme>
    <a:fontScheme name="Custom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бербанкШирокий.potx" id="{C2DAAF7C-9F6F-4294-9D7C-17914F10A7DE}" vid="{60AA6819-97F0-49C7-8BD0-78CC4F0C5BFA}"/>
    </a:ext>
  </a:extLst>
</a:theme>
</file>

<file path=ppt/theme/theme20.xml><?xml version="1.0" encoding="utf-8"?>
<a:theme xmlns:a="http://schemas.openxmlformats.org/drawingml/2006/main" name="5_Office Theme">
  <a:themeElements>
    <a:clrScheme name="Другая 13">
      <a:dk1>
        <a:srgbClr val="262626"/>
      </a:dk1>
      <a:lt1>
        <a:srgbClr val="FFFFFF"/>
      </a:lt1>
      <a:dk2>
        <a:srgbClr val="FFFFFF"/>
      </a:dk2>
      <a:lt2>
        <a:srgbClr val="FFFFFF"/>
      </a:lt2>
      <a:accent1>
        <a:srgbClr val="8FCE4A"/>
      </a:accent1>
      <a:accent2>
        <a:srgbClr val="7DC4DD"/>
      </a:accent2>
      <a:accent3>
        <a:srgbClr val="3DA6CB"/>
      </a:accent3>
      <a:accent4>
        <a:srgbClr val="A3086D"/>
      </a:accent4>
      <a:accent5>
        <a:srgbClr val="64B8D6"/>
      </a:accent5>
      <a:accent6>
        <a:srgbClr val="56546A"/>
      </a:accent6>
      <a:hlink>
        <a:srgbClr val="A3086D"/>
      </a:hlink>
      <a:folHlink>
        <a:srgbClr val="00B0F0"/>
      </a:folHlink>
    </a:clrScheme>
    <a:fontScheme name="Другая 1">
      <a:majorFont>
        <a:latin typeface="Segoe UI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l">
          <a:defRPr sz="26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27_Firm Format - template_Blue">
  <a:themeElements>
    <a:clrScheme name="Cber">
      <a:dk1>
        <a:srgbClr val="595959"/>
      </a:dk1>
      <a:lt1>
        <a:srgbClr val="FFFFFF"/>
      </a:lt1>
      <a:dk2>
        <a:srgbClr val="595959"/>
      </a:dk2>
      <a:lt2>
        <a:srgbClr val="FFFFFF"/>
      </a:lt2>
      <a:accent1>
        <a:srgbClr val="EAEAEA"/>
      </a:accent1>
      <a:accent2>
        <a:srgbClr val="71C780"/>
      </a:accent2>
      <a:accent3>
        <a:srgbClr val="FAD07A"/>
      </a:accent3>
      <a:accent4>
        <a:srgbClr val="44A79E"/>
      </a:accent4>
      <a:accent5>
        <a:srgbClr val="F27F00"/>
      </a:accent5>
      <a:accent6>
        <a:srgbClr val="808080"/>
      </a:accent6>
      <a:hlink>
        <a:srgbClr val="FAD07A"/>
      </a:hlink>
      <a:folHlink>
        <a:srgbClr val="44A79E"/>
      </a:folHlink>
    </a:clrScheme>
    <a:fontScheme name="Custom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бербанкШирокий.potx" id="{C2DAAF7C-9F6F-4294-9D7C-17914F10A7DE}" vid="{60AA6819-97F0-49C7-8BD0-78CC4F0C5BFA}"/>
    </a:ext>
  </a:extLst>
</a:theme>
</file>

<file path=ppt/theme/theme22.xml><?xml version="1.0" encoding="utf-8"?>
<a:theme xmlns:a="http://schemas.openxmlformats.org/drawingml/2006/main" name="Титулы_СБ">
  <a:themeElements>
    <a:clrScheme name="шаблон СБ 1">
      <a:dk1>
        <a:srgbClr val="000000"/>
      </a:dk1>
      <a:lt1>
        <a:srgbClr val="FFFFFF"/>
      </a:lt1>
      <a:dk2>
        <a:srgbClr val="006F3C"/>
      </a:dk2>
      <a:lt2>
        <a:srgbClr val="999999"/>
      </a:lt2>
      <a:accent1>
        <a:srgbClr val="11A74C"/>
      </a:accent1>
      <a:accent2>
        <a:srgbClr val="7DC244"/>
      </a:accent2>
      <a:accent3>
        <a:srgbClr val="DC0F00"/>
      </a:accent3>
      <a:accent4>
        <a:srgbClr val="139884"/>
      </a:accent4>
      <a:accent5>
        <a:srgbClr val="EB7F2E"/>
      </a:accent5>
      <a:accent6>
        <a:srgbClr val="0C8CBB"/>
      </a:accent6>
      <a:hlink>
        <a:srgbClr val="71C7C4"/>
      </a:hlink>
      <a:folHlink>
        <a:srgbClr val="F6AC25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2" id="{83A441A6-D551-D441-809D-12628737661A}" vid="{5DAF5C2F-C1E1-1843-93AA-DDAB6377CDC7}"/>
    </a:ext>
  </a:extLst>
</a:theme>
</file>

<file path=ppt/theme/theme2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Office Theme">
  <a:themeElements>
    <a:clrScheme name="Introment">
      <a:dk1>
        <a:srgbClr val="0D0D0D"/>
      </a:dk1>
      <a:lt1>
        <a:sysClr val="window" lastClr="FFFFFF"/>
      </a:lt1>
      <a:dk2>
        <a:srgbClr val="44546A"/>
      </a:dk2>
      <a:lt2>
        <a:srgbClr val="E7E6E6"/>
      </a:lt2>
      <a:accent1>
        <a:srgbClr val="00B0FF"/>
      </a:accent1>
      <a:accent2>
        <a:srgbClr val="40C4FF"/>
      </a:accent2>
      <a:accent3>
        <a:srgbClr val="00E5FF"/>
      </a:accent3>
      <a:accent4>
        <a:srgbClr val="1DE9B6"/>
      </a:accent4>
      <a:accent5>
        <a:srgbClr val="69F0AE"/>
      </a:accent5>
      <a:accent6>
        <a:srgbClr val="8CF4C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6600" b="1">
            <a:solidFill>
              <a:schemeClr val="bg1"/>
            </a:solidFill>
            <a:latin typeface="Raleway" panose="020B050303010106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7_Firm Format - template_Blue">
  <a:themeElements>
    <a:clrScheme name="Cber">
      <a:dk1>
        <a:srgbClr val="595959"/>
      </a:dk1>
      <a:lt1>
        <a:srgbClr val="FFFFFF"/>
      </a:lt1>
      <a:dk2>
        <a:srgbClr val="595959"/>
      </a:dk2>
      <a:lt2>
        <a:srgbClr val="FFFFFF"/>
      </a:lt2>
      <a:accent1>
        <a:srgbClr val="EAEAEA"/>
      </a:accent1>
      <a:accent2>
        <a:srgbClr val="71C780"/>
      </a:accent2>
      <a:accent3>
        <a:srgbClr val="FAD07A"/>
      </a:accent3>
      <a:accent4>
        <a:srgbClr val="44A79E"/>
      </a:accent4>
      <a:accent5>
        <a:srgbClr val="F27F00"/>
      </a:accent5>
      <a:accent6>
        <a:srgbClr val="808080"/>
      </a:accent6>
      <a:hlink>
        <a:srgbClr val="FAD07A"/>
      </a:hlink>
      <a:folHlink>
        <a:srgbClr val="44A79E"/>
      </a:folHlink>
    </a:clrScheme>
    <a:fontScheme name="Custom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бербанкШирокий.potx" id="{C2DAAF7C-9F6F-4294-9D7C-17914F10A7DE}" vid="{60AA6819-97F0-49C7-8BD0-78CC4F0C5BFA}"/>
    </a:ext>
  </a:extLst>
</a:theme>
</file>

<file path=ppt/theme/theme7.xml><?xml version="1.0" encoding="utf-8"?>
<a:theme xmlns:a="http://schemas.openxmlformats.org/drawingml/2006/main" name="16_Firm Format - template_Blue">
  <a:themeElements>
    <a:clrScheme name="Cber">
      <a:dk1>
        <a:srgbClr val="595959"/>
      </a:dk1>
      <a:lt1>
        <a:srgbClr val="FFFFFF"/>
      </a:lt1>
      <a:dk2>
        <a:srgbClr val="595959"/>
      </a:dk2>
      <a:lt2>
        <a:srgbClr val="FFFFFF"/>
      </a:lt2>
      <a:accent1>
        <a:srgbClr val="EAEAEA"/>
      </a:accent1>
      <a:accent2>
        <a:srgbClr val="71C780"/>
      </a:accent2>
      <a:accent3>
        <a:srgbClr val="FAD07A"/>
      </a:accent3>
      <a:accent4>
        <a:srgbClr val="44A79E"/>
      </a:accent4>
      <a:accent5>
        <a:srgbClr val="F27F00"/>
      </a:accent5>
      <a:accent6>
        <a:srgbClr val="808080"/>
      </a:accent6>
      <a:hlink>
        <a:srgbClr val="FAD07A"/>
      </a:hlink>
      <a:folHlink>
        <a:srgbClr val="44A79E"/>
      </a:folHlink>
    </a:clrScheme>
    <a:fontScheme name="Custom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бербанкШирокий.potx" id="{C2DAAF7C-9F6F-4294-9D7C-17914F10A7DE}" vid="{60AA6819-97F0-49C7-8BD0-78CC4F0C5BFA}"/>
    </a:ext>
  </a:extLst>
</a:theme>
</file>

<file path=ppt/theme/theme8.xml><?xml version="1.0" encoding="utf-8"?>
<a:theme xmlns:a="http://schemas.openxmlformats.org/drawingml/2006/main" name="18_Firm Format - template_Blue">
  <a:themeElements>
    <a:clrScheme name="Cber">
      <a:dk1>
        <a:srgbClr val="595959"/>
      </a:dk1>
      <a:lt1>
        <a:srgbClr val="FFFFFF"/>
      </a:lt1>
      <a:dk2>
        <a:srgbClr val="595959"/>
      </a:dk2>
      <a:lt2>
        <a:srgbClr val="FFFFFF"/>
      </a:lt2>
      <a:accent1>
        <a:srgbClr val="EAEAEA"/>
      </a:accent1>
      <a:accent2>
        <a:srgbClr val="71C780"/>
      </a:accent2>
      <a:accent3>
        <a:srgbClr val="FAD07A"/>
      </a:accent3>
      <a:accent4>
        <a:srgbClr val="44A79E"/>
      </a:accent4>
      <a:accent5>
        <a:srgbClr val="F27F00"/>
      </a:accent5>
      <a:accent6>
        <a:srgbClr val="808080"/>
      </a:accent6>
      <a:hlink>
        <a:srgbClr val="FAD07A"/>
      </a:hlink>
      <a:folHlink>
        <a:srgbClr val="44A79E"/>
      </a:folHlink>
    </a:clrScheme>
    <a:fontScheme name="Custom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бербанкШирокий.potx" id="{C2DAAF7C-9F6F-4294-9D7C-17914F10A7DE}" vid="{60AA6819-97F0-49C7-8BD0-78CC4F0C5BFA}"/>
    </a:ext>
  </a:extLst>
</a:theme>
</file>

<file path=ppt/theme/theme9.xml><?xml version="1.0" encoding="utf-8"?>
<a:theme xmlns:a="http://schemas.openxmlformats.org/drawingml/2006/main" name="19_Firm Format - template_Blue">
  <a:themeElements>
    <a:clrScheme name="Cber">
      <a:dk1>
        <a:srgbClr val="595959"/>
      </a:dk1>
      <a:lt1>
        <a:srgbClr val="FFFFFF"/>
      </a:lt1>
      <a:dk2>
        <a:srgbClr val="595959"/>
      </a:dk2>
      <a:lt2>
        <a:srgbClr val="FFFFFF"/>
      </a:lt2>
      <a:accent1>
        <a:srgbClr val="EAEAEA"/>
      </a:accent1>
      <a:accent2>
        <a:srgbClr val="71C780"/>
      </a:accent2>
      <a:accent3>
        <a:srgbClr val="FAD07A"/>
      </a:accent3>
      <a:accent4>
        <a:srgbClr val="44A79E"/>
      </a:accent4>
      <a:accent5>
        <a:srgbClr val="F27F00"/>
      </a:accent5>
      <a:accent6>
        <a:srgbClr val="808080"/>
      </a:accent6>
      <a:hlink>
        <a:srgbClr val="FAD07A"/>
      </a:hlink>
      <a:folHlink>
        <a:srgbClr val="44A79E"/>
      </a:folHlink>
    </a:clrScheme>
    <a:fontScheme name="Custom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967D57"/>
        </a:dk2>
        <a:lt2>
          <a:srgbClr val="FFFFFF"/>
        </a:lt2>
        <a:accent1>
          <a:srgbClr val="FFEAA7"/>
        </a:accent1>
        <a:accent2>
          <a:srgbClr val="E0D6C4"/>
        </a:accent2>
        <a:accent3>
          <a:srgbClr val="7AC143"/>
        </a:accent3>
        <a:accent4>
          <a:srgbClr val="967D57"/>
        </a:accent4>
        <a:accent5>
          <a:srgbClr val="F27F00"/>
        </a:accent5>
        <a:accent6>
          <a:srgbClr val="808080"/>
        </a:accent6>
        <a:hlink>
          <a:srgbClr val="7AC143"/>
        </a:hlink>
        <a:folHlink>
          <a:srgbClr val="967D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er">
        <a:dk1>
          <a:srgbClr val="595959"/>
        </a:dk1>
        <a:lt1>
          <a:srgbClr val="FFFFFF"/>
        </a:lt1>
        <a:dk2>
          <a:srgbClr val="595959"/>
        </a:dk2>
        <a:lt2>
          <a:srgbClr val="FFFFFF"/>
        </a:lt2>
        <a:accent1>
          <a:srgbClr val="EAEAEA"/>
        </a:accent1>
        <a:accent2>
          <a:srgbClr val="71C780"/>
        </a:accent2>
        <a:accent3>
          <a:srgbClr val="FAD07A"/>
        </a:accent3>
        <a:accent4>
          <a:srgbClr val="44A79E"/>
        </a:accent4>
        <a:accent5>
          <a:srgbClr val="F27F00"/>
        </a:accent5>
        <a:accent6>
          <a:srgbClr val="808080"/>
        </a:accent6>
        <a:hlink>
          <a:srgbClr val="FAD07A"/>
        </a:hlink>
        <a:folHlink>
          <a:srgbClr val="44A7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бербанкШирокий.potx" id="{C2DAAF7C-9F6F-4294-9D7C-17914F10A7DE}" vid="{60AA6819-97F0-49C7-8BD0-78CC4F0C5BF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0749</TotalTime>
  <Words>1312</Words>
  <Application>Microsoft Office PowerPoint</Application>
  <PresentationFormat>Произвольный</PresentationFormat>
  <Paragraphs>539</Paragraphs>
  <Slides>17</Slides>
  <Notes>17</Notes>
  <HiddenSlides>0</HiddenSlides>
  <MMClips>0</MMClips>
  <ScaleCrop>false</ScaleCrop>
  <HeadingPairs>
    <vt:vector size="6" baseType="variant">
      <vt:variant>
        <vt:lpstr>Тема</vt:lpstr>
      </vt:variant>
      <vt:variant>
        <vt:i4>2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40" baseType="lpstr">
      <vt:lpstr>14_Firm Format - template_Blue</vt:lpstr>
      <vt:lpstr>15_Firm Format - template_Blue</vt:lpstr>
      <vt:lpstr>Office Theme</vt:lpstr>
      <vt:lpstr>Custom Design</vt:lpstr>
      <vt:lpstr>1_Office Theme</vt:lpstr>
      <vt:lpstr>17_Firm Format - template_Blue</vt:lpstr>
      <vt:lpstr>16_Firm Format - template_Blue</vt:lpstr>
      <vt:lpstr>18_Firm Format - template_Blue</vt:lpstr>
      <vt:lpstr>19_Firm Format - template_Blue</vt:lpstr>
      <vt:lpstr>20_Firm Format - template_Blue</vt:lpstr>
      <vt:lpstr>21_Firm Format - template_Blue</vt:lpstr>
      <vt:lpstr>22_Firm Format - template_Blue</vt:lpstr>
      <vt:lpstr>23_Firm Format - template_Blue</vt:lpstr>
      <vt:lpstr>24_Firm Format - template_Blue</vt:lpstr>
      <vt:lpstr>25_Firm Format - template_Blue</vt:lpstr>
      <vt:lpstr>26_Firm Format - template_Blue</vt:lpstr>
      <vt:lpstr>10_Firm Format - Russian</vt:lpstr>
      <vt:lpstr>3_Специальное оформление</vt:lpstr>
      <vt:lpstr>3_Office Theme</vt:lpstr>
      <vt:lpstr>5_Office Theme</vt:lpstr>
      <vt:lpstr>27_Firm Format - template_Blue</vt:lpstr>
      <vt:lpstr>Титулы_СБ</vt:lpstr>
      <vt:lpstr>think-cell Slide</vt:lpstr>
      <vt:lpstr>Презентация PowerPoint</vt:lpstr>
      <vt:lpstr>Что такое продуктовый каталог?</vt:lpstr>
      <vt:lpstr>Как новые продукты попадают на рынок?</vt:lpstr>
      <vt:lpstr>Что такое сервисный каталог?</vt:lpstr>
      <vt:lpstr>Как новые сервисы попадают на рынок?</vt:lpstr>
      <vt:lpstr>Как связаны продуктовый/сервисный каталог и платформа?</vt:lpstr>
      <vt:lpstr>Презентация PowerPoint</vt:lpstr>
      <vt:lpstr>Потребности</vt:lpstr>
      <vt:lpstr>Что представляет собой SBER PRODUCT CATALOG? </vt:lpstr>
      <vt:lpstr>SBER PRODUCT CATALOG VS лидеры рынка (функции) </vt:lpstr>
      <vt:lpstr>Презентация PowerPoint</vt:lpstr>
      <vt:lpstr>Варианты использования </vt:lpstr>
      <vt:lpstr>Пример продукта </vt:lpstr>
      <vt:lpstr>Пример продукта </vt:lpstr>
      <vt:lpstr>Пример продукта </vt:lpstr>
      <vt:lpstr>Пример продукта </vt:lpstr>
      <vt:lpstr>Пример продукта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Nikolay</dc:creator>
  <cp:lastModifiedBy>Хамов Дмитрий Валерьевич</cp:lastModifiedBy>
  <cp:revision>3567</cp:revision>
  <cp:lastPrinted>2019-09-05T08:56:27Z</cp:lastPrinted>
  <dcterms:created xsi:type="dcterms:W3CDTF">2018-10-30T10:04:24Z</dcterms:created>
  <dcterms:modified xsi:type="dcterms:W3CDTF">2019-09-12T06:21:48Z</dcterms:modified>
</cp:coreProperties>
</file>